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0.xml" ContentType="application/vnd.openxmlformats-officedocument.presentationml.tags+xml"/>
  <Override PartName="/ppt/notesSlides/notesSlide18.xml" ContentType="application/vnd.openxmlformats-officedocument.presentationml.notesSlide+xml"/>
  <Override PartName="/ppt/tags/tag21.xml" ContentType="application/vnd.openxmlformats-officedocument.presentationml.tags+xml"/>
  <Override PartName="/ppt/notesSlides/notesSlide19.xml" ContentType="application/vnd.openxmlformats-officedocument.presentationml.notesSlide+xml"/>
  <Override PartName="/ppt/tags/tag22.xml" ContentType="application/vnd.openxmlformats-officedocument.presentationml.tags+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3" r:id="rId36"/>
    <p:sldMasterId id="2147483862" r:id="rId37"/>
  </p:sldMasterIdLst>
  <p:notesMasterIdLst>
    <p:notesMasterId r:id="rId68"/>
  </p:notesMasterIdLst>
  <p:handoutMasterIdLst>
    <p:handoutMasterId r:id="rId69"/>
  </p:handoutMasterIdLst>
  <p:sldIdLst>
    <p:sldId id="2134804803" r:id="rId38"/>
    <p:sldId id="2145708881" r:id="rId39"/>
    <p:sldId id="2145708902" r:id="rId40"/>
    <p:sldId id="2145708921" r:id="rId41"/>
    <p:sldId id="2145708957" r:id="rId42"/>
    <p:sldId id="2145708925" r:id="rId43"/>
    <p:sldId id="2145708927" r:id="rId44"/>
    <p:sldId id="2145708928" r:id="rId45"/>
    <p:sldId id="2145708930" r:id="rId46"/>
    <p:sldId id="2145708935" r:id="rId47"/>
    <p:sldId id="2145708933" r:id="rId48"/>
    <p:sldId id="2145708977" r:id="rId49"/>
    <p:sldId id="2145708954" r:id="rId50"/>
    <p:sldId id="2145708973" r:id="rId51"/>
    <p:sldId id="2145708974" r:id="rId52"/>
    <p:sldId id="2134804887" r:id="rId53"/>
    <p:sldId id="2145708937" r:id="rId54"/>
    <p:sldId id="2145708938" r:id="rId55"/>
    <p:sldId id="2145708939" r:id="rId56"/>
    <p:sldId id="2145708940" r:id="rId57"/>
    <p:sldId id="2145708941" r:id="rId58"/>
    <p:sldId id="2145708947" r:id="rId59"/>
    <p:sldId id="2145708942" r:id="rId60"/>
    <p:sldId id="2145708976" r:id="rId61"/>
    <p:sldId id="2145708945" r:id="rId62"/>
    <p:sldId id="2145708948" r:id="rId63"/>
    <p:sldId id="2134804882" r:id="rId64"/>
    <p:sldId id="2145708951" r:id="rId65"/>
    <p:sldId id="5475" r:id="rId66"/>
    <p:sldId id="2134805179" r:id="rId67"/>
  </p:sldIdLst>
  <p:sldSz cx="12192000" cy="6858000"/>
  <p:notesSz cx="6735763" cy="9866313"/>
  <p:custDataLst>
    <p:custData r:id="rId33"/>
    <p:tags r:id="rId7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443ED59-20C7-4FDF-8DCA-8A14D1AA1C8C}" name="Microsoft Office User" initials="MOU" userId="Microsoft Office User" providerId="None"/>
  <p188:author id="{0BD3156D-9CA0-E059-EF5D-0455ED55432C}" name="Kokila Natchiyappan (IN)" initials="KN(" userId="S::kokila.natchiyappan@pwc.com::39dc57f8-07b8-42e8-89f5-2e681bb685df" providerId="AD"/>
  <p188:author id="{EB0D7ED7-68DA-42DB-0D57-5844842EDA75}" name="Pranav Evani (IN)" initials="PE(" userId="S::pranav.evani@pwc.com::abb39e65-b548-4d1a-ab29-20f96db1770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ooja Sharma (IN)" initials="PS(" lastIdx="3" clrIdx="0">
    <p:extLst>
      <p:ext uri="{19B8F6BF-5375-455C-9EA6-DF929625EA0E}">
        <p15:presenceInfo xmlns:p15="http://schemas.microsoft.com/office/powerpoint/2012/main" userId="S::pooja.f.sharma@pwc.com::82dfa1c3-6e9c-4c70-a40c-d633c00093d8" providerId="AD"/>
      </p:ext>
    </p:extLst>
  </p:cmAuthor>
  <p:cmAuthor id="2" name="Yogesh Bansal (IN)" initials="YB(" lastIdx="2" clrIdx="1">
    <p:extLst>
      <p:ext uri="{19B8F6BF-5375-455C-9EA6-DF929625EA0E}">
        <p15:presenceInfo xmlns:p15="http://schemas.microsoft.com/office/powerpoint/2012/main" userId="S::yogesh.bansal@pwc.com::9ce0abff-b43c-4b1e-b913-bc543e434aa2" providerId="AD"/>
      </p:ext>
    </p:extLst>
  </p:cmAuthor>
  <p:cmAuthor id="3" name="Priyanka Soni (IN)" initials="PS(" lastIdx="2" clrIdx="2">
    <p:extLst>
      <p:ext uri="{19B8F6BF-5375-455C-9EA6-DF929625EA0E}">
        <p15:presenceInfo xmlns:p15="http://schemas.microsoft.com/office/powerpoint/2012/main" userId="S::priyanka.p.soni@pwc.com::a05ebbe0-4ba1-435b-8e89-2e05acb5c31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301E"/>
    <a:srgbClr val="FFB600"/>
    <a:srgbClr val="7F7F7F"/>
    <a:srgbClr val="464646"/>
    <a:srgbClr val="DEDEDE"/>
    <a:srgbClr val="D93954"/>
    <a:srgbClr val="A3C8DB"/>
    <a:srgbClr val="2D2D2D"/>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F2E49CD-8313-4830-B55B-13858C3C71C9}" v="14" dt="2023-10-11T23:45:14.38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55" autoAdjust="0"/>
    <p:restoredTop sz="94830" autoAdjust="0"/>
  </p:normalViewPr>
  <p:slideViewPr>
    <p:cSldViewPr snapToObjects="1" showGuides="1">
      <p:cViewPr varScale="1">
        <p:scale>
          <a:sx n="69" d="100"/>
          <a:sy n="69" d="100"/>
        </p:scale>
        <p:origin x="1038" y="72"/>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96" d="100"/>
        <a:sy n="96" d="100"/>
      </p:scale>
      <p:origin x="0" y="0"/>
    </p:cViewPr>
  </p:sorterViewPr>
  <p:notesViewPr>
    <p:cSldViewPr snapToObjects="1" showGuides="1">
      <p:cViewPr varScale="1">
        <p:scale>
          <a:sx n="171" d="100"/>
          <a:sy n="171" d="100"/>
        </p:scale>
        <p:origin x="6552" y="16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slide" Target="slides/slide5.xml"/><Relationship Id="rId47" Type="http://schemas.openxmlformats.org/officeDocument/2006/relationships/slide" Target="slides/slide10.xml"/><Relationship Id="rId63" Type="http://schemas.openxmlformats.org/officeDocument/2006/relationships/slide" Target="slides/slide26.xml"/><Relationship Id="rId68" Type="http://schemas.openxmlformats.org/officeDocument/2006/relationships/notesMaster" Target="notesMasters/notesMaster1.xml"/><Relationship Id="rId16" Type="http://schemas.openxmlformats.org/officeDocument/2006/relationships/customXml" Target="../customXml/item16.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slideMaster" Target="slideMasters/slideMaster2.xml"/><Relationship Id="rId40" Type="http://schemas.openxmlformats.org/officeDocument/2006/relationships/slide" Target="slides/slide3.xml"/><Relationship Id="rId45" Type="http://schemas.openxmlformats.org/officeDocument/2006/relationships/slide" Target="slides/slide8.xml"/><Relationship Id="rId53" Type="http://schemas.openxmlformats.org/officeDocument/2006/relationships/slide" Target="slides/slide16.xml"/><Relationship Id="rId58" Type="http://schemas.openxmlformats.org/officeDocument/2006/relationships/slide" Target="slides/slide21.xml"/><Relationship Id="rId66" Type="http://schemas.openxmlformats.org/officeDocument/2006/relationships/slide" Target="slides/slide29.xml"/><Relationship Id="rId74" Type="http://schemas.openxmlformats.org/officeDocument/2006/relationships/theme" Target="theme/theme1.xml"/><Relationship Id="rId5" Type="http://schemas.openxmlformats.org/officeDocument/2006/relationships/customXml" Target="../customXml/item5.xml"/><Relationship Id="rId61" Type="http://schemas.openxmlformats.org/officeDocument/2006/relationships/slide" Target="slides/slide24.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slide" Target="slides/slide6.xml"/><Relationship Id="rId48" Type="http://schemas.openxmlformats.org/officeDocument/2006/relationships/slide" Target="slides/slide11.xml"/><Relationship Id="rId56" Type="http://schemas.openxmlformats.org/officeDocument/2006/relationships/slide" Target="slides/slide19.xml"/><Relationship Id="rId64" Type="http://schemas.openxmlformats.org/officeDocument/2006/relationships/slide" Target="slides/slide27.xml"/><Relationship Id="rId69" Type="http://schemas.openxmlformats.org/officeDocument/2006/relationships/handoutMaster" Target="handoutMasters/handoutMaster1.xml"/><Relationship Id="rId8" Type="http://schemas.openxmlformats.org/officeDocument/2006/relationships/customXml" Target="../customXml/item8.xml"/><Relationship Id="rId51" Type="http://schemas.openxmlformats.org/officeDocument/2006/relationships/slide" Target="slides/slide14.xml"/><Relationship Id="rId72" Type="http://schemas.openxmlformats.org/officeDocument/2006/relationships/presProps" Target="presProps.xml"/><Relationship Id="rId93" Type="http://schemas.microsoft.com/office/2018/10/relationships/authors" Target="author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slide" Target="slides/slide1.xml"/><Relationship Id="rId46" Type="http://schemas.openxmlformats.org/officeDocument/2006/relationships/slide" Target="slides/slide9.xml"/><Relationship Id="rId59" Type="http://schemas.openxmlformats.org/officeDocument/2006/relationships/slide" Target="slides/slide22.xml"/><Relationship Id="rId67" Type="http://schemas.openxmlformats.org/officeDocument/2006/relationships/slide" Target="slides/slide30.xml"/><Relationship Id="rId20" Type="http://schemas.openxmlformats.org/officeDocument/2006/relationships/customXml" Target="../customXml/item20.xml"/><Relationship Id="rId41" Type="http://schemas.openxmlformats.org/officeDocument/2006/relationships/slide" Target="slides/slide4.xml"/><Relationship Id="rId54" Type="http://schemas.openxmlformats.org/officeDocument/2006/relationships/slide" Target="slides/slide17.xml"/><Relationship Id="rId62" Type="http://schemas.openxmlformats.org/officeDocument/2006/relationships/slide" Target="slides/slide25.xml"/><Relationship Id="rId70" Type="http://schemas.openxmlformats.org/officeDocument/2006/relationships/tags" Target="tags/tag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Master" Target="slideMasters/slideMaster1.xml"/><Relationship Id="rId49" Type="http://schemas.openxmlformats.org/officeDocument/2006/relationships/slide" Target="slides/slide12.xml"/><Relationship Id="rId57" Type="http://schemas.openxmlformats.org/officeDocument/2006/relationships/slide" Target="slides/slide20.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 Target="slides/slide7.xml"/><Relationship Id="rId52" Type="http://schemas.openxmlformats.org/officeDocument/2006/relationships/slide" Target="slides/slide15.xml"/><Relationship Id="rId60" Type="http://schemas.openxmlformats.org/officeDocument/2006/relationships/slide" Target="slides/slide23.xml"/><Relationship Id="rId65" Type="http://schemas.openxmlformats.org/officeDocument/2006/relationships/slide" Target="slides/slide28.xml"/><Relationship Id="rId73"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2.xml"/><Relationship Id="rId34" Type="http://schemas.openxmlformats.org/officeDocument/2006/relationships/customXml" Target="../customXml/item34.xml"/><Relationship Id="rId50" Type="http://schemas.openxmlformats.org/officeDocument/2006/relationships/slide" Target="slides/slide13.xml"/><Relationship Id="rId55" Type="http://schemas.openxmlformats.org/officeDocument/2006/relationships/slide" Target="slides/slide18.xml"/><Relationship Id="rId76" Type="http://schemas.microsoft.com/office/2015/10/relationships/revisionInfo" Target="revisionInfo.xml"/><Relationship Id="rId7" Type="http://schemas.openxmlformats.org/officeDocument/2006/relationships/customXml" Target="../customXml/item7.xml"/><Relationship Id="rId71" Type="http://schemas.openxmlformats.org/officeDocument/2006/relationships/commentAuthors" Target="commentAuthors.xml"/><Relationship Id="rId2" Type="http://schemas.openxmlformats.org/officeDocument/2006/relationships/customXml" Target="../customXml/item2.xml"/><Relationship Id="rId29" Type="http://schemas.openxmlformats.org/officeDocument/2006/relationships/customXml" Target="../customXml/item29.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63D2387-485D-48D2-B863-C5860C7975A2}" type="doc">
      <dgm:prSet loTypeId="urn:microsoft.com/office/officeart/2005/8/layout/radial5" loCatId="cycle" qsTypeId="urn:microsoft.com/office/officeart/2005/8/quickstyle/simple1" qsCatId="simple" csTypeId="urn:microsoft.com/office/officeart/2005/8/colors/colorful1" csCatId="colorful" phldr="1"/>
      <dgm:spPr/>
      <dgm:t>
        <a:bodyPr/>
        <a:lstStyle/>
        <a:p>
          <a:endParaRPr lang="en-US"/>
        </a:p>
      </dgm:t>
    </dgm:pt>
    <dgm:pt modelId="{80D1DE8D-1D18-4A40-B8E5-63827E90807C}">
      <dgm:prSet phldrT="[Text]" custT="1"/>
      <dgm:spPr>
        <a:solidFill>
          <a:schemeClr val="accent6"/>
        </a:solidFill>
      </dgm:spPr>
      <dgm:t>
        <a:bodyPr/>
        <a:lstStyle/>
        <a:p>
          <a:pPr>
            <a:lnSpc>
              <a:spcPct val="100000"/>
            </a:lnSpc>
          </a:pPr>
          <a:r>
            <a:rPr lang="en-US" sz="1000" dirty="0">
              <a:latin typeface="+mn-lt"/>
            </a:rPr>
            <a:t>Parameters for Assessing Risk</a:t>
          </a:r>
        </a:p>
      </dgm:t>
    </dgm:pt>
    <dgm:pt modelId="{BF3A6C30-72C4-460D-9320-9946B333210A}" type="parTrans" cxnId="{E705032E-8D8F-40DC-A2D9-DDA8C21F5FF3}">
      <dgm:prSet/>
      <dgm:spPr/>
      <dgm:t>
        <a:bodyPr/>
        <a:lstStyle/>
        <a:p>
          <a:pPr>
            <a:lnSpc>
              <a:spcPct val="100000"/>
            </a:lnSpc>
          </a:pPr>
          <a:endParaRPr lang="en-US" sz="1000">
            <a:latin typeface="+mn-lt"/>
          </a:endParaRPr>
        </a:p>
      </dgm:t>
    </dgm:pt>
    <dgm:pt modelId="{64076BFA-2DE0-4F62-9A9A-65189C9C3439}" type="sibTrans" cxnId="{E705032E-8D8F-40DC-A2D9-DDA8C21F5FF3}">
      <dgm:prSet/>
      <dgm:spPr/>
      <dgm:t>
        <a:bodyPr/>
        <a:lstStyle/>
        <a:p>
          <a:pPr>
            <a:lnSpc>
              <a:spcPct val="100000"/>
            </a:lnSpc>
          </a:pPr>
          <a:endParaRPr lang="en-US" sz="1000">
            <a:latin typeface="+mn-lt"/>
          </a:endParaRPr>
        </a:p>
      </dgm:t>
    </dgm:pt>
    <dgm:pt modelId="{331AC706-B6D2-48E0-A1FC-D45DFA821CBB}">
      <dgm:prSet phldrT="[Text]" custT="1"/>
      <dgm:spPr>
        <a:solidFill>
          <a:schemeClr val="accent3"/>
        </a:solidFill>
      </dgm:spPr>
      <dgm:t>
        <a:bodyPr/>
        <a:lstStyle/>
        <a:p>
          <a:pPr>
            <a:lnSpc>
              <a:spcPct val="100000"/>
            </a:lnSpc>
          </a:pPr>
          <a:r>
            <a:rPr lang="en-US" sz="1000" dirty="0">
              <a:latin typeface="+mn-lt"/>
            </a:rPr>
            <a:t>Customer Risk</a:t>
          </a:r>
        </a:p>
      </dgm:t>
    </dgm:pt>
    <dgm:pt modelId="{CE5D3DEE-DE4A-41C3-BFBB-E2A6031FBCC6}" type="parTrans" cxnId="{76362FBF-5EF2-4319-A149-F93F43539418}">
      <dgm:prSet custT="1"/>
      <dgm:spPr>
        <a:solidFill>
          <a:schemeClr val="tx2"/>
        </a:solidFill>
      </dgm:spPr>
      <dgm:t>
        <a:bodyPr/>
        <a:lstStyle/>
        <a:p>
          <a:pPr>
            <a:lnSpc>
              <a:spcPct val="100000"/>
            </a:lnSpc>
          </a:pPr>
          <a:endParaRPr lang="en-US" sz="1000">
            <a:latin typeface="+mn-lt"/>
          </a:endParaRPr>
        </a:p>
      </dgm:t>
    </dgm:pt>
    <dgm:pt modelId="{B22EBA80-6099-4E46-BCE3-21622F8E19D7}" type="sibTrans" cxnId="{76362FBF-5EF2-4319-A149-F93F43539418}">
      <dgm:prSet/>
      <dgm:spPr/>
      <dgm:t>
        <a:bodyPr/>
        <a:lstStyle/>
        <a:p>
          <a:pPr>
            <a:lnSpc>
              <a:spcPct val="100000"/>
            </a:lnSpc>
          </a:pPr>
          <a:endParaRPr lang="en-US" sz="1000">
            <a:latin typeface="+mn-lt"/>
          </a:endParaRPr>
        </a:p>
      </dgm:t>
    </dgm:pt>
    <dgm:pt modelId="{A9CEC14A-02F0-44C4-855B-76C37373BFA3}">
      <dgm:prSet phldrT="[Text]" custT="1"/>
      <dgm:spPr>
        <a:solidFill>
          <a:schemeClr val="accent2"/>
        </a:solidFill>
      </dgm:spPr>
      <dgm:t>
        <a:bodyPr/>
        <a:lstStyle/>
        <a:p>
          <a:pPr>
            <a:lnSpc>
              <a:spcPct val="100000"/>
            </a:lnSpc>
          </a:pPr>
          <a:r>
            <a:rPr lang="en-US" sz="1000" dirty="0">
              <a:solidFill>
                <a:schemeClr val="tx1"/>
              </a:solidFill>
              <a:latin typeface="+mn-lt"/>
            </a:rPr>
            <a:t>Geography</a:t>
          </a:r>
        </a:p>
      </dgm:t>
    </dgm:pt>
    <dgm:pt modelId="{FCB593EF-CDDE-4FDD-A047-10D20919AA67}" type="parTrans" cxnId="{4209FD54-4AD7-4A49-AEAF-1C4D09097128}">
      <dgm:prSet custT="1"/>
      <dgm:spPr>
        <a:solidFill>
          <a:schemeClr val="tx2"/>
        </a:solidFill>
      </dgm:spPr>
      <dgm:t>
        <a:bodyPr/>
        <a:lstStyle/>
        <a:p>
          <a:pPr>
            <a:lnSpc>
              <a:spcPct val="100000"/>
            </a:lnSpc>
          </a:pPr>
          <a:endParaRPr lang="en-US" sz="1000">
            <a:latin typeface="+mn-lt"/>
          </a:endParaRPr>
        </a:p>
      </dgm:t>
    </dgm:pt>
    <dgm:pt modelId="{4B41CD78-CD43-4A8A-923B-A78142FE4E2B}" type="sibTrans" cxnId="{4209FD54-4AD7-4A49-AEAF-1C4D09097128}">
      <dgm:prSet/>
      <dgm:spPr/>
      <dgm:t>
        <a:bodyPr/>
        <a:lstStyle/>
        <a:p>
          <a:pPr>
            <a:lnSpc>
              <a:spcPct val="100000"/>
            </a:lnSpc>
          </a:pPr>
          <a:endParaRPr lang="en-US" sz="1000">
            <a:latin typeface="+mn-lt"/>
          </a:endParaRPr>
        </a:p>
      </dgm:t>
    </dgm:pt>
    <dgm:pt modelId="{B5E38172-DDBD-42FE-9ACE-69BDC9FF0250}">
      <dgm:prSet phldrT="[Text]" custT="1"/>
      <dgm:spPr>
        <a:solidFill>
          <a:schemeClr val="accent3"/>
        </a:solidFill>
      </dgm:spPr>
      <dgm:t>
        <a:bodyPr/>
        <a:lstStyle/>
        <a:p>
          <a:pPr>
            <a:lnSpc>
              <a:spcPct val="100000"/>
            </a:lnSpc>
          </a:pPr>
          <a:r>
            <a:rPr lang="en-US" sz="1000" dirty="0">
              <a:latin typeface="+mn-lt"/>
            </a:rPr>
            <a:t>Products &amp; Services</a:t>
          </a:r>
        </a:p>
      </dgm:t>
    </dgm:pt>
    <dgm:pt modelId="{22ED2026-3215-47A4-91E3-DC282EA88510}" type="parTrans" cxnId="{5C5C3F6F-5857-4020-9F20-E4BD78573587}">
      <dgm:prSet custT="1"/>
      <dgm:spPr>
        <a:solidFill>
          <a:schemeClr val="tx2"/>
        </a:solidFill>
      </dgm:spPr>
      <dgm:t>
        <a:bodyPr/>
        <a:lstStyle/>
        <a:p>
          <a:pPr>
            <a:lnSpc>
              <a:spcPct val="100000"/>
            </a:lnSpc>
          </a:pPr>
          <a:endParaRPr lang="en-US" sz="1000">
            <a:latin typeface="+mn-lt"/>
          </a:endParaRPr>
        </a:p>
      </dgm:t>
    </dgm:pt>
    <dgm:pt modelId="{7EB0D04C-3D24-4A27-9411-E5900DE0C583}" type="sibTrans" cxnId="{5C5C3F6F-5857-4020-9F20-E4BD78573587}">
      <dgm:prSet/>
      <dgm:spPr/>
      <dgm:t>
        <a:bodyPr/>
        <a:lstStyle/>
        <a:p>
          <a:pPr>
            <a:lnSpc>
              <a:spcPct val="100000"/>
            </a:lnSpc>
          </a:pPr>
          <a:endParaRPr lang="en-US" sz="1000">
            <a:latin typeface="+mn-lt"/>
          </a:endParaRPr>
        </a:p>
      </dgm:t>
    </dgm:pt>
    <dgm:pt modelId="{E9421401-5C50-42DF-B562-E9F4BA48F207}">
      <dgm:prSet phldrT="[Text]" custT="1"/>
      <dgm:spPr>
        <a:solidFill>
          <a:schemeClr val="accent2"/>
        </a:solidFill>
      </dgm:spPr>
      <dgm:t>
        <a:bodyPr/>
        <a:lstStyle/>
        <a:p>
          <a:pPr>
            <a:lnSpc>
              <a:spcPct val="100000"/>
            </a:lnSpc>
          </a:pPr>
          <a:r>
            <a:rPr lang="en-US" sz="1000" dirty="0">
              <a:solidFill>
                <a:schemeClr val="tx1"/>
              </a:solidFill>
              <a:latin typeface="+mn-lt"/>
            </a:rPr>
            <a:t>Delivery Channel</a:t>
          </a:r>
        </a:p>
      </dgm:t>
    </dgm:pt>
    <dgm:pt modelId="{A7E32DCB-752C-4B14-9898-28CA88EC29B2}" type="parTrans" cxnId="{6CE3FE40-5C7A-4601-AF75-D6254D1897DF}">
      <dgm:prSet custT="1"/>
      <dgm:spPr>
        <a:solidFill>
          <a:schemeClr val="tx2"/>
        </a:solidFill>
      </dgm:spPr>
      <dgm:t>
        <a:bodyPr/>
        <a:lstStyle/>
        <a:p>
          <a:pPr>
            <a:lnSpc>
              <a:spcPct val="100000"/>
            </a:lnSpc>
          </a:pPr>
          <a:endParaRPr lang="en-US" sz="1000">
            <a:latin typeface="+mn-lt"/>
          </a:endParaRPr>
        </a:p>
      </dgm:t>
    </dgm:pt>
    <dgm:pt modelId="{8A6F8769-294C-4FBD-B5CC-A5CEB8EB5C63}" type="sibTrans" cxnId="{6CE3FE40-5C7A-4601-AF75-D6254D1897DF}">
      <dgm:prSet/>
      <dgm:spPr/>
      <dgm:t>
        <a:bodyPr/>
        <a:lstStyle/>
        <a:p>
          <a:pPr>
            <a:lnSpc>
              <a:spcPct val="100000"/>
            </a:lnSpc>
          </a:pPr>
          <a:endParaRPr lang="en-US" sz="1000">
            <a:latin typeface="+mn-lt"/>
          </a:endParaRPr>
        </a:p>
      </dgm:t>
    </dgm:pt>
    <dgm:pt modelId="{9056EB10-6DF7-4F83-9172-7C49F2DF24D4}">
      <dgm:prSet custT="1"/>
      <dgm:spPr>
        <a:solidFill>
          <a:schemeClr val="accent3"/>
        </a:solidFill>
      </dgm:spPr>
      <dgm:t>
        <a:bodyPr/>
        <a:lstStyle/>
        <a:p>
          <a:pPr>
            <a:lnSpc>
              <a:spcPct val="100000"/>
            </a:lnSpc>
          </a:pPr>
          <a:r>
            <a:rPr lang="en-US" sz="1000" dirty="0">
              <a:latin typeface="+mn-lt"/>
            </a:rPr>
            <a:t>Special Risk Factors</a:t>
          </a:r>
        </a:p>
      </dgm:t>
    </dgm:pt>
    <dgm:pt modelId="{DE38BF60-1C14-4129-AE49-48DE5EAD44C5}" type="parTrans" cxnId="{D1F845EA-B5B7-400B-B966-DCA3C5C09A00}">
      <dgm:prSet custT="1"/>
      <dgm:spPr>
        <a:solidFill>
          <a:schemeClr val="tx2"/>
        </a:solidFill>
      </dgm:spPr>
      <dgm:t>
        <a:bodyPr/>
        <a:lstStyle/>
        <a:p>
          <a:pPr>
            <a:lnSpc>
              <a:spcPct val="100000"/>
            </a:lnSpc>
          </a:pPr>
          <a:endParaRPr lang="en-US" sz="1000">
            <a:latin typeface="+mn-lt"/>
          </a:endParaRPr>
        </a:p>
      </dgm:t>
    </dgm:pt>
    <dgm:pt modelId="{1E98F819-0DF3-43F9-A005-A7314920AC35}" type="sibTrans" cxnId="{D1F845EA-B5B7-400B-B966-DCA3C5C09A00}">
      <dgm:prSet/>
      <dgm:spPr/>
      <dgm:t>
        <a:bodyPr/>
        <a:lstStyle/>
        <a:p>
          <a:pPr>
            <a:lnSpc>
              <a:spcPct val="100000"/>
            </a:lnSpc>
          </a:pPr>
          <a:endParaRPr lang="en-US" sz="1000">
            <a:latin typeface="+mn-lt"/>
          </a:endParaRPr>
        </a:p>
      </dgm:t>
    </dgm:pt>
    <dgm:pt modelId="{82F2B684-D45E-4B14-93C5-68D967C34801}" type="pres">
      <dgm:prSet presAssocID="{763D2387-485D-48D2-B863-C5860C7975A2}" presName="Name0" presStyleCnt="0">
        <dgm:presLayoutVars>
          <dgm:chMax val="1"/>
          <dgm:dir/>
          <dgm:animLvl val="ctr"/>
          <dgm:resizeHandles val="exact"/>
        </dgm:presLayoutVars>
      </dgm:prSet>
      <dgm:spPr/>
      <dgm:t>
        <a:bodyPr/>
        <a:lstStyle/>
        <a:p>
          <a:endParaRPr lang="en-US"/>
        </a:p>
      </dgm:t>
    </dgm:pt>
    <dgm:pt modelId="{94FAEAA7-0BA0-485C-AE64-66A6366DD292}" type="pres">
      <dgm:prSet presAssocID="{80D1DE8D-1D18-4A40-B8E5-63827E90807C}" presName="centerShape" presStyleLbl="node0" presStyleIdx="0" presStyleCnt="1"/>
      <dgm:spPr/>
      <dgm:t>
        <a:bodyPr/>
        <a:lstStyle/>
        <a:p>
          <a:endParaRPr lang="en-US"/>
        </a:p>
      </dgm:t>
    </dgm:pt>
    <dgm:pt modelId="{6AE6CAD7-7A3B-4936-A434-56A0EBD91FD7}" type="pres">
      <dgm:prSet presAssocID="{CE5D3DEE-DE4A-41C3-BFBB-E2A6031FBCC6}" presName="parTrans" presStyleLbl="sibTrans2D1" presStyleIdx="0" presStyleCnt="5"/>
      <dgm:spPr/>
      <dgm:t>
        <a:bodyPr/>
        <a:lstStyle/>
        <a:p>
          <a:endParaRPr lang="en-US"/>
        </a:p>
      </dgm:t>
    </dgm:pt>
    <dgm:pt modelId="{DE2B6054-FD01-4120-9001-996FFED474DE}" type="pres">
      <dgm:prSet presAssocID="{CE5D3DEE-DE4A-41C3-BFBB-E2A6031FBCC6}" presName="connectorText" presStyleLbl="sibTrans2D1" presStyleIdx="0" presStyleCnt="5"/>
      <dgm:spPr/>
      <dgm:t>
        <a:bodyPr/>
        <a:lstStyle/>
        <a:p>
          <a:endParaRPr lang="en-US"/>
        </a:p>
      </dgm:t>
    </dgm:pt>
    <dgm:pt modelId="{4998DCA0-3CEC-48B7-A808-793036D7FE79}" type="pres">
      <dgm:prSet presAssocID="{331AC706-B6D2-48E0-A1FC-D45DFA821CBB}" presName="node" presStyleLbl="node1" presStyleIdx="0" presStyleCnt="5">
        <dgm:presLayoutVars>
          <dgm:bulletEnabled val="1"/>
        </dgm:presLayoutVars>
      </dgm:prSet>
      <dgm:spPr/>
      <dgm:t>
        <a:bodyPr/>
        <a:lstStyle/>
        <a:p>
          <a:endParaRPr lang="en-US"/>
        </a:p>
      </dgm:t>
    </dgm:pt>
    <dgm:pt modelId="{D0A3ADC6-D8A0-4A6C-A2C1-8CED666B982D}" type="pres">
      <dgm:prSet presAssocID="{FCB593EF-CDDE-4FDD-A047-10D20919AA67}" presName="parTrans" presStyleLbl="sibTrans2D1" presStyleIdx="1" presStyleCnt="5"/>
      <dgm:spPr/>
      <dgm:t>
        <a:bodyPr/>
        <a:lstStyle/>
        <a:p>
          <a:endParaRPr lang="en-US"/>
        </a:p>
      </dgm:t>
    </dgm:pt>
    <dgm:pt modelId="{7C3F7D6C-3ACD-4C64-A135-226F6DDB1D07}" type="pres">
      <dgm:prSet presAssocID="{FCB593EF-CDDE-4FDD-A047-10D20919AA67}" presName="connectorText" presStyleLbl="sibTrans2D1" presStyleIdx="1" presStyleCnt="5"/>
      <dgm:spPr/>
      <dgm:t>
        <a:bodyPr/>
        <a:lstStyle/>
        <a:p>
          <a:endParaRPr lang="en-US"/>
        </a:p>
      </dgm:t>
    </dgm:pt>
    <dgm:pt modelId="{E8D90546-E374-4FEB-9FED-6402C15B29EF}" type="pres">
      <dgm:prSet presAssocID="{A9CEC14A-02F0-44C4-855B-76C37373BFA3}" presName="node" presStyleLbl="node1" presStyleIdx="1" presStyleCnt="5">
        <dgm:presLayoutVars>
          <dgm:bulletEnabled val="1"/>
        </dgm:presLayoutVars>
      </dgm:prSet>
      <dgm:spPr/>
      <dgm:t>
        <a:bodyPr/>
        <a:lstStyle/>
        <a:p>
          <a:endParaRPr lang="en-US"/>
        </a:p>
      </dgm:t>
    </dgm:pt>
    <dgm:pt modelId="{6973A3A0-BAC5-4069-AEFC-39DBA68346D3}" type="pres">
      <dgm:prSet presAssocID="{22ED2026-3215-47A4-91E3-DC282EA88510}" presName="parTrans" presStyleLbl="sibTrans2D1" presStyleIdx="2" presStyleCnt="5"/>
      <dgm:spPr/>
      <dgm:t>
        <a:bodyPr/>
        <a:lstStyle/>
        <a:p>
          <a:endParaRPr lang="en-US"/>
        </a:p>
      </dgm:t>
    </dgm:pt>
    <dgm:pt modelId="{94140667-C326-452C-95F5-F7E1B3AC92BB}" type="pres">
      <dgm:prSet presAssocID="{22ED2026-3215-47A4-91E3-DC282EA88510}" presName="connectorText" presStyleLbl="sibTrans2D1" presStyleIdx="2" presStyleCnt="5"/>
      <dgm:spPr/>
      <dgm:t>
        <a:bodyPr/>
        <a:lstStyle/>
        <a:p>
          <a:endParaRPr lang="en-US"/>
        </a:p>
      </dgm:t>
    </dgm:pt>
    <dgm:pt modelId="{A7F58925-6362-4F0F-885E-488680A81E14}" type="pres">
      <dgm:prSet presAssocID="{B5E38172-DDBD-42FE-9ACE-69BDC9FF0250}" presName="node" presStyleLbl="node1" presStyleIdx="2" presStyleCnt="5">
        <dgm:presLayoutVars>
          <dgm:bulletEnabled val="1"/>
        </dgm:presLayoutVars>
      </dgm:prSet>
      <dgm:spPr/>
      <dgm:t>
        <a:bodyPr/>
        <a:lstStyle/>
        <a:p>
          <a:endParaRPr lang="en-US"/>
        </a:p>
      </dgm:t>
    </dgm:pt>
    <dgm:pt modelId="{C3F79DFD-C1BD-4A13-8229-AE8239A80F6E}" type="pres">
      <dgm:prSet presAssocID="{DE38BF60-1C14-4129-AE49-48DE5EAD44C5}" presName="parTrans" presStyleLbl="sibTrans2D1" presStyleIdx="3" presStyleCnt="5"/>
      <dgm:spPr/>
      <dgm:t>
        <a:bodyPr/>
        <a:lstStyle/>
        <a:p>
          <a:endParaRPr lang="en-US"/>
        </a:p>
      </dgm:t>
    </dgm:pt>
    <dgm:pt modelId="{26F93B32-D7AF-4FBA-A7B7-B1D28907845B}" type="pres">
      <dgm:prSet presAssocID="{DE38BF60-1C14-4129-AE49-48DE5EAD44C5}" presName="connectorText" presStyleLbl="sibTrans2D1" presStyleIdx="3" presStyleCnt="5"/>
      <dgm:spPr/>
      <dgm:t>
        <a:bodyPr/>
        <a:lstStyle/>
        <a:p>
          <a:endParaRPr lang="en-US"/>
        </a:p>
      </dgm:t>
    </dgm:pt>
    <dgm:pt modelId="{7E16D92C-C275-4CAD-98A9-B4B4B477C7B2}" type="pres">
      <dgm:prSet presAssocID="{9056EB10-6DF7-4F83-9172-7C49F2DF24D4}" presName="node" presStyleLbl="node1" presStyleIdx="3" presStyleCnt="5">
        <dgm:presLayoutVars>
          <dgm:bulletEnabled val="1"/>
        </dgm:presLayoutVars>
      </dgm:prSet>
      <dgm:spPr/>
      <dgm:t>
        <a:bodyPr/>
        <a:lstStyle/>
        <a:p>
          <a:endParaRPr lang="en-US"/>
        </a:p>
      </dgm:t>
    </dgm:pt>
    <dgm:pt modelId="{09012D46-93A3-4C2E-9D56-82A7B37BCBDB}" type="pres">
      <dgm:prSet presAssocID="{A7E32DCB-752C-4B14-9898-28CA88EC29B2}" presName="parTrans" presStyleLbl="sibTrans2D1" presStyleIdx="4" presStyleCnt="5"/>
      <dgm:spPr/>
      <dgm:t>
        <a:bodyPr/>
        <a:lstStyle/>
        <a:p>
          <a:endParaRPr lang="en-US"/>
        </a:p>
      </dgm:t>
    </dgm:pt>
    <dgm:pt modelId="{DB858651-421F-4936-A096-B8D4B7DF44E5}" type="pres">
      <dgm:prSet presAssocID="{A7E32DCB-752C-4B14-9898-28CA88EC29B2}" presName="connectorText" presStyleLbl="sibTrans2D1" presStyleIdx="4" presStyleCnt="5"/>
      <dgm:spPr/>
      <dgm:t>
        <a:bodyPr/>
        <a:lstStyle/>
        <a:p>
          <a:endParaRPr lang="en-US"/>
        </a:p>
      </dgm:t>
    </dgm:pt>
    <dgm:pt modelId="{F65645E1-4323-4479-8E5C-40AC79E88669}" type="pres">
      <dgm:prSet presAssocID="{E9421401-5C50-42DF-B562-E9F4BA48F207}" presName="node" presStyleLbl="node1" presStyleIdx="4" presStyleCnt="5">
        <dgm:presLayoutVars>
          <dgm:bulletEnabled val="1"/>
        </dgm:presLayoutVars>
      </dgm:prSet>
      <dgm:spPr/>
      <dgm:t>
        <a:bodyPr/>
        <a:lstStyle/>
        <a:p>
          <a:endParaRPr lang="en-US"/>
        </a:p>
      </dgm:t>
    </dgm:pt>
  </dgm:ptLst>
  <dgm:cxnLst>
    <dgm:cxn modelId="{D7FF4968-44D4-415E-8E3A-E6A5C61E74B0}" type="presOf" srcId="{22ED2026-3215-47A4-91E3-DC282EA88510}" destId="{6973A3A0-BAC5-4069-AEFC-39DBA68346D3}" srcOrd="0" destOrd="0" presId="urn:microsoft.com/office/officeart/2005/8/layout/radial5"/>
    <dgm:cxn modelId="{D9C3F01D-6602-424F-B677-2F38679E90A8}" type="presOf" srcId="{DE38BF60-1C14-4129-AE49-48DE5EAD44C5}" destId="{C3F79DFD-C1BD-4A13-8229-AE8239A80F6E}" srcOrd="0" destOrd="0" presId="urn:microsoft.com/office/officeart/2005/8/layout/radial5"/>
    <dgm:cxn modelId="{797F7E24-BD0D-40C2-B9C2-FB00D8459E2C}" type="presOf" srcId="{DE38BF60-1C14-4129-AE49-48DE5EAD44C5}" destId="{26F93B32-D7AF-4FBA-A7B7-B1D28907845B}" srcOrd="1" destOrd="0" presId="urn:microsoft.com/office/officeart/2005/8/layout/radial5"/>
    <dgm:cxn modelId="{76362FBF-5EF2-4319-A149-F93F43539418}" srcId="{80D1DE8D-1D18-4A40-B8E5-63827E90807C}" destId="{331AC706-B6D2-48E0-A1FC-D45DFA821CBB}" srcOrd="0" destOrd="0" parTransId="{CE5D3DEE-DE4A-41C3-BFBB-E2A6031FBCC6}" sibTransId="{B22EBA80-6099-4E46-BCE3-21622F8E19D7}"/>
    <dgm:cxn modelId="{F5738DDF-B829-45AF-A256-DCC32BC103CA}" type="presOf" srcId="{A9CEC14A-02F0-44C4-855B-76C37373BFA3}" destId="{E8D90546-E374-4FEB-9FED-6402C15B29EF}" srcOrd="0" destOrd="0" presId="urn:microsoft.com/office/officeart/2005/8/layout/radial5"/>
    <dgm:cxn modelId="{84C6AB0A-3224-41B2-83B6-E2F34A17A901}" type="presOf" srcId="{9056EB10-6DF7-4F83-9172-7C49F2DF24D4}" destId="{7E16D92C-C275-4CAD-98A9-B4B4B477C7B2}" srcOrd="0" destOrd="0" presId="urn:microsoft.com/office/officeart/2005/8/layout/radial5"/>
    <dgm:cxn modelId="{A1B2E7A3-1A76-4DFB-8639-60576747F230}" type="presOf" srcId="{A7E32DCB-752C-4B14-9898-28CA88EC29B2}" destId="{DB858651-421F-4936-A096-B8D4B7DF44E5}" srcOrd="1" destOrd="0" presId="urn:microsoft.com/office/officeart/2005/8/layout/radial5"/>
    <dgm:cxn modelId="{EAB14614-29E3-49B2-82A8-48358927634A}" type="presOf" srcId="{FCB593EF-CDDE-4FDD-A047-10D20919AA67}" destId="{7C3F7D6C-3ACD-4C64-A135-226F6DDB1D07}" srcOrd="1" destOrd="0" presId="urn:microsoft.com/office/officeart/2005/8/layout/radial5"/>
    <dgm:cxn modelId="{CFCC7B5D-FDD1-4EE4-87D7-0C907D8996A5}" type="presOf" srcId="{B5E38172-DDBD-42FE-9ACE-69BDC9FF0250}" destId="{A7F58925-6362-4F0F-885E-488680A81E14}" srcOrd="0" destOrd="0" presId="urn:microsoft.com/office/officeart/2005/8/layout/radial5"/>
    <dgm:cxn modelId="{6CE3FE40-5C7A-4601-AF75-D6254D1897DF}" srcId="{80D1DE8D-1D18-4A40-B8E5-63827E90807C}" destId="{E9421401-5C50-42DF-B562-E9F4BA48F207}" srcOrd="4" destOrd="0" parTransId="{A7E32DCB-752C-4B14-9898-28CA88EC29B2}" sibTransId="{8A6F8769-294C-4FBD-B5CC-A5CEB8EB5C63}"/>
    <dgm:cxn modelId="{94A337EC-1D61-4132-AD20-4345F21D185B}" type="presOf" srcId="{FCB593EF-CDDE-4FDD-A047-10D20919AA67}" destId="{D0A3ADC6-D8A0-4A6C-A2C1-8CED666B982D}" srcOrd="0" destOrd="0" presId="urn:microsoft.com/office/officeart/2005/8/layout/radial5"/>
    <dgm:cxn modelId="{4209FD54-4AD7-4A49-AEAF-1C4D09097128}" srcId="{80D1DE8D-1D18-4A40-B8E5-63827E90807C}" destId="{A9CEC14A-02F0-44C4-855B-76C37373BFA3}" srcOrd="1" destOrd="0" parTransId="{FCB593EF-CDDE-4FDD-A047-10D20919AA67}" sibTransId="{4B41CD78-CD43-4A8A-923B-A78142FE4E2B}"/>
    <dgm:cxn modelId="{5C5C3F6F-5857-4020-9F20-E4BD78573587}" srcId="{80D1DE8D-1D18-4A40-B8E5-63827E90807C}" destId="{B5E38172-DDBD-42FE-9ACE-69BDC9FF0250}" srcOrd="2" destOrd="0" parTransId="{22ED2026-3215-47A4-91E3-DC282EA88510}" sibTransId="{7EB0D04C-3D24-4A27-9411-E5900DE0C583}"/>
    <dgm:cxn modelId="{CF0CD3E3-F673-4B87-B242-4AFC970A6C04}" type="presOf" srcId="{A7E32DCB-752C-4B14-9898-28CA88EC29B2}" destId="{09012D46-93A3-4C2E-9D56-82A7B37BCBDB}" srcOrd="0" destOrd="0" presId="urn:microsoft.com/office/officeart/2005/8/layout/radial5"/>
    <dgm:cxn modelId="{CDA7DFA0-0B20-498E-B372-34A129F2274F}" type="presOf" srcId="{E9421401-5C50-42DF-B562-E9F4BA48F207}" destId="{F65645E1-4323-4479-8E5C-40AC79E88669}" srcOrd="0" destOrd="0" presId="urn:microsoft.com/office/officeart/2005/8/layout/radial5"/>
    <dgm:cxn modelId="{E705032E-8D8F-40DC-A2D9-DDA8C21F5FF3}" srcId="{763D2387-485D-48D2-B863-C5860C7975A2}" destId="{80D1DE8D-1D18-4A40-B8E5-63827E90807C}" srcOrd="0" destOrd="0" parTransId="{BF3A6C30-72C4-460D-9320-9946B333210A}" sibTransId="{64076BFA-2DE0-4F62-9A9A-65189C9C3439}"/>
    <dgm:cxn modelId="{6F83AAA7-FF0D-450F-996B-FE2505ECBE74}" type="presOf" srcId="{CE5D3DEE-DE4A-41C3-BFBB-E2A6031FBCC6}" destId="{DE2B6054-FD01-4120-9001-996FFED474DE}" srcOrd="1" destOrd="0" presId="urn:microsoft.com/office/officeart/2005/8/layout/radial5"/>
    <dgm:cxn modelId="{45508A9E-7720-411B-A343-EB36C52B7E68}" type="presOf" srcId="{763D2387-485D-48D2-B863-C5860C7975A2}" destId="{82F2B684-D45E-4B14-93C5-68D967C34801}" srcOrd="0" destOrd="0" presId="urn:microsoft.com/office/officeart/2005/8/layout/radial5"/>
    <dgm:cxn modelId="{77B8DF78-4C6D-4385-BEBD-162CCA5FB054}" type="presOf" srcId="{22ED2026-3215-47A4-91E3-DC282EA88510}" destId="{94140667-C326-452C-95F5-F7E1B3AC92BB}" srcOrd="1" destOrd="0" presId="urn:microsoft.com/office/officeart/2005/8/layout/radial5"/>
    <dgm:cxn modelId="{36046731-89E2-4DAE-BB06-8E0628DF9100}" type="presOf" srcId="{CE5D3DEE-DE4A-41C3-BFBB-E2A6031FBCC6}" destId="{6AE6CAD7-7A3B-4936-A434-56A0EBD91FD7}" srcOrd="0" destOrd="0" presId="urn:microsoft.com/office/officeart/2005/8/layout/radial5"/>
    <dgm:cxn modelId="{3011C379-32E6-4956-9C43-87482BAFAE67}" type="presOf" srcId="{331AC706-B6D2-48E0-A1FC-D45DFA821CBB}" destId="{4998DCA0-3CEC-48B7-A808-793036D7FE79}" srcOrd="0" destOrd="0" presId="urn:microsoft.com/office/officeart/2005/8/layout/radial5"/>
    <dgm:cxn modelId="{CCCC1273-2323-4258-BFE9-4974D20570D5}" type="presOf" srcId="{80D1DE8D-1D18-4A40-B8E5-63827E90807C}" destId="{94FAEAA7-0BA0-485C-AE64-66A6366DD292}" srcOrd="0" destOrd="0" presId="urn:microsoft.com/office/officeart/2005/8/layout/radial5"/>
    <dgm:cxn modelId="{D1F845EA-B5B7-400B-B966-DCA3C5C09A00}" srcId="{80D1DE8D-1D18-4A40-B8E5-63827E90807C}" destId="{9056EB10-6DF7-4F83-9172-7C49F2DF24D4}" srcOrd="3" destOrd="0" parTransId="{DE38BF60-1C14-4129-AE49-48DE5EAD44C5}" sibTransId="{1E98F819-0DF3-43F9-A005-A7314920AC35}"/>
    <dgm:cxn modelId="{ADFEBA26-1840-4EC9-8676-18380ED597A9}" type="presParOf" srcId="{82F2B684-D45E-4B14-93C5-68D967C34801}" destId="{94FAEAA7-0BA0-485C-AE64-66A6366DD292}" srcOrd="0" destOrd="0" presId="urn:microsoft.com/office/officeart/2005/8/layout/radial5"/>
    <dgm:cxn modelId="{433D4C3F-4ED7-4259-8E88-DE8D058FC4E0}" type="presParOf" srcId="{82F2B684-D45E-4B14-93C5-68D967C34801}" destId="{6AE6CAD7-7A3B-4936-A434-56A0EBD91FD7}" srcOrd="1" destOrd="0" presId="urn:microsoft.com/office/officeart/2005/8/layout/radial5"/>
    <dgm:cxn modelId="{75B62C29-B7BE-4652-BBA0-C7AB7EF484AE}" type="presParOf" srcId="{6AE6CAD7-7A3B-4936-A434-56A0EBD91FD7}" destId="{DE2B6054-FD01-4120-9001-996FFED474DE}" srcOrd="0" destOrd="0" presId="urn:microsoft.com/office/officeart/2005/8/layout/radial5"/>
    <dgm:cxn modelId="{8E344F58-3704-4085-806C-C18B34EA2EDE}" type="presParOf" srcId="{82F2B684-D45E-4B14-93C5-68D967C34801}" destId="{4998DCA0-3CEC-48B7-A808-793036D7FE79}" srcOrd="2" destOrd="0" presId="urn:microsoft.com/office/officeart/2005/8/layout/radial5"/>
    <dgm:cxn modelId="{9ECA2392-5FA4-47ED-AA8E-3869AF06F45E}" type="presParOf" srcId="{82F2B684-D45E-4B14-93C5-68D967C34801}" destId="{D0A3ADC6-D8A0-4A6C-A2C1-8CED666B982D}" srcOrd="3" destOrd="0" presId="urn:microsoft.com/office/officeart/2005/8/layout/radial5"/>
    <dgm:cxn modelId="{2EC983D5-3921-49D1-9BE8-0DE44E7427A4}" type="presParOf" srcId="{D0A3ADC6-D8A0-4A6C-A2C1-8CED666B982D}" destId="{7C3F7D6C-3ACD-4C64-A135-226F6DDB1D07}" srcOrd="0" destOrd="0" presId="urn:microsoft.com/office/officeart/2005/8/layout/radial5"/>
    <dgm:cxn modelId="{E8AF9D54-46E6-4B6B-B424-D0F6C1110E4C}" type="presParOf" srcId="{82F2B684-D45E-4B14-93C5-68D967C34801}" destId="{E8D90546-E374-4FEB-9FED-6402C15B29EF}" srcOrd="4" destOrd="0" presId="urn:microsoft.com/office/officeart/2005/8/layout/radial5"/>
    <dgm:cxn modelId="{3AFF6CF0-1809-408E-8A6A-48B530A9E33F}" type="presParOf" srcId="{82F2B684-D45E-4B14-93C5-68D967C34801}" destId="{6973A3A0-BAC5-4069-AEFC-39DBA68346D3}" srcOrd="5" destOrd="0" presId="urn:microsoft.com/office/officeart/2005/8/layout/radial5"/>
    <dgm:cxn modelId="{83B6724B-A263-4EF3-9054-57442821F6BF}" type="presParOf" srcId="{6973A3A0-BAC5-4069-AEFC-39DBA68346D3}" destId="{94140667-C326-452C-95F5-F7E1B3AC92BB}" srcOrd="0" destOrd="0" presId="urn:microsoft.com/office/officeart/2005/8/layout/radial5"/>
    <dgm:cxn modelId="{63E3ABB9-AD08-41DD-9AFD-C3A5F40D11DA}" type="presParOf" srcId="{82F2B684-D45E-4B14-93C5-68D967C34801}" destId="{A7F58925-6362-4F0F-885E-488680A81E14}" srcOrd="6" destOrd="0" presId="urn:microsoft.com/office/officeart/2005/8/layout/radial5"/>
    <dgm:cxn modelId="{975A63A4-AEFE-4F2C-8205-00AF0B3F3019}" type="presParOf" srcId="{82F2B684-D45E-4B14-93C5-68D967C34801}" destId="{C3F79DFD-C1BD-4A13-8229-AE8239A80F6E}" srcOrd="7" destOrd="0" presId="urn:microsoft.com/office/officeart/2005/8/layout/radial5"/>
    <dgm:cxn modelId="{9B7A09F9-B407-4A69-8F38-7392520BC95A}" type="presParOf" srcId="{C3F79DFD-C1BD-4A13-8229-AE8239A80F6E}" destId="{26F93B32-D7AF-4FBA-A7B7-B1D28907845B}" srcOrd="0" destOrd="0" presId="urn:microsoft.com/office/officeart/2005/8/layout/radial5"/>
    <dgm:cxn modelId="{B1843B36-54B5-462E-8142-B86F148709D5}" type="presParOf" srcId="{82F2B684-D45E-4B14-93C5-68D967C34801}" destId="{7E16D92C-C275-4CAD-98A9-B4B4B477C7B2}" srcOrd="8" destOrd="0" presId="urn:microsoft.com/office/officeart/2005/8/layout/radial5"/>
    <dgm:cxn modelId="{7B617629-5282-49A8-A87C-F4E5C6DA0D62}" type="presParOf" srcId="{82F2B684-D45E-4B14-93C5-68D967C34801}" destId="{09012D46-93A3-4C2E-9D56-82A7B37BCBDB}" srcOrd="9" destOrd="0" presId="urn:microsoft.com/office/officeart/2005/8/layout/radial5"/>
    <dgm:cxn modelId="{871AFD7D-4A83-4365-AE12-F7FF518AD21B}" type="presParOf" srcId="{09012D46-93A3-4C2E-9D56-82A7B37BCBDB}" destId="{DB858651-421F-4936-A096-B8D4B7DF44E5}" srcOrd="0" destOrd="0" presId="urn:microsoft.com/office/officeart/2005/8/layout/radial5"/>
    <dgm:cxn modelId="{F38A1E2A-2CA2-4A76-937E-E702C818FD47}" type="presParOf" srcId="{82F2B684-D45E-4B14-93C5-68D967C34801}" destId="{F65645E1-4323-4479-8E5C-40AC79E88669}" srcOrd="10" destOrd="0" presId="urn:microsoft.com/office/officeart/2005/8/layout/radial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FAEAA7-0BA0-485C-AE64-66A6366DD292}">
      <dsp:nvSpPr>
        <dsp:cNvPr id="0" name=""/>
        <dsp:cNvSpPr/>
      </dsp:nvSpPr>
      <dsp:spPr>
        <a:xfrm>
          <a:off x="2772248" y="1559388"/>
          <a:ext cx="1111499" cy="1111499"/>
        </a:xfrm>
        <a:prstGeom prst="ellipse">
          <a:avLst/>
        </a:prstGeom>
        <a:solidFill>
          <a:schemeClr val="accent6"/>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100000"/>
            </a:lnSpc>
            <a:spcBef>
              <a:spcPct val="0"/>
            </a:spcBef>
            <a:spcAft>
              <a:spcPct val="35000"/>
            </a:spcAft>
          </a:pPr>
          <a:r>
            <a:rPr lang="en-US" sz="1000" kern="1200" dirty="0">
              <a:latin typeface="+mn-lt"/>
            </a:rPr>
            <a:t>Parameters for Assessing Risk</a:t>
          </a:r>
        </a:p>
      </dsp:txBody>
      <dsp:txXfrm>
        <a:off x="2935023" y="1722163"/>
        <a:ext cx="785949" cy="785949"/>
      </dsp:txXfrm>
    </dsp:sp>
    <dsp:sp modelId="{6AE6CAD7-7A3B-4936-A434-56A0EBD91FD7}">
      <dsp:nvSpPr>
        <dsp:cNvPr id="0" name=""/>
        <dsp:cNvSpPr/>
      </dsp:nvSpPr>
      <dsp:spPr>
        <a:xfrm rot="16200000">
          <a:off x="3209884" y="1154263"/>
          <a:ext cx="236227" cy="377909"/>
        </a:xfrm>
        <a:prstGeom prst="rightArrow">
          <a:avLst>
            <a:gd name="adj1" fmla="val 60000"/>
            <a:gd name="adj2" fmla="val 50000"/>
          </a:avLst>
        </a:prstGeom>
        <a:solidFill>
          <a:schemeClr val="tx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100000"/>
            </a:lnSpc>
            <a:spcBef>
              <a:spcPct val="0"/>
            </a:spcBef>
            <a:spcAft>
              <a:spcPct val="35000"/>
            </a:spcAft>
          </a:pPr>
          <a:endParaRPr lang="en-US" sz="1000" kern="1200">
            <a:latin typeface="+mn-lt"/>
          </a:endParaRPr>
        </a:p>
      </dsp:txBody>
      <dsp:txXfrm>
        <a:off x="3245318" y="1265279"/>
        <a:ext cx="165359" cy="226745"/>
      </dsp:txXfrm>
    </dsp:sp>
    <dsp:sp modelId="{4998DCA0-3CEC-48B7-A808-793036D7FE79}">
      <dsp:nvSpPr>
        <dsp:cNvPr id="0" name=""/>
        <dsp:cNvSpPr/>
      </dsp:nvSpPr>
      <dsp:spPr>
        <a:xfrm>
          <a:off x="2772248" y="2177"/>
          <a:ext cx="1111499" cy="1111499"/>
        </a:xfrm>
        <a:prstGeom prst="ellipse">
          <a:avLst/>
        </a:prstGeom>
        <a:solidFill>
          <a:schemeClr val="accent3"/>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100000"/>
            </a:lnSpc>
            <a:spcBef>
              <a:spcPct val="0"/>
            </a:spcBef>
            <a:spcAft>
              <a:spcPct val="35000"/>
            </a:spcAft>
          </a:pPr>
          <a:r>
            <a:rPr lang="en-US" sz="1000" kern="1200" dirty="0">
              <a:latin typeface="+mn-lt"/>
            </a:rPr>
            <a:t>Customer Risk</a:t>
          </a:r>
        </a:p>
      </dsp:txBody>
      <dsp:txXfrm>
        <a:off x="2935023" y="164952"/>
        <a:ext cx="785949" cy="785949"/>
      </dsp:txXfrm>
    </dsp:sp>
    <dsp:sp modelId="{D0A3ADC6-D8A0-4A6C-A2C1-8CED666B982D}">
      <dsp:nvSpPr>
        <dsp:cNvPr id="0" name=""/>
        <dsp:cNvSpPr/>
      </dsp:nvSpPr>
      <dsp:spPr>
        <a:xfrm rot="20520000">
          <a:off x="3944023" y="1687647"/>
          <a:ext cx="236227" cy="377909"/>
        </a:xfrm>
        <a:prstGeom prst="rightArrow">
          <a:avLst>
            <a:gd name="adj1" fmla="val 60000"/>
            <a:gd name="adj2" fmla="val 50000"/>
          </a:avLst>
        </a:prstGeom>
        <a:solidFill>
          <a:schemeClr val="tx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100000"/>
            </a:lnSpc>
            <a:spcBef>
              <a:spcPct val="0"/>
            </a:spcBef>
            <a:spcAft>
              <a:spcPct val="35000"/>
            </a:spcAft>
          </a:pPr>
          <a:endParaRPr lang="en-US" sz="1000" kern="1200">
            <a:latin typeface="+mn-lt"/>
          </a:endParaRPr>
        </a:p>
      </dsp:txBody>
      <dsp:txXfrm>
        <a:off x="3945757" y="1774179"/>
        <a:ext cx="165359" cy="226745"/>
      </dsp:txXfrm>
    </dsp:sp>
    <dsp:sp modelId="{E8D90546-E374-4FEB-9FED-6402C15B29EF}">
      <dsp:nvSpPr>
        <dsp:cNvPr id="0" name=""/>
        <dsp:cNvSpPr/>
      </dsp:nvSpPr>
      <dsp:spPr>
        <a:xfrm>
          <a:off x="4253243" y="1078184"/>
          <a:ext cx="1111499" cy="1111499"/>
        </a:xfrm>
        <a:prstGeom prst="ellipse">
          <a:avLst/>
        </a:prstGeom>
        <a:solidFill>
          <a:schemeClr val="accent2"/>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100000"/>
            </a:lnSpc>
            <a:spcBef>
              <a:spcPct val="0"/>
            </a:spcBef>
            <a:spcAft>
              <a:spcPct val="35000"/>
            </a:spcAft>
          </a:pPr>
          <a:r>
            <a:rPr lang="en-US" sz="1000" kern="1200" dirty="0">
              <a:solidFill>
                <a:schemeClr val="tx1"/>
              </a:solidFill>
              <a:latin typeface="+mn-lt"/>
            </a:rPr>
            <a:t>Geography</a:t>
          </a:r>
        </a:p>
      </dsp:txBody>
      <dsp:txXfrm>
        <a:off x="4416018" y="1240959"/>
        <a:ext cx="785949" cy="785949"/>
      </dsp:txXfrm>
    </dsp:sp>
    <dsp:sp modelId="{6973A3A0-BAC5-4069-AEFC-39DBA68346D3}">
      <dsp:nvSpPr>
        <dsp:cNvPr id="0" name=""/>
        <dsp:cNvSpPr/>
      </dsp:nvSpPr>
      <dsp:spPr>
        <a:xfrm rot="3240000">
          <a:off x="3663607" y="2550679"/>
          <a:ext cx="236227" cy="377909"/>
        </a:xfrm>
        <a:prstGeom prst="rightArrow">
          <a:avLst>
            <a:gd name="adj1" fmla="val 60000"/>
            <a:gd name="adj2" fmla="val 50000"/>
          </a:avLst>
        </a:prstGeom>
        <a:solidFill>
          <a:schemeClr val="tx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100000"/>
            </a:lnSpc>
            <a:spcBef>
              <a:spcPct val="0"/>
            </a:spcBef>
            <a:spcAft>
              <a:spcPct val="35000"/>
            </a:spcAft>
          </a:pPr>
          <a:endParaRPr lang="en-US" sz="1000" kern="1200">
            <a:latin typeface="+mn-lt"/>
          </a:endParaRPr>
        </a:p>
      </dsp:txBody>
      <dsp:txXfrm>
        <a:off x="3678213" y="2597594"/>
        <a:ext cx="165359" cy="226745"/>
      </dsp:txXfrm>
    </dsp:sp>
    <dsp:sp modelId="{A7F58925-6362-4F0F-885E-488680A81E14}">
      <dsp:nvSpPr>
        <dsp:cNvPr id="0" name=""/>
        <dsp:cNvSpPr/>
      </dsp:nvSpPr>
      <dsp:spPr>
        <a:xfrm>
          <a:off x="3687553" y="2819198"/>
          <a:ext cx="1111499" cy="1111499"/>
        </a:xfrm>
        <a:prstGeom prst="ellipse">
          <a:avLst/>
        </a:prstGeom>
        <a:solidFill>
          <a:schemeClr val="accent3"/>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100000"/>
            </a:lnSpc>
            <a:spcBef>
              <a:spcPct val="0"/>
            </a:spcBef>
            <a:spcAft>
              <a:spcPct val="35000"/>
            </a:spcAft>
          </a:pPr>
          <a:r>
            <a:rPr lang="en-US" sz="1000" kern="1200" dirty="0">
              <a:latin typeface="+mn-lt"/>
            </a:rPr>
            <a:t>Products &amp; Services</a:t>
          </a:r>
        </a:p>
      </dsp:txBody>
      <dsp:txXfrm>
        <a:off x="3850328" y="2981973"/>
        <a:ext cx="785949" cy="785949"/>
      </dsp:txXfrm>
    </dsp:sp>
    <dsp:sp modelId="{C3F79DFD-C1BD-4A13-8229-AE8239A80F6E}">
      <dsp:nvSpPr>
        <dsp:cNvPr id="0" name=""/>
        <dsp:cNvSpPr/>
      </dsp:nvSpPr>
      <dsp:spPr>
        <a:xfrm rot="7560000">
          <a:off x="2756161" y="2550679"/>
          <a:ext cx="236227" cy="377909"/>
        </a:xfrm>
        <a:prstGeom prst="rightArrow">
          <a:avLst>
            <a:gd name="adj1" fmla="val 60000"/>
            <a:gd name="adj2" fmla="val 50000"/>
          </a:avLst>
        </a:prstGeom>
        <a:solidFill>
          <a:schemeClr val="tx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100000"/>
            </a:lnSpc>
            <a:spcBef>
              <a:spcPct val="0"/>
            </a:spcBef>
            <a:spcAft>
              <a:spcPct val="35000"/>
            </a:spcAft>
          </a:pPr>
          <a:endParaRPr lang="en-US" sz="1000" kern="1200">
            <a:latin typeface="+mn-lt"/>
          </a:endParaRPr>
        </a:p>
      </dsp:txBody>
      <dsp:txXfrm rot="10800000">
        <a:off x="2812423" y="2597594"/>
        <a:ext cx="165359" cy="226745"/>
      </dsp:txXfrm>
    </dsp:sp>
    <dsp:sp modelId="{7E16D92C-C275-4CAD-98A9-B4B4B477C7B2}">
      <dsp:nvSpPr>
        <dsp:cNvPr id="0" name=""/>
        <dsp:cNvSpPr/>
      </dsp:nvSpPr>
      <dsp:spPr>
        <a:xfrm>
          <a:off x="1856942" y="2819198"/>
          <a:ext cx="1111499" cy="1111499"/>
        </a:xfrm>
        <a:prstGeom prst="ellipse">
          <a:avLst/>
        </a:prstGeom>
        <a:solidFill>
          <a:schemeClr val="accent3"/>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100000"/>
            </a:lnSpc>
            <a:spcBef>
              <a:spcPct val="0"/>
            </a:spcBef>
            <a:spcAft>
              <a:spcPct val="35000"/>
            </a:spcAft>
          </a:pPr>
          <a:r>
            <a:rPr lang="en-US" sz="1000" kern="1200" dirty="0">
              <a:latin typeface="+mn-lt"/>
            </a:rPr>
            <a:t>Special Risk Factors</a:t>
          </a:r>
        </a:p>
      </dsp:txBody>
      <dsp:txXfrm>
        <a:off x="2019717" y="2981973"/>
        <a:ext cx="785949" cy="785949"/>
      </dsp:txXfrm>
    </dsp:sp>
    <dsp:sp modelId="{09012D46-93A3-4C2E-9D56-82A7B37BCBDB}">
      <dsp:nvSpPr>
        <dsp:cNvPr id="0" name=""/>
        <dsp:cNvSpPr/>
      </dsp:nvSpPr>
      <dsp:spPr>
        <a:xfrm rot="11880000">
          <a:off x="2475745" y="1687647"/>
          <a:ext cx="236227" cy="377909"/>
        </a:xfrm>
        <a:prstGeom prst="rightArrow">
          <a:avLst>
            <a:gd name="adj1" fmla="val 60000"/>
            <a:gd name="adj2" fmla="val 50000"/>
          </a:avLst>
        </a:prstGeom>
        <a:solidFill>
          <a:schemeClr val="tx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100000"/>
            </a:lnSpc>
            <a:spcBef>
              <a:spcPct val="0"/>
            </a:spcBef>
            <a:spcAft>
              <a:spcPct val="35000"/>
            </a:spcAft>
          </a:pPr>
          <a:endParaRPr lang="en-US" sz="1000" kern="1200">
            <a:latin typeface="+mn-lt"/>
          </a:endParaRPr>
        </a:p>
      </dsp:txBody>
      <dsp:txXfrm rot="10800000">
        <a:off x="2544879" y="1774179"/>
        <a:ext cx="165359" cy="226745"/>
      </dsp:txXfrm>
    </dsp:sp>
    <dsp:sp modelId="{F65645E1-4323-4479-8E5C-40AC79E88669}">
      <dsp:nvSpPr>
        <dsp:cNvPr id="0" name=""/>
        <dsp:cNvSpPr/>
      </dsp:nvSpPr>
      <dsp:spPr>
        <a:xfrm>
          <a:off x="1291252" y="1078184"/>
          <a:ext cx="1111499" cy="1111499"/>
        </a:xfrm>
        <a:prstGeom prst="ellipse">
          <a:avLst/>
        </a:prstGeom>
        <a:solidFill>
          <a:schemeClr val="accent2"/>
        </a:solidFill>
        <a:ln w="12700" cap="sq"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100000"/>
            </a:lnSpc>
            <a:spcBef>
              <a:spcPct val="0"/>
            </a:spcBef>
            <a:spcAft>
              <a:spcPct val="35000"/>
            </a:spcAft>
          </a:pPr>
          <a:r>
            <a:rPr lang="en-US" sz="1000" kern="1200" dirty="0">
              <a:solidFill>
                <a:schemeClr val="tx1"/>
              </a:solidFill>
              <a:latin typeface="+mn-lt"/>
            </a:rPr>
            <a:t>Delivery Channel</a:t>
          </a:r>
        </a:p>
      </dsp:txBody>
      <dsp:txXfrm>
        <a:off x="1454027" y="1240959"/>
        <a:ext cx="785949" cy="785949"/>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15373" y="0"/>
            <a:ext cx="2918831" cy="495029"/>
          </a:xfrm>
          <a:prstGeom prst="rect">
            <a:avLst/>
          </a:prstGeom>
        </p:spPr>
        <p:txBody>
          <a:bodyPr vert="horz" lIns="91440" tIns="45720" rIns="91440" bIns="45720" rtlCol="0"/>
          <a:lstStyle>
            <a:lvl1pPr algn="r">
              <a:defRPr sz="1200"/>
            </a:lvl1pPr>
          </a:lstStyle>
          <a:p>
            <a:fld id="{D70301B5-88AD-1849-891D-EA2905EB5A88}" type="datetimeFigureOut">
              <a:rPr lang="en-US" smtClean="0"/>
              <a:t>12/4/2023</a:t>
            </a:fld>
            <a:endParaRPr lang="en-US" dirty="0"/>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9371286"/>
            <a:ext cx="2918831" cy="49502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15373" y="9371286"/>
            <a:ext cx="2918831" cy="495028"/>
          </a:xfrm>
          <a:prstGeom prst="rect">
            <a:avLst/>
          </a:prstGeom>
        </p:spPr>
        <p:txBody>
          <a:bodyPr vert="horz" lIns="91440" tIns="45720" rIns="91440" bIns="45720" rtlCol="0" anchor="b"/>
          <a:lstStyle>
            <a:lvl1pPr algn="r">
              <a:defRPr sz="1200"/>
            </a:lvl1pPr>
          </a:lstStyle>
          <a:p>
            <a:fld id="{23A602F4-4C0C-5F4F-8771-7E15167AE556}" type="slidenum">
              <a:rPr lang="en-US" smtClean="0"/>
              <a:t>‹#›</a:t>
            </a:fld>
            <a:endParaRPr lang="en-US" dirty="0"/>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7850AB23-24A6-494C-BA00-B87242B78CB4}" type="datetimeFigureOut">
              <a:rPr lang="en-GB" smtClean="0"/>
              <a:t>04/12/2023</a:t>
            </a:fld>
            <a:endParaRPr lang="en-GB" dirty="0"/>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20CA530D-631F-4981-98F0-E6C07C67E1A3}" type="slidenum">
              <a:rPr lang="en-GB" smtClean="0"/>
              <a:t>‹#›</a:t>
            </a:fld>
            <a:endParaRPr lang="en-GB" dirty="0"/>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5"/>
          </p:nvPr>
        </p:nvSpPr>
        <p:spPr/>
        <p:txBody>
          <a:bodyPr/>
          <a:lstStyle/>
          <a:p>
            <a:fld id="{20CA530D-631F-4981-98F0-E6C07C67E1A3}" type="slidenum">
              <a:rPr lang="en-GB" smtClean="0"/>
              <a:t>1</a:t>
            </a:fld>
            <a:endParaRPr lang="en-GB" dirty="0"/>
          </a:p>
        </p:txBody>
      </p:sp>
    </p:spTree>
    <p:extLst>
      <p:ext uri="{BB962C8B-B14F-4D97-AF65-F5344CB8AC3E}">
        <p14:creationId xmlns:p14="http://schemas.microsoft.com/office/powerpoint/2010/main" val="36474731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529715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5134862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43091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8040506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2732775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8003405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2889386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8802378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146415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182511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554886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2282232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6751265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7039353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CA530D-631F-4981-98F0-E6C07C67E1A3}" type="slidenum">
              <a:rPr lang="en-US" smtClean="0"/>
              <a:t>30</a:t>
            </a:fld>
            <a:endParaRPr lang="en-US" dirty="0"/>
          </a:p>
        </p:txBody>
      </p:sp>
    </p:spTree>
    <p:extLst>
      <p:ext uri="{BB962C8B-B14F-4D97-AF65-F5344CB8AC3E}">
        <p14:creationId xmlns:p14="http://schemas.microsoft.com/office/powerpoint/2010/main" val="4795236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6029021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4225884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Placement:</a:t>
            </a:r>
            <a:endParaRPr lang="en-US" sz="1200" b="0" i="0" kern="1200" dirty="0">
              <a:solidFill>
                <a:schemeClr val="tx1"/>
              </a:solidFill>
              <a:effectLst/>
              <a:latin typeface="+mn-lt"/>
              <a:ea typeface="+mn-ea"/>
              <a:cs typeface="+mn-cs"/>
            </a:endParaRPr>
          </a:p>
          <a:p>
            <a:pPr lvl="1"/>
            <a:r>
              <a:rPr lang="en-US" sz="1200" b="0" i="0" kern="1200" dirty="0">
                <a:solidFill>
                  <a:schemeClr val="tx1"/>
                </a:solidFill>
                <a:effectLst/>
                <a:latin typeface="+mn-lt"/>
                <a:ea typeface="+mn-ea"/>
                <a:cs typeface="+mn-cs"/>
              </a:rPr>
              <a:t>This is the first stage of money laundering where the "dirty money" is introduced into the legitimate financial system. The aim is to get the illicit funds into the financial system without raising suspicion. Techniques at this stage can include breaking down large amounts of cash into smaller deposits to avoid suspicion or using intermediaries to make deposits or investments.</a:t>
            </a:r>
          </a:p>
          <a:p>
            <a:r>
              <a:rPr lang="en-US" sz="1200" b="1" i="0" kern="1200" dirty="0">
                <a:solidFill>
                  <a:schemeClr val="tx1"/>
                </a:solidFill>
                <a:effectLst/>
                <a:latin typeface="+mn-lt"/>
                <a:ea typeface="+mn-ea"/>
                <a:cs typeface="+mn-cs"/>
              </a:rPr>
              <a:t>Layering:</a:t>
            </a:r>
            <a:endParaRPr lang="en-US" sz="1200" b="0" i="0" kern="1200" dirty="0">
              <a:solidFill>
                <a:schemeClr val="tx1"/>
              </a:solidFill>
              <a:effectLst/>
              <a:latin typeface="+mn-lt"/>
              <a:ea typeface="+mn-ea"/>
              <a:cs typeface="+mn-cs"/>
            </a:endParaRPr>
          </a:p>
          <a:p>
            <a:pPr lvl="1"/>
            <a:r>
              <a:rPr lang="en-US" sz="1200" b="0" i="0" kern="1200" dirty="0">
                <a:solidFill>
                  <a:schemeClr val="tx1"/>
                </a:solidFill>
                <a:effectLst/>
                <a:latin typeface="+mn-lt"/>
                <a:ea typeface="+mn-ea"/>
                <a:cs typeface="+mn-cs"/>
              </a:rPr>
              <a:t>In this stage, the goal is to create complex layers of financial transactions to obscure the source and ownership of the funds. The purpose is to distance the illegal funds from their origin further and make it difficult to trace them back to their illicit source. This involves a series of transactions involving various accounts, investments, or assets, often crossing international borders. Transactions may include wire transfers, buying and selling assets, creating shell companies, and engaging in complex financial transactions that make it difficult to follow the money trail.</a:t>
            </a:r>
          </a:p>
          <a:p>
            <a:r>
              <a:rPr lang="en-US" sz="1200" b="1" i="0" kern="1200" dirty="0">
                <a:solidFill>
                  <a:schemeClr val="tx1"/>
                </a:solidFill>
                <a:effectLst/>
                <a:latin typeface="+mn-lt"/>
                <a:ea typeface="+mn-ea"/>
                <a:cs typeface="+mn-cs"/>
              </a:rPr>
              <a:t>Integration:</a:t>
            </a:r>
            <a:endParaRPr lang="en-US" sz="1200" b="0" i="0" kern="1200" dirty="0">
              <a:solidFill>
                <a:schemeClr val="tx1"/>
              </a:solidFill>
              <a:effectLst/>
              <a:latin typeface="+mn-lt"/>
              <a:ea typeface="+mn-ea"/>
              <a:cs typeface="+mn-cs"/>
            </a:endParaRPr>
          </a:p>
          <a:p>
            <a:pPr lvl="1"/>
            <a:r>
              <a:rPr lang="en-US" sz="1200" b="0" i="0" kern="1200" dirty="0">
                <a:solidFill>
                  <a:schemeClr val="tx1"/>
                </a:solidFill>
                <a:effectLst/>
                <a:latin typeface="+mn-lt"/>
                <a:ea typeface="+mn-ea"/>
                <a:cs typeface="+mn-cs"/>
              </a:rPr>
              <a:t>In the final stage, the "cleaned" funds are re-introduced into the legitimate economy in a way that they appear to have originated from legitimate sources. The money is now indistinguishable from legal funds and can be used without arousing suspicion. This stage often involves investing in assets such as real estate, businesses, or other investments. The laundered funds may also be used to purchase luxury items or fund legal activities.</a:t>
            </a:r>
          </a:p>
          <a:p>
            <a:endParaRP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7188974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5896713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1059208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646782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0666918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3" y="428625"/>
            <a:ext cx="5473700" cy="2055496"/>
          </a:xfrm>
        </p:spPr>
        <p:txBody>
          <a:bodyPr anchor="b" anchorCtr="0">
            <a:normAutofit/>
          </a:bodyPr>
          <a:lstStyle>
            <a:lvl1pPr algn="l">
              <a:lnSpc>
                <a:spcPct val="85000"/>
              </a:lnSpc>
              <a:defRPr sz="5000">
                <a:solidFill>
                  <a:schemeClr val="bg1"/>
                </a:solidFill>
              </a:defRPr>
            </a:lvl1pPr>
          </a:lstStyle>
          <a:p>
            <a:r>
              <a:rPr lang="en-US" dirty="0"/>
              <a:t>[Presentation title]</a:t>
            </a:r>
            <a:endParaRPr lang="en-GB" dirty="0"/>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dirty="0"/>
              <a:t>[Presentation subtitle]</a:t>
            </a:r>
          </a:p>
        </p:txBody>
      </p:sp>
    </p:spTree>
    <p:extLst>
      <p:ext uri="{BB962C8B-B14F-4D97-AF65-F5344CB8AC3E}">
        <p14:creationId xmlns:p14="http://schemas.microsoft.com/office/powerpoint/2010/main" val="32607717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Slide Lines 3">
    <p:bg>
      <p:bgPr>
        <a:solidFill>
          <a:srgbClr val="D04A02"/>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9450000" y="0"/>
            <a:ext cx="2741999" cy="6858000"/>
          </a:xfrm>
          <a:solidFill>
            <a:srgbClr val="DEDEDE"/>
          </a:solidFill>
        </p:spPr>
        <p:txBody>
          <a:bodyPr anchor="ctr" anchorCtr="0"/>
          <a:lstStyle>
            <a:lvl1pPr algn="ctr">
              <a:defRPr sz="1200" b="0">
                <a:solidFill>
                  <a:schemeClr val="tx1"/>
                </a:solidFill>
              </a:defRPr>
            </a:lvl1pPr>
          </a:lstStyle>
          <a:p>
            <a:r>
              <a:rPr lang="en-GB" dirty="0"/>
              <a:t>Click icon to add picture</a:t>
            </a:r>
          </a:p>
        </p:txBody>
      </p:sp>
      <p:sp>
        <p:nvSpPr>
          <p:cNvPr id="8" name="Title 1"/>
          <p:cNvSpPr>
            <a:spLocks noGrp="1"/>
          </p:cNvSpPr>
          <p:nvPr userDrawn="1">
            <p:ph type="ctrTitle" hasCustomPrompt="1"/>
          </p:nvPr>
        </p:nvSpPr>
        <p:spPr>
          <a:xfrm>
            <a:off x="442912" y="428625"/>
            <a:ext cx="7418388" cy="2771775"/>
          </a:xfrm>
        </p:spPr>
        <p:txBody>
          <a:bodyPr anchor="b" anchorCtr="0"/>
          <a:lstStyle>
            <a:lvl1pPr algn="l">
              <a:lnSpc>
                <a:spcPct val="86000"/>
              </a:lnSpc>
              <a:defRPr sz="6000">
                <a:solidFill>
                  <a:schemeClr val="bg1"/>
                </a:solidFill>
              </a:defRPr>
            </a:lvl1pPr>
          </a:lstStyle>
          <a:p>
            <a:r>
              <a:rPr lang="en-US" dirty="0"/>
              <a:t>[Presentation title]</a:t>
            </a:r>
            <a:endParaRPr lang="en-GB" dirty="0"/>
          </a:p>
        </p:txBody>
      </p:sp>
      <p:sp>
        <p:nvSpPr>
          <p:cNvPr id="9" name="Subtitle 2"/>
          <p:cNvSpPr>
            <a:spLocks noGrp="1"/>
          </p:cNvSpPr>
          <p:nvPr userDrawn="1">
            <p:ph type="subTitle" idx="1" hasCustomPrompt="1"/>
          </p:nvPr>
        </p:nvSpPr>
        <p:spPr>
          <a:xfrm>
            <a:off x="442913" y="339471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dirty="0"/>
              <a:t>[Presentation subtitle]</a:t>
            </a:r>
          </a:p>
        </p:txBody>
      </p:sp>
    </p:spTree>
    <p:extLst>
      <p:ext uri="{BB962C8B-B14F-4D97-AF65-F5344CB8AC3E}">
        <p14:creationId xmlns:p14="http://schemas.microsoft.com/office/powerpoint/2010/main" val="1886173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lide Lines 3 Grey">
    <p:bg>
      <p:bgPr>
        <a:solidFill>
          <a:srgbClr val="464646"/>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9450000" y="0"/>
            <a:ext cx="2742000" cy="6858000"/>
          </a:xfrm>
          <a:solidFill>
            <a:srgbClr val="DEDEDE"/>
          </a:solidFill>
        </p:spPr>
        <p:txBody>
          <a:bodyPr anchor="ctr" anchorCtr="0"/>
          <a:lstStyle>
            <a:lvl1pPr algn="ctr">
              <a:defRPr sz="1200" b="0">
                <a:solidFill>
                  <a:schemeClr val="tx1"/>
                </a:solidFill>
              </a:defRPr>
            </a:lvl1pPr>
          </a:lstStyle>
          <a:p>
            <a:r>
              <a:rPr lang="en-GB" dirty="0"/>
              <a:t>Click icon to add picture</a:t>
            </a:r>
          </a:p>
        </p:txBody>
      </p:sp>
      <p:sp>
        <p:nvSpPr>
          <p:cNvPr id="8" name="Title 1"/>
          <p:cNvSpPr>
            <a:spLocks noGrp="1"/>
          </p:cNvSpPr>
          <p:nvPr userDrawn="1">
            <p:ph type="ctrTitle" hasCustomPrompt="1"/>
          </p:nvPr>
        </p:nvSpPr>
        <p:spPr>
          <a:xfrm>
            <a:off x="442912" y="428625"/>
            <a:ext cx="7418388" cy="2771775"/>
          </a:xfrm>
        </p:spPr>
        <p:txBody>
          <a:bodyPr anchor="b" anchorCtr="0"/>
          <a:lstStyle>
            <a:lvl1pPr algn="l">
              <a:lnSpc>
                <a:spcPct val="85000"/>
              </a:lnSpc>
              <a:defRPr sz="6000">
                <a:solidFill>
                  <a:schemeClr val="bg1"/>
                </a:solidFill>
              </a:defRPr>
            </a:lvl1pPr>
          </a:lstStyle>
          <a:p>
            <a:r>
              <a:rPr lang="en-US" dirty="0"/>
              <a:t>[Presentation title]</a:t>
            </a:r>
            <a:endParaRPr lang="en-GB" dirty="0"/>
          </a:p>
        </p:txBody>
      </p:sp>
      <p:sp>
        <p:nvSpPr>
          <p:cNvPr id="9" name="Subtitle 2"/>
          <p:cNvSpPr>
            <a:spLocks noGrp="1"/>
          </p:cNvSpPr>
          <p:nvPr userDrawn="1">
            <p:ph type="subTitle" idx="1" hasCustomPrompt="1"/>
          </p:nvPr>
        </p:nvSpPr>
        <p:spPr>
          <a:xfrm>
            <a:off x="442913" y="339471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dirty="0"/>
              <a:t>[Presentation subtitle]</a:t>
            </a:r>
          </a:p>
        </p:txBody>
      </p:sp>
    </p:spTree>
    <p:extLst>
      <p:ext uri="{BB962C8B-B14F-4D97-AF65-F5344CB8AC3E}">
        <p14:creationId xmlns:p14="http://schemas.microsoft.com/office/powerpoint/2010/main" val="19742372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Oran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6E1CB07-AAEA-314E-A423-4B23728F274D}"/>
              </a:ext>
            </a:extLst>
          </p:cNvPr>
          <p:cNvSpPr>
            <a:spLocks noGrp="1"/>
          </p:cNvSpPr>
          <p:nvPr>
            <p:ph type="pic" sz="quarter" idx="10"/>
          </p:nvPr>
        </p:nvSpPr>
        <p:spPr bwMode="hidden">
          <a:xfrm>
            <a:off x="5103159" y="-1"/>
            <a:ext cx="7088841" cy="6858001"/>
          </a:xfrm>
          <a:solidFill>
            <a:srgbClr val="DEDEDE"/>
          </a:solidFill>
        </p:spPr>
        <p:txBody>
          <a:bodyPr rIns="1371600" anchor="ctr" anchorCtr="0"/>
          <a:lstStyle>
            <a:lvl1pPr algn="r">
              <a:defRPr sz="1200" b="0">
                <a:solidFill>
                  <a:schemeClr val="tx1"/>
                </a:solidFill>
              </a:defRPr>
            </a:lvl1pPr>
          </a:lstStyle>
          <a:p>
            <a:r>
              <a:rPr lang="en-GB" dirty="0"/>
              <a:t>Click icon to add picture</a:t>
            </a:r>
          </a:p>
        </p:txBody>
      </p:sp>
      <p:sp>
        <p:nvSpPr>
          <p:cNvPr id="2" name="Title 1"/>
          <p:cNvSpPr>
            <a:spLocks noGrp="1"/>
          </p:cNvSpPr>
          <p:nvPr userDrawn="1">
            <p:ph type="ctrTitle" hasCustomPrompt="1"/>
          </p:nvPr>
        </p:nvSpPr>
        <p:spPr>
          <a:xfrm>
            <a:off x="442913" y="1003610"/>
            <a:ext cx="5258640" cy="2425391"/>
          </a:xfrm>
        </p:spPr>
        <p:txBody>
          <a:bodyPr anchor="b" anchorCtr="0"/>
          <a:lstStyle>
            <a:lvl1pPr algn="l">
              <a:lnSpc>
                <a:spcPct val="85000"/>
              </a:lnSpc>
              <a:defRPr sz="5000">
                <a:solidFill>
                  <a:schemeClr val="bg1"/>
                </a:solidFill>
              </a:defRPr>
            </a:lvl1pPr>
          </a:lstStyle>
          <a:p>
            <a:r>
              <a:rPr lang="en-US" dirty="0"/>
              <a:t>[Presentation title]</a:t>
            </a:r>
            <a:endParaRPr lang="en-GB" dirty="0"/>
          </a:p>
        </p:txBody>
      </p:sp>
      <p:sp>
        <p:nvSpPr>
          <p:cNvPr id="3" name="Subtitle 2"/>
          <p:cNvSpPr>
            <a:spLocks noGrp="1"/>
          </p:cNvSpPr>
          <p:nvPr userDrawn="1">
            <p:ph type="subTitle" idx="1" hasCustomPrompt="1"/>
          </p:nvPr>
        </p:nvSpPr>
        <p:spPr>
          <a:xfrm>
            <a:off x="442914" y="3749040"/>
            <a:ext cx="525864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dirty="0"/>
              <a:t>[Presentation subtitle]</a:t>
            </a:r>
          </a:p>
        </p:txBody>
      </p:sp>
    </p:spTree>
    <p:extLst>
      <p:ext uri="{BB962C8B-B14F-4D97-AF65-F5344CB8AC3E}">
        <p14:creationId xmlns:p14="http://schemas.microsoft.com/office/powerpoint/2010/main" val="6958671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Ros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504B055-84E9-A34C-9FA5-3A4898E3B2D5}"/>
              </a:ext>
            </a:extLst>
          </p:cNvPr>
          <p:cNvSpPr>
            <a:spLocks noGrp="1"/>
          </p:cNvSpPr>
          <p:nvPr>
            <p:ph type="pic" sz="quarter" idx="10"/>
          </p:nvPr>
        </p:nvSpPr>
        <p:spPr bwMode="hidden">
          <a:xfrm>
            <a:off x="5103158" y="0"/>
            <a:ext cx="7088841" cy="6858000"/>
          </a:xfrm>
          <a:solidFill>
            <a:srgbClr val="DEDEDE"/>
          </a:solidFill>
        </p:spPr>
        <p:txBody>
          <a:bodyPr rIns="1371600" anchor="ctr" anchorCtr="0"/>
          <a:lstStyle>
            <a:lvl1pPr algn="r">
              <a:defRPr sz="1200" b="0">
                <a:solidFill>
                  <a:schemeClr val="tx1"/>
                </a:solidFill>
              </a:defRPr>
            </a:lvl1pPr>
          </a:lstStyle>
          <a:p>
            <a:r>
              <a:rPr lang="en-GB" dirty="0"/>
              <a:t>Click icon to add picture</a:t>
            </a:r>
          </a:p>
        </p:txBody>
      </p:sp>
      <p:sp>
        <p:nvSpPr>
          <p:cNvPr id="2" name="Title 1"/>
          <p:cNvSpPr>
            <a:spLocks noGrp="1"/>
          </p:cNvSpPr>
          <p:nvPr userDrawn="1">
            <p:ph type="ctrTitle" hasCustomPrompt="1"/>
          </p:nvPr>
        </p:nvSpPr>
        <p:spPr>
          <a:xfrm>
            <a:off x="442913" y="1009185"/>
            <a:ext cx="5258640" cy="2419816"/>
          </a:xfrm>
        </p:spPr>
        <p:txBody>
          <a:bodyPr anchor="b" anchorCtr="0"/>
          <a:lstStyle>
            <a:lvl1pPr algn="l">
              <a:lnSpc>
                <a:spcPct val="85000"/>
              </a:lnSpc>
              <a:defRPr sz="5000">
                <a:solidFill>
                  <a:schemeClr val="bg1"/>
                </a:solidFill>
              </a:defRPr>
            </a:lvl1pPr>
          </a:lstStyle>
          <a:p>
            <a:r>
              <a:rPr lang="en-US" dirty="0"/>
              <a:t>[Presentation title]</a:t>
            </a:r>
            <a:endParaRPr lang="en-GB" dirty="0"/>
          </a:p>
        </p:txBody>
      </p:sp>
      <p:sp>
        <p:nvSpPr>
          <p:cNvPr id="3" name="Subtitle 2"/>
          <p:cNvSpPr>
            <a:spLocks noGrp="1"/>
          </p:cNvSpPr>
          <p:nvPr userDrawn="1">
            <p:ph type="subTitle" idx="1" hasCustomPrompt="1"/>
          </p:nvPr>
        </p:nvSpPr>
        <p:spPr>
          <a:xfrm>
            <a:off x="442914" y="3749040"/>
            <a:ext cx="525864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dirty="0"/>
              <a:t>[Presentation subtitle]</a:t>
            </a:r>
          </a:p>
        </p:txBody>
      </p:sp>
    </p:spTree>
    <p:extLst>
      <p:ext uri="{BB962C8B-B14F-4D97-AF65-F5344CB8AC3E}">
        <p14:creationId xmlns:p14="http://schemas.microsoft.com/office/powerpoint/2010/main" val="35871344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Grey">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B147A814-53FE-0143-93DA-63021064389A}"/>
              </a:ext>
            </a:extLst>
          </p:cNvPr>
          <p:cNvSpPr>
            <a:spLocks noGrp="1"/>
          </p:cNvSpPr>
          <p:nvPr>
            <p:ph type="pic" sz="quarter" idx="10"/>
          </p:nvPr>
        </p:nvSpPr>
        <p:spPr bwMode="hidden">
          <a:xfrm>
            <a:off x="5103159" y="0"/>
            <a:ext cx="7088841" cy="6858000"/>
          </a:xfrm>
          <a:solidFill>
            <a:srgbClr val="DEDEDE"/>
          </a:solidFill>
        </p:spPr>
        <p:txBody>
          <a:bodyPr rIns="1371600" anchor="ctr" anchorCtr="0"/>
          <a:lstStyle>
            <a:lvl1pPr algn="r">
              <a:defRPr sz="1200" b="0">
                <a:solidFill>
                  <a:schemeClr val="tx1"/>
                </a:solidFill>
              </a:defRPr>
            </a:lvl1pPr>
          </a:lstStyle>
          <a:p>
            <a:r>
              <a:rPr lang="en-GB" dirty="0"/>
              <a:t>Click icon to add picture</a:t>
            </a:r>
          </a:p>
        </p:txBody>
      </p:sp>
      <p:sp>
        <p:nvSpPr>
          <p:cNvPr id="2" name="Title 1"/>
          <p:cNvSpPr>
            <a:spLocks noGrp="1"/>
          </p:cNvSpPr>
          <p:nvPr userDrawn="1">
            <p:ph type="ctrTitle" hasCustomPrompt="1"/>
          </p:nvPr>
        </p:nvSpPr>
        <p:spPr>
          <a:xfrm>
            <a:off x="442913" y="1009185"/>
            <a:ext cx="5258640" cy="2419816"/>
          </a:xfrm>
        </p:spPr>
        <p:txBody>
          <a:bodyPr anchor="b" anchorCtr="0"/>
          <a:lstStyle>
            <a:lvl1pPr algn="l">
              <a:lnSpc>
                <a:spcPct val="85000"/>
              </a:lnSpc>
              <a:defRPr sz="5000">
                <a:solidFill>
                  <a:schemeClr val="bg1"/>
                </a:solidFill>
              </a:defRPr>
            </a:lvl1pPr>
          </a:lstStyle>
          <a:p>
            <a:r>
              <a:rPr lang="en-US" dirty="0"/>
              <a:t>[Presentation title]</a:t>
            </a:r>
            <a:endParaRPr lang="en-GB" dirty="0"/>
          </a:p>
        </p:txBody>
      </p:sp>
      <p:sp>
        <p:nvSpPr>
          <p:cNvPr id="3" name="Subtitle 2"/>
          <p:cNvSpPr>
            <a:spLocks noGrp="1"/>
          </p:cNvSpPr>
          <p:nvPr userDrawn="1">
            <p:ph type="subTitle" idx="1" hasCustomPrompt="1"/>
          </p:nvPr>
        </p:nvSpPr>
        <p:spPr>
          <a:xfrm>
            <a:off x="442914" y="3749040"/>
            <a:ext cx="525864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dirty="0"/>
              <a:t>[Presentation subtitle]</a:t>
            </a:r>
          </a:p>
        </p:txBody>
      </p:sp>
    </p:spTree>
    <p:extLst>
      <p:ext uri="{BB962C8B-B14F-4D97-AF65-F5344CB8AC3E}">
        <p14:creationId xmlns:p14="http://schemas.microsoft.com/office/powerpoint/2010/main" val="33951839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Slide Split">
    <p:spTree>
      <p:nvGrpSpPr>
        <p:cNvPr id="1" name=""/>
        <p:cNvGrpSpPr/>
        <p:nvPr/>
      </p:nvGrpSpPr>
      <p:grpSpPr>
        <a:xfrm>
          <a:off x="0" y="0"/>
          <a:ext cx="0" cy="0"/>
          <a:chOff x="0" y="0"/>
          <a:chExt cx="0" cy="0"/>
        </a:xfrm>
      </p:grpSpPr>
      <p:sp>
        <p:nvSpPr>
          <p:cNvPr id="14" name="Picture Placeholder 4"/>
          <p:cNvSpPr>
            <a:spLocks noGrp="1"/>
          </p:cNvSpPr>
          <p:nvPr>
            <p:ph type="pic" sz="quarter" idx="10"/>
          </p:nvPr>
        </p:nvSpPr>
        <p:spPr bwMode="hidden">
          <a:xfrm>
            <a:off x="5334000" y="0"/>
            <a:ext cx="6858000" cy="6858000"/>
          </a:xfrm>
          <a:solidFill>
            <a:srgbClr val="DEDEDE"/>
          </a:solidFill>
        </p:spPr>
        <p:txBody>
          <a:bodyPr anchor="ctr" anchorCtr="0"/>
          <a:lstStyle>
            <a:lvl1pPr algn="ctr">
              <a:defRPr sz="1200" b="0">
                <a:solidFill>
                  <a:schemeClr val="tx1"/>
                </a:solidFill>
              </a:defRPr>
            </a:lvl1pPr>
          </a:lstStyle>
          <a:p>
            <a:r>
              <a:rPr lang="en-GB" dirty="0"/>
              <a:t>Click icon to add picture</a:t>
            </a:r>
          </a:p>
        </p:txBody>
      </p:sp>
      <p:sp>
        <p:nvSpPr>
          <p:cNvPr id="2" name="Title 1"/>
          <p:cNvSpPr>
            <a:spLocks noGrp="1"/>
          </p:cNvSpPr>
          <p:nvPr>
            <p:ph type="ctrTitle" hasCustomPrompt="1"/>
          </p:nvPr>
        </p:nvSpPr>
        <p:spPr>
          <a:xfrm>
            <a:off x="442914" y="750888"/>
            <a:ext cx="4675186" cy="2678112"/>
          </a:xfrm>
        </p:spPr>
        <p:txBody>
          <a:bodyPr anchor="b" anchorCtr="0"/>
          <a:lstStyle>
            <a:lvl1pPr algn="l">
              <a:lnSpc>
                <a:spcPct val="85000"/>
              </a:lnSpc>
              <a:defRPr sz="4400">
                <a:solidFill>
                  <a:schemeClr val="tx1"/>
                </a:solidFill>
              </a:defRPr>
            </a:lvl1pPr>
          </a:lstStyle>
          <a:p>
            <a:r>
              <a:rPr lang="en-US" dirty="0"/>
              <a:t>[Presentation title]</a:t>
            </a:r>
            <a:endParaRPr lang="en-GB" dirty="0"/>
          </a:p>
        </p:txBody>
      </p:sp>
      <p:sp>
        <p:nvSpPr>
          <p:cNvPr id="3" name="Subtitle 2"/>
          <p:cNvSpPr>
            <a:spLocks noGrp="1"/>
          </p:cNvSpPr>
          <p:nvPr>
            <p:ph type="subTitle" idx="1" hasCustomPrompt="1"/>
          </p:nvPr>
        </p:nvSpPr>
        <p:spPr>
          <a:xfrm>
            <a:off x="442913" y="3956185"/>
            <a:ext cx="4675187" cy="594360"/>
          </a:xfrm>
        </p:spPr>
        <p:txBody>
          <a:bodyPr/>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dirty="0"/>
              <a:t>[Presentation subtitle]</a:t>
            </a:r>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9485740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 name="Title 1"/>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p:txBody>
          <a:bodyPr/>
          <a:lstStyle/>
          <a:p>
            <a:r>
              <a:rPr lang="en-IN"/>
              <a:t>April 2023 </a:t>
            </a:r>
            <a:endParaRPr lang="en-US" dirty="0"/>
          </a:p>
        </p:txBody>
      </p:sp>
    </p:spTree>
    <p:extLst>
      <p:ext uri="{BB962C8B-B14F-4D97-AF65-F5344CB8AC3E}">
        <p14:creationId xmlns:p14="http://schemas.microsoft.com/office/powerpoint/2010/main" val="21235206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3" name="Content Placeholder 2"/>
          <p:cNvSpPr>
            <a:spLocks noGrp="1"/>
          </p:cNvSpPr>
          <p:nvPr>
            <p:ph idx="1" hasCustomPrompt="1"/>
          </p:nvPr>
        </p:nvSpPr>
        <p:spPr>
          <a:xfrm>
            <a:off x="442913" y="2103120"/>
            <a:ext cx="7418387" cy="407384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p:txBody>
          <a:bodyPr/>
          <a:lstStyle/>
          <a:p>
            <a:r>
              <a:rPr lang="en-IN"/>
              <a:t>April 2023 </a:t>
            </a:r>
            <a:endParaRPr lang="en-US" dirty="0"/>
          </a:p>
        </p:txBody>
      </p:sp>
    </p:spTree>
    <p:extLst>
      <p:ext uri="{BB962C8B-B14F-4D97-AF65-F5344CB8AC3E}">
        <p14:creationId xmlns:p14="http://schemas.microsoft.com/office/powerpoint/2010/main" val="11771131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3" name="Content Placeholder 2"/>
          <p:cNvSpPr>
            <a:spLocks noGrp="1"/>
          </p:cNvSpPr>
          <p:nvPr>
            <p:ph idx="1" hasCustomPrompt="1"/>
          </p:nvPr>
        </p:nvSpPr>
        <p:spPr>
          <a:xfrm>
            <a:off x="442913" y="2103120"/>
            <a:ext cx="11306175" cy="407384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p:txBody>
          <a:bodyPr/>
          <a:lstStyle/>
          <a:p>
            <a:r>
              <a:rPr lang="en-IN"/>
              <a:t>April 2023 </a:t>
            </a:r>
            <a:endParaRPr lang="en-US" dirty="0"/>
          </a:p>
        </p:txBody>
      </p:sp>
    </p:spTree>
    <p:extLst>
      <p:ext uri="{BB962C8B-B14F-4D97-AF65-F5344CB8AC3E}">
        <p14:creationId xmlns:p14="http://schemas.microsoft.com/office/powerpoint/2010/main" val="32581720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A1127051-9445-A34F-940C-D451EEF39800}"/>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C5E96824-1DC8-8F4C-9F19-4AA8BD36E946}"/>
              </a:ext>
            </a:extLst>
          </p:cNvPr>
          <p:cNvSpPr>
            <a:spLocks noGrp="1"/>
          </p:cNvSpPr>
          <p:nvPr>
            <p:ph type="dt" sz="half" idx="12"/>
          </p:nvPr>
        </p:nvSpPr>
        <p:spPr/>
        <p:txBody>
          <a:bodyPr/>
          <a:lstStyle/>
          <a:p>
            <a:r>
              <a:rPr lang="en-IN"/>
              <a:t>April 2023 </a:t>
            </a:r>
            <a:endParaRPr lang="en-US" dirty="0"/>
          </a:p>
        </p:txBody>
      </p:sp>
    </p:spTree>
    <p:extLst>
      <p:ext uri="{BB962C8B-B14F-4D97-AF65-F5344CB8AC3E}">
        <p14:creationId xmlns:p14="http://schemas.microsoft.com/office/powerpoint/2010/main" val="31647214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p:cNvSpPr/>
          <p:nvPr/>
        </p:nvSpPr>
        <p:spPr bwMode="hidden">
          <a:xfrm>
            <a:off x="0" y="3429000"/>
            <a:ext cx="8096250" cy="1143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Rectangle 10"/>
          <p:cNvSpPr/>
          <p:nvPr/>
        </p:nvSpPr>
        <p:spPr bwMode="hidden">
          <a:xfrm>
            <a:off x="8096250" y="0"/>
            <a:ext cx="4095750" cy="3429000"/>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dirty="0"/>
              <a:t>[Presentation title]</a:t>
            </a:r>
            <a:endParaRPr lang="en-GB" dirty="0"/>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dirty="0"/>
              <a:t>[Presentation subtitle]</a:t>
            </a:r>
          </a:p>
        </p:txBody>
      </p:sp>
    </p:spTree>
    <p:extLst>
      <p:ext uri="{BB962C8B-B14F-4D97-AF65-F5344CB8AC3E}">
        <p14:creationId xmlns:p14="http://schemas.microsoft.com/office/powerpoint/2010/main" val="25422302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
        <p:nvSpPr>
          <p:cNvPr id="4" name="Content Placeholder 3"/>
          <p:cNvSpPr>
            <a:spLocks noGrp="1"/>
          </p:cNvSpPr>
          <p:nvPr>
            <p:ph sz="half" idx="2" hasCustomPrompt="1"/>
          </p:nvPr>
        </p:nvSpPr>
        <p:spPr>
          <a:xfrm>
            <a:off x="6275388" y="2103438"/>
            <a:ext cx="5473700"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7" name="Slide Number Placeholder 6">
            <a:extLst>
              <a:ext uri="{FF2B5EF4-FFF2-40B4-BE49-F238E27FC236}">
                <a16:creationId xmlns:a16="http://schemas.microsoft.com/office/drawing/2014/main" id="{00456CA5-A388-1D41-B4AF-6658D4C957A1}"/>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31232899-915E-C74D-8F7F-7C2DD55182A1}"/>
              </a:ext>
            </a:extLst>
          </p:cNvPr>
          <p:cNvSpPr>
            <a:spLocks noGrp="1"/>
          </p:cNvSpPr>
          <p:nvPr>
            <p:ph type="dt" sz="half" idx="12"/>
          </p:nvPr>
        </p:nvSpPr>
        <p:spPr/>
        <p:txBody>
          <a:bodyPr/>
          <a:lstStyle/>
          <a:p>
            <a:r>
              <a:rPr lang="en-IN"/>
              <a:t>April 2023 </a:t>
            </a:r>
            <a:endParaRPr lang="en-US" dirty="0"/>
          </a:p>
        </p:txBody>
      </p:sp>
    </p:spTree>
    <p:extLst>
      <p:ext uri="{BB962C8B-B14F-4D97-AF65-F5344CB8AC3E}">
        <p14:creationId xmlns:p14="http://schemas.microsoft.com/office/powerpoint/2010/main" val="21657275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GB" dirty="0"/>
              <a:t>Click icon to add picture</a:t>
            </a:r>
          </a:p>
        </p:txBody>
      </p:sp>
      <p:sp>
        <p:nvSpPr>
          <p:cNvPr id="3" name="Content Placeholder 2"/>
          <p:cNvSpPr>
            <a:spLocks noGrp="1"/>
          </p:cNvSpPr>
          <p:nvPr>
            <p:ph sz="half" idx="1" hasCustomPrompt="1"/>
          </p:nvPr>
        </p:nvSpPr>
        <p:spPr>
          <a:xfrm>
            <a:off x="442913" y="2103438"/>
            <a:ext cx="5317807" cy="4068761"/>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 name="Title 1"/>
          <p:cNvSpPr>
            <a:spLocks noGrp="1"/>
          </p:cNvSpPr>
          <p:nvPr>
            <p:ph type="title" hasCustomPrompt="1"/>
          </p:nvPr>
        </p:nvSpPr>
        <p:spPr>
          <a:xfrm>
            <a:off x="442913" y="432000"/>
            <a:ext cx="5317807" cy="1387275"/>
          </a:xfrm>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D3536595-57B2-5848-8E3C-E2D5B4D0F21A}"/>
              </a:ext>
            </a:extLst>
          </p:cNvPr>
          <p:cNvSpPr>
            <a:spLocks noGrp="1"/>
          </p:cNvSpPr>
          <p:nvPr>
            <p:ph type="sldNum" sz="quarter" idx="15"/>
          </p:nvPr>
        </p:nvSpPr>
        <p:spPr bwMode="gray"/>
        <p:txBody>
          <a:bodyPr/>
          <a:lstStyle>
            <a:lvl1pPr>
              <a:defRPr>
                <a:solidFill>
                  <a:schemeClr val="bg1"/>
                </a:solidFill>
              </a:defRPr>
            </a:lvl1pPr>
          </a:lstStyle>
          <a:p>
            <a:fld id="{7870704B-CE94-48CC-AF30-84932A1262A7}" type="slidenum">
              <a:rPr lang="en-GB" smtClean="0"/>
              <a:pPr/>
              <a:t>‹#›</a:t>
            </a:fld>
            <a:endParaRPr lang="en-GB" dirty="0"/>
          </a:p>
        </p:txBody>
      </p:sp>
      <p:sp>
        <p:nvSpPr>
          <p:cNvPr id="4" name="Date Placeholder 3">
            <a:extLst>
              <a:ext uri="{FF2B5EF4-FFF2-40B4-BE49-F238E27FC236}">
                <a16:creationId xmlns:a16="http://schemas.microsoft.com/office/drawing/2014/main" id="{A3DF40C9-D7F9-A14D-8F2B-F46833A0170E}"/>
              </a:ext>
            </a:extLst>
          </p:cNvPr>
          <p:cNvSpPr>
            <a:spLocks noGrp="1"/>
          </p:cNvSpPr>
          <p:nvPr>
            <p:ph type="dt" sz="half" idx="16"/>
          </p:nvPr>
        </p:nvSpPr>
        <p:spPr/>
        <p:txBody>
          <a:bodyPr/>
          <a:lstStyle>
            <a:lvl1pPr>
              <a:defRPr>
                <a:solidFill>
                  <a:schemeClr val="bg1"/>
                </a:solidFill>
              </a:defRPr>
            </a:lvl1pPr>
          </a:lstStyle>
          <a:p>
            <a:r>
              <a:rPr lang="en-IN"/>
              <a:t>April 2023 </a:t>
            </a:r>
            <a:endParaRPr lang="en-US" dirty="0"/>
          </a:p>
        </p:txBody>
      </p:sp>
    </p:spTree>
    <p:extLst>
      <p:ext uri="{BB962C8B-B14F-4D97-AF65-F5344CB8AC3E}">
        <p14:creationId xmlns:p14="http://schemas.microsoft.com/office/powerpoint/2010/main" val="316238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3529012"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Content Placeholder 3"/>
          <p:cNvSpPr>
            <a:spLocks noGrp="1"/>
          </p:cNvSpPr>
          <p:nvPr>
            <p:ph sz="half" idx="2" hasCustomPrompt="1"/>
          </p:nvPr>
        </p:nvSpPr>
        <p:spPr>
          <a:xfrm>
            <a:off x="4332288" y="2103438"/>
            <a:ext cx="3529012"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
        <p:nvSpPr>
          <p:cNvPr id="12" name="Content Placeholder 3"/>
          <p:cNvSpPr>
            <a:spLocks noGrp="1"/>
          </p:cNvSpPr>
          <p:nvPr>
            <p:ph sz="half" idx="13" hasCustomPrompt="1"/>
          </p:nvPr>
        </p:nvSpPr>
        <p:spPr>
          <a:xfrm>
            <a:off x="8220076" y="2103438"/>
            <a:ext cx="3529012"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7" name="Slide Number Placeholder 6">
            <a:extLst>
              <a:ext uri="{FF2B5EF4-FFF2-40B4-BE49-F238E27FC236}">
                <a16:creationId xmlns:a16="http://schemas.microsoft.com/office/drawing/2014/main" id="{2DE0F926-F4BA-044E-B97A-AA8668B032A8}"/>
              </a:ext>
            </a:extLst>
          </p:cNvPr>
          <p:cNvSpPr>
            <a:spLocks noGrp="1"/>
          </p:cNvSpPr>
          <p:nvPr>
            <p:ph type="sldNum" sz="quarter" idx="15"/>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92EB6748-91CD-EA44-B3CB-A9D864D8B207}"/>
              </a:ext>
            </a:extLst>
          </p:cNvPr>
          <p:cNvSpPr>
            <a:spLocks noGrp="1"/>
          </p:cNvSpPr>
          <p:nvPr>
            <p:ph type="dt" sz="half" idx="16"/>
          </p:nvPr>
        </p:nvSpPr>
        <p:spPr/>
        <p:txBody>
          <a:bodyPr/>
          <a:lstStyle/>
          <a:p>
            <a:r>
              <a:rPr lang="en-IN"/>
              <a:t>April 2023 </a:t>
            </a:r>
            <a:endParaRPr lang="en-US" dirty="0"/>
          </a:p>
        </p:txBody>
      </p:sp>
    </p:spTree>
    <p:extLst>
      <p:ext uri="{BB962C8B-B14F-4D97-AF65-F5344CB8AC3E}">
        <p14:creationId xmlns:p14="http://schemas.microsoft.com/office/powerpoint/2010/main" val="23230190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Content Placeholder 3"/>
          <p:cNvSpPr>
            <a:spLocks noGrp="1"/>
          </p:cNvSpPr>
          <p:nvPr>
            <p:ph sz="half" idx="2" hasCustomPrompt="1"/>
          </p:nvPr>
        </p:nvSpPr>
        <p:spPr>
          <a:xfrm>
            <a:off x="3360613" y="2103438"/>
            <a:ext cx="2556000"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6" name="Content Placeholder 3"/>
          <p:cNvSpPr>
            <a:spLocks noGrp="1"/>
          </p:cNvSpPr>
          <p:nvPr>
            <p:ph sz="half" idx="13" hasCustomPrompt="1"/>
          </p:nvPr>
        </p:nvSpPr>
        <p:spPr>
          <a:xfrm>
            <a:off x="6275388" y="2103438"/>
            <a:ext cx="2556000"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7" name="Content Placeholder 3"/>
          <p:cNvSpPr>
            <a:spLocks noGrp="1"/>
          </p:cNvSpPr>
          <p:nvPr>
            <p:ph sz="half" idx="14" hasCustomPrompt="1"/>
          </p:nvPr>
        </p:nvSpPr>
        <p:spPr>
          <a:xfrm>
            <a:off x="9190163" y="2103438"/>
            <a:ext cx="2556000"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9" name="Title 8"/>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10" name="Slide Number Placeholder 9">
            <a:extLst>
              <a:ext uri="{FF2B5EF4-FFF2-40B4-BE49-F238E27FC236}">
                <a16:creationId xmlns:a16="http://schemas.microsoft.com/office/drawing/2014/main" id="{CD6E0CB0-5FCA-9E41-ACFD-7D08A524DF43}"/>
              </a:ext>
            </a:extLst>
          </p:cNvPr>
          <p:cNvSpPr>
            <a:spLocks noGrp="1"/>
          </p:cNvSpPr>
          <p:nvPr>
            <p:ph type="sldNum" sz="quarter" idx="16"/>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DE638E35-65AD-4243-B284-707345D47D7E}"/>
              </a:ext>
            </a:extLst>
          </p:cNvPr>
          <p:cNvSpPr>
            <a:spLocks noGrp="1"/>
          </p:cNvSpPr>
          <p:nvPr>
            <p:ph type="dt" sz="half" idx="17"/>
          </p:nvPr>
        </p:nvSpPr>
        <p:spPr/>
        <p:txBody>
          <a:bodyPr/>
          <a:lstStyle/>
          <a:p>
            <a:r>
              <a:rPr lang="en-IN"/>
              <a:t>April 2023 </a:t>
            </a:r>
            <a:endParaRPr lang="en-US" dirty="0"/>
          </a:p>
        </p:txBody>
      </p:sp>
    </p:spTree>
    <p:extLst>
      <p:ext uri="{BB962C8B-B14F-4D97-AF65-F5344CB8AC3E}">
        <p14:creationId xmlns:p14="http://schemas.microsoft.com/office/powerpoint/2010/main" val="11396647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Content Placeholder 3"/>
          <p:cNvSpPr>
            <a:spLocks noGrp="1"/>
          </p:cNvSpPr>
          <p:nvPr>
            <p:ph sz="half" idx="2"/>
          </p:nvPr>
        </p:nvSpPr>
        <p:spPr>
          <a:xfrm>
            <a:off x="2777045" y="2103438"/>
            <a:ext cx="1972800" cy="40687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Content Placeholder 3"/>
          <p:cNvSpPr>
            <a:spLocks noGrp="1"/>
          </p:cNvSpPr>
          <p:nvPr>
            <p:ph sz="half" idx="13"/>
          </p:nvPr>
        </p:nvSpPr>
        <p:spPr>
          <a:xfrm>
            <a:off x="5111177" y="2103438"/>
            <a:ext cx="1972800" cy="40687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Content Placeholder 3"/>
          <p:cNvSpPr>
            <a:spLocks noGrp="1"/>
          </p:cNvSpPr>
          <p:nvPr>
            <p:ph sz="half" idx="14"/>
          </p:nvPr>
        </p:nvSpPr>
        <p:spPr>
          <a:xfrm>
            <a:off x="7445309" y="2103438"/>
            <a:ext cx="1972800" cy="40687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Content Placeholder 3"/>
          <p:cNvSpPr>
            <a:spLocks noGrp="1"/>
          </p:cNvSpPr>
          <p:nvPr>
            <p:ph sz="half" idx="15"/>
          </p:nvPr>
        </p:nvSpPr>
        <p:spPr>
          <a:xfrm>
            <a:off x="9779443" y="2103438"/>
            <a:ext cx="1972800" cy="40687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0" name="Title 9"/>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11" name="Slide Number Placeholder 10">
            <a:extLst>
              <a:ext uri="{FF2B5EF4-FFF2-40B4-BE49-F238E27FC236}">
                <a16:creationId xmlns:a16="http://schemas.microsoft.com/office/drawing/2014/main" id="{BC0705E1-E330-8C4F-A023-40952CF24C94}"/>
              </a:ext>
            </a:extLst>
          </p:cNvPr>
          <p:cNvSpPr>
            <a:spLocks noGrp="1"/>
          </p:cNvSpPr>
          <p:nvPr>
            <p:ph type="sldNum" sz="quarter" idx="17"/>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222D3CEF-2FE9-6541-A411-8712E77FDE9D}"/>
              </a:ext>
            </a:extLst>
          </p:cNvPr>
          <p:cNvSpPr>
            <a:spLocks noGrp="1"/>
          </p:cNvSpPr>
          <p:nvPr>
            <p:ph type="dt" sz="half" idx="18"/>
          </p:nvPr>
        </p:nvSpPr>
        <p:spPr/>
        <p:txBody>
          <a:bodyPr/>
          <a:lstStyle/>
          <a:p>
            <a:r>
              <a:rPr lang="en-IN"/>
              <a:t>April 2023 </a:t>
            </a:r>
            <a:endParaRPr lang="en-US" dirty="0"/>
          </a:p>
        </p:txBody>
      </p:sp>
    </p:spTree>
    <p:extLst>
      <p:ext uri="{BB962C8B-B14F-4D97-AF65-F5344CB8AC3E}">
        <p14:creationId xmlns:p14="http://schemas.microsoft.com/office/powerpoint/2010/main" val="10457071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GB" dirty="0"/>
              <a:t>Click icon to add picture</a:t>
            </a:r>
          </a:p>
        </p:txBody>
      </p:sp>
      <p:sp>
        <p:nvSpPr>
          <p:cNvPr id="13" name="Text Placeholder 12"/>
          <p:cNvSpPr>
            <a:spLocks noGrp="1"/>
          </p:cNvSpPr>
          <p:nvPr>
            <p:ph type="body" sz="quarter" idx="14" hasCustomPrompt="1"/>
          </p:nvPr>
        </p:nvSpPr>
        <p:spPr>
          <a:xfrm>
            <a:off x="442913"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GB" dirty="0"/>
              <a:t>Click icon to add picture</a:t>
            </a:r>
          </a:p>
        </p:txBody>
      </p:sp>
      <p:sp>
        <p:nvSpPr>
          <p:cNvPr id="17" name="Text Placeholder 12"/>
          <p:cNvSpPr>
            <a:spLocks noGrp="1"/>
          </p:cNvSpPr>
          <p:nvPr>
            <p:ph type="body" sz="quarter" idx="16" hasCustomPrompt="1"/>
          </p:nvPr>
        </p:nvSpPr>
        <p:spPr>
          <a:xfrm>
            <a:off x="4331495"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GB" dirty="0"/>
              <a:t>Click icon to add picture</a:t>
            </a:r>
          </a:p>
        </p:txBody>
      </p:sp>
      <p:sp>
        <p:nvSpPr>
          <p:cNvPr id="19" name="Text Placeholder 12"/>
          <p:cNvSpPr>
            <a:spLocks noGrp="1"/>
          </p:cNvSpPr>
          <p:nvPr>
            <p:ph type="body" sz="quarter" idx="18" hasCustomPrompt="1"/>
          </p:nvPr>
        </p:nvSpPr>
        <p:spPr>
          <a:xfrm>
            <a:off x="8220076"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0FA63A94-C8E2-FB44-885B-EB683E5F6866}"/>
              </a:ext>
            </a:extLst>
          </p:cNvPr>
          <p:cNvSpPr>
            <a:spLocks noGrp="1"/>
          </p:cNvSpPr>
          <p:nvPr>
            <p:ph type="sldNum" sz="quarter" idx="20"/>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055A3E01-BC1E-FC45-9A3B-16FFF0CD47EE}"/>
              </a:ext>
            </a:extLst>
          </p:cNvPr>
          <p:cNvSpPr>
            <a:spLocks noGrp="1"/>
          </p:cNvSpPr>
          <p:nvPr>
            <p:ph type="dt" sz="half" idx="21"/>
          </p:nvPr>
        </p:nvSpPr>
        <p:spPr/>
        <p:txBody>
          <a:bodyPr/>
          <a:lstStyle/>
          <a:p>
            <a:r>
              <a:rPr lang="en-IN"/>
              <a:t>April 2023 </a:t>
            </a:r>
            <a:endParaRPr lang="en-US" dirty="0"/>
          </a:p>
        </p:txBody>
      </p:sp>
    </p:spTree>
    <p:extLst>
      <p:ext uri="{BB962C8B-B14F-4D97-AF65-F5344CB8AC3E}">
        <p14:creationId xmlns:p14="http://schemas.microsoft.com/office/powerpoint/2010/main" val="23353270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7" name="Text Placeholder 12"/>
          <p:cNvSpPr>
            <a:spLocks noGrp="1"/>
          </p:cNvSpPr>
          <p:nvPr>
            <p:ph type="body" sz="quarter" idx="16" hasCustomPrompt="1"/>
          </p:nvPr>
        </p:nvSpPr>
        <p:spPr>
          <a:xfrm>
            <a:off x="335963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9" name="Text Placeholder 12"/>
          <p:cNvSpPr>
            <a:spLocks noGrp="1"/>
          </p:cNvSpPr>
          <p:nvPr>
            <p:ph type="body" sz="quarter" idx="18" hasCustomPrompt="1"/>
          </p:nvPr>
        </p:nvSpPr>
        <p:spPr>
          <a:xfrm>
            <a:off x="627636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5" name="Text Placeholder 12"/>
          <p:cNvSpPr>
            <a:spLocks noGrp="1"/>
          </p:cNvSpPr>
          <p:nvPr>
            <p:ph type="body" sz="quarter" idx="20" hasCustomPrompt="1"/>
          </p:nvPr>
        </p:nvSpPr>
        <p:spPr>
          <a:xfrm>
            <a:off x="919308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A3D2E598-676F-DE44-A364-05E35FEB3110}"/>
              </a:ext>
            </a:extLst>
          </p:cNvPr>
          <p:cNvSpPr>
            <a:spLocks noGrp="1"/>
          </p:cNvSpPr>
          <p:nvPr>
            <p:ph type="sldNum" sz="quarter" idx="22"/>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D4EE7D73-CC34-F34E-8E0D-FE9EFCAB5B6D}"/>
              </a:ext>
            </a:extLst>
          </p:cNvPr>
          <p:cNvSpPr>
            <a:spLocks noGrp="1"/>
          </p:cNvSpPr>
          <p:nvPr>
            <p:ph type="dt" sz="half" idx="23"/>
          </p:nvPr>
        </p:nvSpPr>
        <p:spPr/>
        <p:txBody>
          <a:bodyPr/>
          <a:lstStyle/>
          <a:p>
            <a:r>
              <a:rPr lang="en-IN"/>
              <a:t>April 2023 </a:t>
            </a:r>
            <a:endParaRPr lang="en-US" dirty="0"/>
          </a:p>
        </p:txBody>
      </p:sp>
    </p:spTree>
    <p:extLst>
      <p:ext uri="{BB962C8B-B14F-4D97-AF65-F5344CB8AC3E}">
        <p14:creationId xmlns:p14="http://schemas.microsoft.com/office/powerpoint/2010/main" val="1593770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1" y="2103120"/>
            <a:ext cx="1325880" cy="1325880"/>
          </a:xfrm>
          <a:solidFill>
            <a:srgbClr val="DEDEDE"/>
          </a:solidFill>
        </p:spPr>
        <p:txBody>
          <a:bodyPr anchor="ctr" anchorCtr="0"/>
          <a:lstStyle>
            <a:lvl1pPr algn="ctr">
              <a:defRPr sz="1200" b="0">
                <a:solidFill>
                  <a:schemeClr val="tx1"/>
                </a:solidFill>
              </a:defRPr>
            </a:lvl1pPr>
          </a:lstStyle>
          <a:p>
            <a:r>
              <a:rPr lang="en-GB" dirty="0"/>
              <a:t>Click icon to add picture</a:t>
            </a:r>
          </a:p>
        </p:txBody>
      </p:sp>
      <p:sp>
        <p:nvSpPr>
          <p:cNvPr id="13" name="Text Placeholder 12"/>
          <p:cNvSpPr>
            <a:spLocks noGrp="1"/>
          </p:cNvSpPr>
          <p:nvPr>
            <p:ph type="body" sz="quarter" idx="14" hasCustomPrompt="1"/>
          </p:nvPr>
        </p:nvSpPr>
        <p:spPr>
          <a:xfrm>
            <a:off x="44291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6" name="Picture Placeholder 9"/>
          <p:cNvSpPr>
            <a:spLocks noGrp="1" noChangeAspect="1"/>
          </p:cNvSpPr>
          <p:nvPr>
            <p:ph type="pic" sz="quarter" idx="15"/>
          </p:nvPr>
        </p:nvSpPr>
        <p:spPr>
          <a:xfrm>
            <a:off x="3359638" y="2103120"/>
            <a:ext cx="1325880" cy="1325880"/>
          </a:xfrm>
          <a:solidFill>
            <a:srgbClr val="DEDEDE"/>
          </a:solidFill>
        </p:spPr>
        <p:txBody>
          <a:bodyPr anchor="ctr" anchorCtr="0"/>
          <a:lstStyle>
            <a:lvl1pPr algn="ctr">
              <a:defRPr sz="1200" b="0">
                <a:solidFill>
                  <a:schemeClr val="tx1"/>
                </a:solidFill>
              </a:defRPr>
            </a:lvl1pPr>
          </a:lstStyle>
          <a:p>
            <a:r>
              <a:rPr lang="en-GB" dirty="0"/>
              <a:t>Click icon to add picture</a:t>
            </a:r>
          </a:p>
        </p:txBody>
      </p:sp>
      <p:sp>
        <p:nvSpPr>
          <p:cNvPr id="17" name="Text Placeholder 12"/>
          <p:cNvSpPr>
            <a:spLocks noGrp="1"/>
          </p:cNvSpPr>
          <p:nvPr>
            <p:ph type="body" sz="quarter" idx="16" hasCustomPrompt="1"/>
          </p:nvPr>
        </p:nvSpPr>
        <p:spPr>
          <a:xfrm>
            <a:off x="3359638"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8" name="Picture Placeholder 9"/>
          <p:cNvSpPr>
            <a:spLocks noGrp="1" noChangeAspect="1"/>
          </p:cNvSpPr>
          <p:nvPr>
            <p:ph type="pic" sz="quarter" idx="17"/>
          </p:nvPr>
        </p:nvSpPr>
        <p:spPr>
          <a:xfrm>
            <a:off x="6276363" y="2103120"/>
            <a:ext cx="1325880" cy="1325880"/>
          </a:xfrm>
          <a:solidFill>
            <a:srgbClr val="DEDEDE"/>
          </a:solidFill>
        </p:spPr>
        <p:txBody>
          <a:bodyPr anchor="ctr" anchorCtr="0"/>
          <a:lstStyle>
            <a:lvl1pPr algn="ctr">
              <a:defRPr sz="1200" b="0">
                <a:solidFill>
                  <a:schemeClr val="tx1"/>
                </a:solidFill>
              </a:defRPr>
            </a:lvl1pPr>
          </a:lstStyle>
          <a:p>
            <a:r>
              <a:rPr lang="en-GB" dirty="0"/>
              <a:t>Click icon to add picture</a:t>
            </a:r>
          </a:p>
        </p:txBody>
      </p:sp>
      <p:sp>
        <p:nvSpPr>
          <p:cNvPr id="19" name="Text Placeholder 12"/>
          <p:cNvSpPr>
            <a:spLocks noGrp="1"/>
          </p:cNvSpPr>
          <p:nvPr>
            <p:ph type="body" sz="quarter" idx="18" hasCustomPrompt="1"/>
          </p:nvPr>
        </p:nvSpPr>
        <p:spPr>
          <a:xfrm>
            <a:off x="627636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4" name="Picture Placeholder 9"/>
          <p:cNvSpPr>
            <a:spLocks noGrp="1" noChangeAspect="1"/>
          </p:cNvSpPr>
          <p:nvPr>
            <p:ph type="pic" sz="quarter" idx="19"/>
          </p:nvPr>
        </p:nvSpPr>
        <p:spPr>
          <a:xfrm>
            <a:off x="9193088" y="2103120"/>
            <a:ext cx="1325880" cy="1325880"/>
          </a:xfrm>
          <a:solidFill>
            <a:srgbClr val="DEDEDE"/>
          </a:solidFill>
        </p:spPr>
        <p:txBody>
          <a:bodyPr anchor="ctr" anchorCtr="0"/>
          <a:lstStyle>
            <a:lvl1pPr algn="ctr">
              <a:defRPr sz="1200" b="0">
                <a:solidFill>
                  <a:schemeClr val="tx1"/>
                </a:solidFill>
              </a:defRPr>
            </a:lvl1pPr>
          </a:lstStyle>
          <a:p>
            <a:r>
              <a:rPr lang="en-GB" dirty="0"/>
              <a:t>Click icon to add picture</a:t>
            </a:r>
          </a:p>
        </p:txBody>
      </p:sp>
      <p:sp>
        <p:nvSpPr>
          <p:cNvPr id="15" name="Text Placeholder 12"/>
          <p:cNvSpPr>
            <a:spLocks noGrp="1"/>
          </p:cNvSpPr>
          <p:nvPr>
            <p:ph type="body" sz="quarter" idx="20" hasCustomPrompt="1"/>
          </p:nvPr>
        </p:nvSpPr>
        <p:spPr>
          <a:xfrm>
            <a:off x="9193088"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0AEC188F-17FB-9741-A681-A3C06DA3BEA1}"/>
              </a:ext>
            </a:extLst>
          </p:cNvPr>
          <p:cNvSpPr>
            <a:spLocks noGrp="1"/>
          </p:cNvSpPr>
          <p:nvPr>
            <p:ph type="sldNum" sz="quarter" idx="22"/>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4C7FE2CE-7430-B14C-8AB3-DE28B3871F56}"/>
              </a:ext>
            </a:extLst>
          </p:cNvPr>
          <p:cNvSpPr>
            <a:spLocks noGrp="1"/>
          </p:cNvSpPr>
          <p:nvPr>
            <p:ph type="dt" sz="half" idx="23"/>
          </p:nvPr>
        </p:nvSpPr>
        <p:spPr/>
        <p:txBody>
          <a:bodyPr/>
          <a:lstStyle/>
          <a:p>
            <a:r>
              <a:rPr lang="en-IN"/>
              <a:t>April 2023 </a:t>
            </a:r>
            <a:endParaRPr lang="en-US" dirty="0"/>
          </a:p>
        </p:txBody>
      </p:sp>
    </p:spTree>
    <p:extLst>
      <p:ext uri="{BB962C8B-B14F-4D97-AF65-F5344CB8AC3E}">
        <p14:creationId xmlns:p14="http://schemas.microsoft.com/office/powerpoint/2010/main" val="35322008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GB" dirty="0"/>
              <a:t>Click icon to add chart</a:t>
            </a:r>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FD397FBE-5CF3-D24C-9080-6E833FFE25D2}"/>
              </a:ext>
            </a:extLst>
          </p:cNvPr>
          <p:cNvSpPr>
            <a:spLocks noGrp="1"/>
          </p:cNvSpPr>
          <p:nvPr>
            <p:ph type="sldNum" sz="quarter" idx="15"/>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E2C69D5E-619A-7A4D-B6D5-5294509D7143}"/>
              </a:ext>
            </a:extLst>
          </p:cNvPr>
          <p:cNvSpPr>
            <a:spLocks noGrp="1"/>
          </p:cNvSpPr>
          <p:nvPr>
            <p:ph type="dt" sz="half" idx="16"/>
          </p:nvPr>
        </p:nvSpPr>
        <p:spPr/>
        <p:txBody>
          <a:bodyPr/>
          <a:lstStyle/>
          <a:p>
            <a:r>
              <a:rPr lang="en-IN"/>
              <a:t>April 2023 </a:t>
            </a:r>
            <a:endParaRPr lang="en-US" dirty="0"/>
          </a:p>
        </p:txBody>
      </p:sp>
    </p:spTree>
    <p:extLst>
      <p:ext uri="{BB962C8B-B14F-4D97-AF65-F5344CB8AC3E}">
        <p14:creationId xmlns:p14="http://schemas.microsoft.com/office/powerpoint/2010/main" val="10348175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0514"/>
            <a:ext cx="11306175" cy="502920"/>
          </a:xfrm>
        </p:spPr>
        <p:txBody>
          <a:bodyPr/>
          <a:lstStyle>
            <a:lvl1pPr>
              <a:defRPr/>
            </a:lvl1pPr>
          </a:lstStyle>
          <a:p>
            <a:r>
              <a:rPr lang="en-US" dirty="0"/>
              <a:t>[Slide title]</a:t>
            </a:r>
            <a:endParaRPr lang="en-GB" dirty="0"/>
          </a:p>
        </p:txBody>
      </p:sp>
      <p:sp>
        <p:nvSpPr>
          <p:cNvPr id="3" name="Content Placeholder 2"/>
          <p:cNvSpPr>
            <a:spLocks noGrp="1"/>
          </p:cNvSpPr>
          <p:nvPr>
            <p:ph idx="1" hasCustomPrompt="1"/>
          </p:nvPr>
        </p:nvSpPr>
        <p:spPr>
          <a:xfrm>
            <a:off x="442913" y="2103438"/>
            <a:ext cx="7418387"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8" name="Slide Number Placeholder 7">
            <a:extLst>
              <a:ext uri="{FF2B5EF4-FFF2-40B4-BE49-F238E27FC236}">
                <a16:creationId xmlns:a16="http://schemas.microsoft.com/office/drawing/2014/main" id="{C9242D6C-75F6-2B45-8341-980F99E5DA74}"/>
              </a:ext>
            </a:extLst>
          </p:cNvPr>
          <p:cNvSpPr>
            <a:spLocks noGrp="1"/>
          </p:cNvSpPr>
          <p:nvPr>
            <p:ph type="sldNum" sz="quarter" idx="15"/>
          </p:nvPr>
        </p:nvSpPr>
        <p:spPr/>
        <p:txBody>
          <a:bodyPr/>
          <a:lstStyle/>
          <a:p>
            <a:fld id="{7870704B-CE94-48CC-AF30-84932A1262A7}" type="slidenum">
              <a:rPr lang="en-GB" smtClean="0"/>
              <a:pPr/>
              <a:t>‹#›</a:t>
            </a:fld>
            <a:endParaRPr lang="en-GB" dirty="0"/>
          </a:p>
        </p:txBody>
      </p:sp>
      <p:sp>
        <p:nvSpPr>
          <p:cNvPr id="6"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dirty="0"/>
              <a:t>[Optional slide subtitle]</a:t>
            </a:r>
          </a:p>
        </p:txBody>
      </p:sp>
      <p:sp>
        <p:nvSpPr>
          <p:cNvPr id="4" name="Date Placeholder 3">
            <a:extLst>
              <a:ext uri="{FF2B5EF4-FFF2-40B4-BE49-F238E27FC236}">
                <a16:creationId xmlns:a16="http://schemas.microsoft.com/office/drawing/2014/main" id="{3F8846DF-B557-F249-A820-B138A17441DC}"/>
              </a:ext>
            </a:extLst>
          </p:cNvPr>
          <p:cNvSpPr>
            <a:spLocks noGrp="1"/>
          </p:cNvSpPr>
          <p:nvPr>
            <p:ph type="dt" sz="half" idx="17"/>
          </p:nvPr>
        </p:nvSpPr>
        <p:spPr/>
        <p:txBody>
          <a:bodyPr/>
          <a:lstStyle/>
          <a:p>
            <a:r>
              <a:rPr lang="en-IN"/>
              <a:t>April 2023 </a:t>
            </a:r>
            <a:endParaRPr lang="en-US" dirty="0"/>
          </a:p>
        </p:txBody>
      </p:sp>
    </p:spTree>
    <p:extLst>
      <p:ext uri="{BB962C8B-B14F-4D97-AF65-F5344CB8AC3E}">
        <p14:creationId xmlns:p14="http://schemas.microsoft.com/office/powerpoint/2010/main" val="29190975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1 Grey">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0" name="Rectangle 9"/>
          <p:cNvSpPr/>
          <p:nvPr/>
        </p:nvSpPr>
        <p:spPr bwMode="hidden">
          <a:xfrm>
            <a:off x="0" y="3429000"/>
            <a:ext cx="8096250" cy="1143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1" name="Rectangle 10"/>
          <p:cNvSpPr/>
          <p:nvPr/>
        </p:nvSpPr>
        <p:spPr bwMode="hidden">
          <a:xfrm>
            <a:off x="8096250" y="0"/>
            <a:ext cx="4095750" cy="3429000"/>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dirty="0"/>
              <a:t>[Presentation title]</a:t>
            </a:r>
            <a:endParaRPr lang="en-GB" dirty="0"/>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dirty="0"/>
              <a:t>[Presentation subtitle]</a:t>
            </a:r>
          </a:p>
        </p:txBody>
      </p:sp>
    </p:spTree>
    <p:extLst>
      <p:ext uri="{BB962C8B-B14F-4D97-AF65-F5344CB8AC3E}">
        <p14:creationId xmlns:p14="http://schemas.microsoft.com/office/powerpoint/2010/main" val="2058003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3" y="2103438"/>
            <a:ext cx="11306175"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A78C6408-9684-F649-A01B-20A1E9A52ED4}"/>
              </a:ext>
            </a:extLst>
          </p:cNvPr>
          <p:cNvSpPr>
            <a:spLocks noGrp="1"/>
          </p:cNvSpPr>
          <p:nvPr>
            <p:ph type="sldNum" sz="quarter" idx="15"/>
          </p:nvPr>
        </p:nvSpPr>
        <p:spPr/>
        <p:txBody>
          <a:bodyPr/>
          <a:lstStyle/>
          <a:p>
            <a:fld id="{7870704B-CE94-48CC-AF30-84932A1262A7}" type="slidenum">
              <a:rPr lang="en-GB" smtClean="0"/>
              <a:pPr/>
              <a:t>‹#›</a:t>
            </a:fld>
            <a:endParaRPr lang="en-GB" dirty="0"/>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dirty="0"/>
              <a:t>[Optional slide subtitle]</a:t>
            </a:r>
          </a:p>
        </p:txBody>
      </p:sp>
      <p:sp>
        <p:nvSpPr>
          <p:cNvPr id="2" name="Date Placeholder 1">
            <a:extLst>
              <a:ext uri="{FF2B5EF4-FFF2-40B4-BE49-F238E27FC236}">
                <a16:creationId xmlns:a16="http://schemas.microsoft.com/office/drawing/2014/main" id="{2709AE37-4C0E-9449-8811-AF627111A71F}"/>
              </a:ext>
            </a:extLst>
          </p:cNvPr>
          <p:cNvSpPr>
            <a:spLocks noGrp="1"/>
          </p:cNvSpPr>
          <p:nvPr>
            <p:ph type="dt" sz="half" idx="17"/>
          </p:nvPr>
        </p:nvSpPr>
        <p:spPr/>
        <p:txBody>
          <a:bodyPr/>
          <a:lstStyle/>
          <a:p>
            <a:r>
              <a:rPr lang="en-IN"/>
              <a:t>April 2023 </a:t>
            </a:r>
            <a:endParaRPr lang="en-US" dirty="0"/>
          </a:p>
        </p:txBody>
      </p:sp>
    </p:spTree>
    <p:extLst>
      <p:ext uri="{BB962C8B-B14F-4D97-AF65-F5344CB8AC3E}">
        <p14:creationId xmlns:p14="http://schemas.microsoft.com/office/powerpoint/2010/main" val="46632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C8CAC806-7708-6C42-A901-982FA119C086}"/>
              </a:ext>
            </a:extLst>
          </p:cNvPr>
          <p:cNvSpPr>
            <a:spLocks noGrp="1"/>
          </p:cNvSpPr>
          <p:nvPr>
            <p:ph type="sldNum" sz="quarter" idx="15"/>
          </p:nvPr>
        </p:nvSpPr>
        <p:spPr/>
        <p:txBody>
          <a:bodyPr/>
          <a:lstStyle/>
          <a:p>
            <a:fld id="{7870704B-CE94-48CC-AF30-84932A1262A7}" type="slidenum">
              <a:rPr lang="en-GB" smtClean="0"/>
              <a:pPr/>
              <a:t>‹#›</a:t>
            </a:fld>
            <a:endParaRPr lang="en-GB" dirty="0"/>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dirty="0"/>
              <a:t>[Optional slide subtitle]</a:t>
            </a:r>
          </a:p>
        </p:txBody>
      </p:sp>
      <p:sp>
        <p:nvSpPr>
          <p:cNvPr id="2" name="Date Placeholder 1">
            <a:extLst>
              <a:ext uri="{FF2B5EF4-FFF2-40B4-BE49-F238E27FC236}">
                <a16:creationId xmlns:a16="http://schemas.microsoft.com/office/drawing/2014/main" id="{F75A8AA7-C631-FC48-B78E-A7C28CBFC4D6}"/>
              </a:ext>
            </a:extLst>
          </p:cNvPr>
          <p:cNvSpPr>
            <a:spLocks noGrp="1"/>
          </p:cNvSpPr>
          <p:nvPr>
            <p:ph type="dt" sz="half" idx="17"/>
          </p:nvPr>
        </p:nvSpPr>
        <p:spPr/>
        <p:txBody>
          <a:bodyPr/>
          <a:lstStyle/>
          <a:p>
            <a:r>
              <a:rPr lang="en-IN"/>
              <a:t>April 2023 </a:t>
            </a:r>
            <a:endParaRPr lang="en-US" dirty="0"/>
          </a:p>
        </p:txBody>
      </p:sp>
    </p:spTree>
    <p:extLst>
      <p:ext uri="{BB962C8B-B14F-4D97-AF65-F5344CB8AC3E}">
        <p14:creationId xmlns:p14="http://schemas.microsoft.com/office/powerpoint/2010/main" val="112330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Content Placeholder 3"/>
          <p:cNvSpPr>
            <a:spLocks noGrp="1"/>
          </p:cNvSpPr>
          <p:nvPr>
            <p:ph sz="half" idx="2" hasCustomPrompt="1"/>
          </p:nvPr>
        </p:nvSpPr>
        <p:spPr>
          <a:xfrm>
            <a:off x="6275388" y="2103437"/>
            <a:ext cx="5473699" cy="4068761"/>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1" name="Title 1"/>
          <p:cNvSpPr>
            <a:spLocks noGrp="1"/>
          </p:cNvSpPr>
          <p:nvPr>
            <p:ph type="title" hasCustomPrompt="1"/>
          </p:nvPr>
        </p:nvSpPr>
        <p:spPr>
          <a:xfrm>
            <a:off x="442913" y="430514"/>
            <a:ext cx="11306175" cy="502920"/>
          </a:xfrm>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E7945371-B6F9-F541-89EE-24D897592CA4}"/>
              </a:ext>
            </a:extLst>
          </p:cNvPr>
          <p:cNvSpPr>
            <a:spLocks noGrp="1"/>
          </p:cNvSpPr>
          <p:nvPr>
            <p:ph type="sldNum" sz="quarter" idx="15"/>
          </p:nvPr>
        </p:nvSpPr>
        <p:spPr/>
        <p:txBody>
          <a:bodyPr/>
          <a:lstStyle/>
          <a:p>
            <a:fld id="{7870704B-CE94-48CC-AF30-84932A1262A7}" type="slidenum">
              <a:rPr lang="en-GB" smtClean="0"/>
              <a:pPr/>
              <a:t>‹#›</a:t>
            </a:fld>
            <a:endParaRPr lang="en-GB" dirty="0"/>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dirty="0"/>
              <a:t>[Optional slide subtitle]</a:t>
            </a:r>
          </a:p>
        </p:txBody>
      </p:sp>
      <p:sp>
        <p:nvSpPr>
          <p:cNvPr id="2" name="Date Placeholder 1">
            <a:extLst>
              <a:ext uri="{FF2B5EF4-FFF2-40B4-BE49-F238E27FC236}">
                <a16:creationId xmlns:a16="http://schemas.microsoft.com/office/drawing/2014/main" id="{701872E8-5749-484B-9C68-8AF6F238E4A1}"/>
              </a:ext>
            </a:extLst>
          </p:cNvPr>
          <p:cNvSpPr>
            <a:spLocks noGrp="1"/>
          </p:cNvSpPr>
          <p:nvPr>
            <p:ph type="dt" sz="half" idx="17"/>
          </p:nvPr>
        </p:nvSpPr>
        <p:spPr/>
        <p:txBody>
          <a:bodyPr/>
          <a:lstStyle/>
          <a:p>
            <a:r>
              <a:rPr lang="en-IN"/>
              <a:t>April 2023 </a:t>
            </a:r>
            <a:endParaRPr lang="en-US" dirty="0"/>
          </a:p>
        </p:txBody>
      </p:sp>
    </p:spTree>
    <p:extLst>
      <p:ext uri="{BB962C8B-B14F-4D97-AF65-F5344CB8AC3E}">
        <p14:creationId xmlns:p14="http://schemas.microsoft.com/office/powerpoint/2010/main" val="36414266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GB" dirty="0"/>
              <a:t>Click icon to add picture</a:t>
            </a:r>
          </a:p>
        </p:txBody>
      </p:sp>
      <p:sp>
        <p:nvSpPr>
          <p:cNvPr id="3" name="Content Placeholder 2"/>
          <p:cNvSpPr>
            <a:spLocks noGrp="1"/>
          </p:cNvSpPr>
          <p:nvPr>
            <p:ph sz="half" idx="1" hasCustomPrompt="1"/>
          </p:nvPr>
        </p:nvSpPr>
        <p:spPr>
          <a:xfrm>
            <a:off x="442913" y="2103438"/>
            <a:ext cx="5317807"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2" name="Title 1"/>
          <p:cNvSpPr>
            <a:spLocks noGrp="1"/>
          </p:cNvSpPr>
          <p:nvPr>
            <p:ph type="title" hasCustomPrompt="1"/>
          </p:nvPr>
        </p:nvSpPr>
        <p:spPr>
          <a:xfrm>
            <a:off x="442914" y="430514"/>
            <a:ext cx="5317806" cy="502920"/>
          </a:xfrm>
        </p:spPr>
        <p:txBody>
          <a:bodyPr/>
          <a:lstStyle>
            <a:lvl1pPr>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F064736F-99D3-5349-B4BB-3F5BE96B5885}"/>
              </a:ext>
            </a:extLst>
          </p:cNvPr>
          <p:cNvSpPr>
            <a:spLocks noGrp="1"/>
          </p:cNvSpPr>
          <p:nvPr>
            <p:ph type="sldNum" sz="quarter" idx="18"/>
          </p:nvPr>
        </p:nvSpPr>
        <p:spPr bwMode="gray"/>
        <p:txBody>
          <a:bodyPr/>
          <a:lstStyle>
            <a:lvl1pPr>
              <a:defRPr>
                <a:solidFill>
                  <a:schemeClr val="bg1"/>
                </a:solidFill>
              </a:defRPr>
            </a:lvl1pPr>
          </a:lstStyle>
          <a:p>
            <a:fld id="{7870704B-CE94-48CC-AF30-84932A1262A7}" type="slidenum">
              <a:rPr lang="en-GB" smtClean="0"/>
              <a:pPr/>
              <a:t>‹#›</a:t>
            </a:fld>
            <a:endParaRPr lang="en-GB" dirty="0"/>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912" y="933433"/>
            <a:ext cx="5317808"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dirty="0"/>
              <a:t>[Optional slide subtitle]</a:t>
            </a:r>
          </a:p>
        </p:txBody>
      </p:sp>
      <p:sp>
        <p:nvSpPr>
          <p:cNvPr id="2" name="Date Placeholder 1">
            <a:extLst>
              <a:ext uri="{FF2B5EF4-FFF2-40B4-BE49-F238E27FC236}">
                <a16:creationId xmlns:a16="http://schemas.microsoft.com/office/drawing/2014/main" id="{CAF02CD0-5DDD-1F41-AEB4-55BDD643AC82}"/>
              </a:ext>
            </a:extLst>
          </p:cNvPr>
          <p:cNvSpPr>
            <a:spLocks noGrp="1"/>
          </p:cNvSpPr>
          <p:nvPr>
            <p:ph type="dt" sz="half" idx="19"/>
          </p:nvPr>
        </p:nvSpPr>
        <p:spPr/>
        <p:txBody>
          <a:bodyPr/>
          <a:lstStyle>
            <a:lvl1pPr>
              <a:defRPr>
                <a:solidFill>
                  <a:schemeClr val="bg1"/>
                </a:solidFill>
              </a:defRPr>
            </a:lvl1pPr>
          </a:lstStyle>
          <a:p>
            <a:r>
              <a:rPr lang="en-IN"/>
              <a:t>April 2023 </a:t>
            </a:r>
            <a:endParaRPr lang="en-US" dirty="0"/>
          </a:p>
        </p:txBody>
      </p:sp>
    </p:spTree>
    <p:extLst>
      <p:ext uri="{BB962C8B-B14F-4D97-AF65-F5344CB8AC3E}">
        <p14:creationId xmlns:p14="http://schemas.microsoft.com/office/powerpoint/2010/main" val="15561112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9"/>
            <a:ext cx="3529012"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Content Placeholder 3"/>
          <p:cNvSpPr>
            <a:spLocks noGrp="1"/>
          </p:cNvSpPr>
          <p:nvPr>
            <p:ph sz="half" idx="2" hasCustomPrompt="1"/>
          </p:nvPr>
        </p:nvSpPr>
        <p:spPr>
          <a:xfrm>
            <a:off x="4332288" y="2103439"/>
            <a:ext cx="3529012"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2" name="Content Placeholder 3"/>
          <p:cNvSpPr>
            <a:spLocks noGrp="1"/>
          </p:cNvSpPr>
          <p:nvPr>
            <p:ph sz="half" idx="13" hasCustomPrompt="1"/>
          </p:nvPr>
        </p:nvSpPr>
        <p:spPr>
          <a:xfrm>
            <a:off x="8220076" y="2103439"/>
            <a:ext cx="3529012"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5" name="Title 1"/>
          <p:cNvSpPr>
            <a:spLocks noGrp="1"/>
          </p:cNvSpPr>
          <p:nvPr>
            <p:ph type="title" hasCustomPrompt="1"/>
          </p:nvPr>
        </p:nvSpPr>
        <p:spPr>
          <a:xfrm>
            <a:off x="442913" y="430514"/>
            <a:ext cx="11306175" cy="502920"/>
          </a:xfrm>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C8D01178-C346-1B4F-8DFA-F5B5E0660B1A}"/>
              </a:ext>
            </a:extLst>
          </p:cNvPr>
          <p:cNvSpPr>
            <a:spLocks noGrp="1"/>
          </p:cNvSpPr>
          <p:nvPr>
            <p:ph type="sldNum" sz="quarter" idx="18"/>
          </p:nvPr>
        </p:nvSpPr>
        <p:spPr/>
        <p:txBody>
          <a:bodyPr/>
          <a:lstStyle/>
          <a:p>
            <a:fld id="{7870704B-CE94-48CC-AF30-84932A1262A7}" type="slidenum">
              <a:rPr lang="en-GB" smtClean="0"/>
              <a:pPr/>
              <a:t>‹#›</a:t>
            </a:fld>
            <a:endParaRPr lang="en-GB" dirty="0"/>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dirty="0"/>
              <a:t>[Optional slide subtitle]</a:t>
            </a:r>
          </a:p>
        </p:txBody>
      </p:sp>
      <p:sp>
        <p:nvSpPr>
          <p:cNvPr id="2" name="Date Placeholder 1">
            <a:extLst>
              <a:ext uri="{FF2B5EF4-FFF2-40B4-BE49-F238E27FC236}">
                <a16:creationId xmlns:a16="http://schemas.microsoft.com/office/drawing/2014/main" id="{CF957D98-A9BD-6147-8C17-F6034346BCFA}"/>
              </a:ext>
            </a:extLst>
          </p:cNvPr>
          <p:cNvSpPr>
            <a:spLocks noGrp="1"/>
          </p:cNvSpPr>
          <p:nvPr>
            <p:ph type="dt" sz="half" idx="19"/>
          </p:nvPr>
        </p:nvSpPr>
        <p:spPr/>
        <p:txBody>
          <a:bodyPr/>
          <a:lstStyle/>
          <a:p>
            <a:r>
              <a:rPr lang="en-IN"/>
              <a:t>April 2023 </a:t>
            </a:r>
            <a:endParaRPr lang="en-US" dirty="0"/>
          </a:p>
        </p:txBody>
      </p:sp>
    </p:spTree>
    <p:extLst>
      <p:ext uri="{BB962C8B-B14F-4D97-AF65-F5344CB8AC3E}">
        <p14:creationId xmlns:p14="http://schemas.microsoft.com/office/powerpoint/2010/main" val="5528560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4" name="Content Placeholder 3"/>
          <p:cNvSpPr>
            <a:spLocks noGrp="1"/>
          </p:cNvSpPr>
          <p:nvPr>
            <p:ph sz="half" idx="2" hasCustomPrompt="1"/>
          </p:nvPr>
        </p:nvSpPr>
        <p:spPr>
          <a:xfrm>
            <a:off x="3360613" y="2103438"/>
            <a:ext cx="2556000"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6" name="Content Placeholder 3"/>
          <p:cNvSpPr>
            <a:spLocks noGrp="1"/>
          </p:cNvSpPr>
          <p:nvPr>
            <p:ph sz="half" idx="13" hasCustomPrompt="1"/>
          </p:nvPr>
        </p:nvSpPr>
        <p:spPr>
          <a:xfrm>
            <a:off x="6275388" y="2103438"/>
            <a:ext cx="2556000"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7" name="Content Placeholder 3"/>
          <p:cNvSpPr>
            <a:spLocks noGrp="1"/>
          </p:cNvSpPr>
          <p:nvPr>
            <p:ph sz="half" idx="14" hasCustomPrompt="1"/>
          </p:nvPr>
        </p:nvSpPr>
        <p:spPr>
          <a:xfrm>
            <a:off x="9190163" y="2103438"/>
            <a:ext cx="2556000"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dirty="0"/>
              <a:t>[Slide title]</a:t>
            </a:r>
            <a:endParaRPr lang="en-GB" dirty="0"/>
          </a:p>
        </p:txBody>
      </p:sp>
      <p:sp>
        <p:nvSpPr>
          <p:cNvPr id="9" name="Slide Number Placeholder 8">
            <a:extLst>
              <a:ext uri="{FF2B5EF4-FFF2-40B4-BE49-F238E27FC236}">
                <a16:creationId xmlns:a16="http://schemas.microsoft.com/office/drawing/2014/main" id="{0FAD9719-920C-B64C-90D2-E337E9E7C112}"/>
              </a:ext>
            </a:extLst>
          </p:cNvPr>
          <p:cNvSpPr>
            <a:spLocks noGrp="1"/>
          </p:cNvSpPr>
          <p:nvPr>
            <p:ph type="sldNum" sz="quarter" idx="19"/>
          </p:nvPr>
        </p:nvSpPr>
        <p:spPr/>
        <p:txBody>
          <a:bodyPr/>
          <a:lstStyle/>
          <a:p>
            <a:fld id="{7870704B-CE94-48CC-AF30-84932A1262A7}" type="slidenum">
              <a:rPr lang="en-GB" smtClean="0"/>
              <a:pPr/>
              <a:t>‹#›</a:t>
            </a:fld>
            <a:endParaRPr lang="en-GB" dirty="0"/>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dirty="0"/>
              <a:t>[Optional slide subtitle]</a:t>
            </a:r>
          </a:p>
        </p:txBody>
      </p:sp>
      <p:sp>
        <p:nvSpPr>
          <p:cNvPr id="2" name="Date Placeholder 1">
            <a:extLst>
              <a:ext uri="{FF2B5EF4-FFF2-40B4-BE49-F238E27FC236}">
                <a16:creationId xmlns:a16="http://schemas.microsoft.com/office/drawing/2014/main" id="{9B41EFB3-11D6-AA4B-8128-47D7D7AFAE91}"/>
              </a:ext>
            </a:extLst>
          </p:cNvPr>
          <p:cNvSpPr>
            <a:spLocks noGrp="1"/>
          </p:cNvSpPr>
          <p:nvPr>
            <p:ph type="dt" sz="half" idx="20"/>
          </p:nvPr>
        </p:nvSpPr>
        <p:spPr/>
        <p:txBody>
          <a:bodyPr/>
          <a:lstStyle/>
          <a:p>
            <a:r>
              <a:rPr lang="en-IN"/>
              <a:t>April 2023 </a:t>
            </a:r>
            <a:endParaRPr lang="en-US" dirty="0"/>
          </a:p>
        </p:txBody>
      </p:sp>
    </p:spTree>
    <p:extLst>
      <p:ext uri="{BB962C8B-B14F-4D97-AF65-F5344CB8AC3E}">
        <p14:creationId xmlns:p14="http://schemas.microsoft.com/office/powerpoint/2010/main" val="25434793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Content Placeholder 3"/>
          <p:cNvSpPr>
            <a:spLocks noGrp="1"/>
          </p:cNvSpPr>
          <p:nvPr>
            <p:ph sz="half" idx="2"/>
          </p:nvPr>
        </p:nvSpPr>
        <p:spPr>
          <a:xfrm>
            <a:off x="2777045" y="2103438"/>
            <a:ext cx="1972800" cy="40687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Content Placeholder 3"/>
          <p:cNvSpPr>
            <a:spLocks noGrp="1"/>
          </p:cNvSpPr>
          <p:nvPr>
            <p:ph sz="half" idx="13"/>
          </p:nvPr>
        </p:nvSpPr>
        <p:spPr>
          <a:xfrm>
            <a:off x="5111177" y="2103438"/>
            <a:ext cx="1972800" cy="40687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Content Placeholder 3"/>
          <p:cNvSpPr>
            <a:spLocks noGrp="1"/>
          </p:cNvSpPr>
          <p:nvPr>
            <p:ph sz="half" idx="14"/>
          </p:nvPr>
        </p:nvSpPr>
        <p:spPr>
          <a:xfrm>
            <a:off x="7445309" y="2103438"/>
            <a:ext cx="1972800" cy="40687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Content Placeholder 3"/>
          <p:cNvSpPr>
            <a:spLocks noGrp="1"/>
          </p:cNvSpPr>
          <p:nvPr>
            <p:ph sz="half" idx="15"/>
          </p:nvPr>
        </p:nvSpPr>
        <p:spPr>
          <a:xfrm>
            <a:off x="9779443" y="2103438"/>
            <a:ext cx="1972800" cy="40687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1" name="Title 1"/>
          <p:cNvSpPr>
            <a:spLocks noGrp="1"/>
          </p:cNvSpPr>
          <p:nvPr>
            <p:ph type="title" hasCustomPrompt="1"/>
          </p:nvPr>
        </p:nvSpPr>
        <p:spPr>
          <a:xfrm>
            <a:off x="442913" y="430514"/>
            <a:ext cx="11306175" cy="502920"/>
          </a:xfrm>
        </p:spPr>
        <p:txBody>
          <a:bodyPr/>
          <a:lstStyle>
            <a:lvl1pPr>
              <a:defRPr/>
            </a:lvl1pPr>
          </a:lstStyle>
          <a:p>
            <a:r>
              <a:rPr lang="en-US" dirty="0"/>
              <a:t>[Slide title]</a:t>
            </a:r>
            <a:endParaRPr lang="en-GB" dirty="0"/>
          </a:p>
        </p:txBody>
      </p:sp>
      <p:sp>
        <p:nvSpPr>
          <p:cNvPr id="10" name="Slide Number Placeholder 9">
            <a:extLst>
              <a:ext uri="{FF2B5EF4-FFF2-40B4-BE49-F238E27FC236}">
                <a16:creationId xmlns:a16="http://schemas.microsoft.com/office/drawing/2014/main" id="{4B2DB5C5-A275-6447-991C-726CD70A52A9}"/>
              </a:ext>
            </a:extLst>
          </p:cNvPr>
          <p:cNvSpPr>
            <a:spLocks noGrp="1"/>
          </p:cNvSpPr>
          <p:nvPr>
            <p:ph type="sldNum" sz="quarter" idx="20"/>
          </p:nvPr>
        </p:nvSpPr>
        <p:spPr/>
        <p:txBody>
          <a:bodyPr/>
          <a:lstStyle/>
          <a:p>
            <a:fld id="{7870704B-CE94-48CC-AF30-84932A1262A7}" type="slidenum">
              <a:rPr lang="en-GB" smtClean="0"/>
              <a:pPr/>
              <a:t>‹#›</a:t>
            </a:fld>
            <a:endParaRPr lang="en-GB" dirty="0"/>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dirty="0"/>
              <a:t>[Optional slide subtitle]</a:t>
            </a:r>
          </a:p>
        </p:txBody>
      </p:sp>
      <p:sp>
        <p:nvSpPr>
          <p:cNvPr id="2" name="Date Placeholder 1">
            <a:extLst>
              <a:ext uri="{FF2B5EF4-FFF2-40B4-BE49-F238E27FC236}">
                <a16:creationId xmlns:a16="http://schemas.microsoft.com/office/drawing/2014/main" id="{9A06189D-4BB2-3A4B-BC60-C76CE65FA0CC}"/>
              </a:ext>
            </a:extLst>
          </p:cNvPr>
          <p:cNvSpPr>
            <a:spLocks noGrp="1"/>
          </p:cNvSpPr>
          <p:nvPr>
            <p:ph type="dt" sz="half" idx="21"/>
          </p:nvPr>
        </p:nvSpPr>
        <p:spPr/>
        <p:txBody>
          <a:bodyPr/>
          <a:lstStyle/>
          <a:p>
            <a:r>
              <a:rPr lang="en-IN"/>
              <a:t>April 2023 </a:t>
            </a:r>
            <a:endParaRPr lang="en-US" dirty="0"/>
          </a:p>
        </p:txBody>
      </p:sp>
    </p:spTree>
    <p:extLst>
      <p:ext uri="{BB962C8B-B14F-4D97-AF65-F5344CB8AC3E}">
        <p14:creationId xmlns:p14="http://schemas.microsoft.com/office/powerpoint/2010/main" val="31298170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GB" dirty="0"/>
              <a:t>Click icon to add picture</a:t>
            </a:r>
          </a:p>
        </p:txBody>
      </p:sp>
      <p:sp>
        <p:nvSpPr>
          <p:cNvPr id="13" name="Text Placeholder 12"/>
          <p:cNvSpPr>
            <a:spLocks noGrp="1"/>
          </p:cNvSpPr>
          <p:nvPr>
            <p:ph type="body" sz="quarter" idx="14" hasCustomPrompt="1"/>
          </p:nvPr>
        </p:nvSpPr>
        <p:spPr>
          <a:xfrm>
            <a:off x="442913"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GB" dirty="0"/>
              <a:t>Click icon to add picture</a:t>
            </a:r>
          </a:p>
        </p:txBody>
      </p:sp>
      <p:sp>
        <p:nvSpPr>
          <p:cNvPr id="17" name="Text Placeholder 12"/>
          <p:cNvSpPr>
            <a:spLocks noGrp="1"/>
          </p:cNvSpPr>
          <p:nvPr>
            <p:ph type="body" sz="quarter" idx="16" hasCustomPrompt="1"/>
          </p:nvPr>
        </p:nvSpPr>
        <p:spPr>
          <a:xfrm>
            <a:off x="4331495"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GB" dirty="0"/>
              <a:t>Click icon to add picture</a:t>
            </a:r>
          </a:p>
        </p:txBody>
      </p:sp>
      <p:sp>
        <p:nvSpPr>
          <p:cNvPr id="19" name="Text Placeholder 12"/>
          <p:cNvSpPr>
            <a:spLocks noGrp="1"/>
          </p:cNvSpPr>
          <p:nvPr>
            <p:ph type="body" sz="quarter" idx="18" hasCustomPrompt="1"/>
          </p:nvPr>
        </p:nvSpPr>
        <p:spPr>
          <a:xfrm>
            <a:off x="8220076"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p:txBody>
      </p:sp>
      <p:sp>
        <p:nvSpPr>
          <p:cNvPr id="14" name="Title 1"/>
          <p:cNvSpPr>
            <a:spLocks noGrp="1"/>
          </p:cNvSpPr>
          <p:nvPr>
            <p:ph type="title" hasCustomPrompt="1"/>
          </p:nvPr>
        </p:nvSpPr>
        <p:spPr>
          <a:xfrm>
            <a:off x="442913" y="430514"/>
            <a:ext cx="11306175" cy="502920"/>
          </a:xfrm>
        </p:spPr>
        <p:txBody>
          <a:bodyPr/>
          <a:lstStyle>
            <a:lvl1pPr>
              <a:defRPr/>
            </a:lvl1pPr>
          </a:lstStyle>
          <a:p>
            <a:r>
              <a:rPr lang="en-US" dirty="0"/>
              <a:t>[Slide title]</a:t>
            </a:r>
            <a:endParaRPr lang="en-GB" dirty="0"/>
          </a:p>
        </p:txBody>
      </p:sp>
      <p:sp>
        <p:nvSpPr>
          <p:cNvPr id="4" name="Slide Number Placeholder 3">
            <a:extLst>
              <a:ext uri="{FF2B5EF4-FFF2-40B4-BE49-F238E27FC236}">
                <a16:creationId xmlns:a16="http://schemas.microsoft.com/office/drawing/2014/main" id="{ECB03D1A-AA63-224E-A7F2-44C5BFC3BB18}"/>
              </a:ext>
            </a:extLst>
          </p:cNvPr>
          <p:cNvSpPr>
            <a:spLocks noGrp="1"/>
          </p:cNvSpPr>
          <p:nvPr>
            <p:ph type="sldNum" sz="quarter" idx="23"/>
          </p:nvPr>
        </p:nvSpPr>
        <p:spPr/>
        <p:txBody>
          <a:bodyPr/>
          <a:lstStyle/>
          <a:p>
            <a:fld id="{7870704B-CE94-48CC-AF30-84932A1262A7}" type="slidenum">
              <a:rPr lang="en-GB" smtClean="0"/>
              <a:pPr/>
              <a:t>‹#›</a:t>
            </a:fld>
            <a:endParaRPr lang="en-GB" dirty="0"/>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dirty="0"/>
              <a:t>[Optional slide subtitle]</a:t>
            </a:r>
          </a:p>
        </p:txBody>
      </p:sp>
      <p:sp>
        <p:nvSpPr>
          <p:cNvPr id="2" name="Date Placeholder 1">
            <a:extLst>
              <a:ext uri="{FF2B5EF4-FFF2-40B4-BE49-F238E27FC236}">
                <a16:creationId xmlns:a16="http://schemas.microsoft.com/office/drawing/2014/main" id="{689EEA72-3A8E-454B-8611-EF7B92A8D01E}"/>
              </a:ext>
            </a:extLst>
          </p:cNvPr>
          <p:cNvSpPr>
            <a:spLocks noGrp="1"/>
          </p:cNvSpPr>
          <p:nvPr>
            <p:ph type="dt" sz="half" idx="25"/>
          </p:nvPr>
        </p:nvSpPr>
        <p:spPr/>
        <p:txBody>
          <a:bodyPr/>
          <a:lstStyle/>
          <a:p>
            <a:r>
              <a:rPr lang="en-IN"/>
              <a:t>April 2023 </a:t>
            </a:r>
            <a:endParaRPr lang="en-US" dirty="0"/>
          </a:p>
        </p:txBody>
      </p:sp>
    </p:spTree>
    <p:extLst>
      <p:ext uri="{BB962C8B-B14F-4D97-AF65-F5344CB8AC3E}">
        <p14:creationId xmlns:p14="http://schemas.microsoft.com/office/powerpoint/2010/main" val="11274660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7" name="Text Placeholder 12"/>
          <p:cNvSpPr>
            <a:spLocks noGrp="1"/>
          </p:cNvSpPr>
          <p:nvPr>
            <p:ph type="body" sz="quarter" idx="16" hasCustomPrompt="1"/>
          </p:nvPr>
        </p:nvSpPr>
        <p:spPr>
          <a:xfrm>
            <a:off x="335819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9" name="Text Placeholder 12"/>
          <p:cNvSpPr>
            <a:spLocks noGrp="1"/>
          </p:cNvSpPr>
          <p:nvPr>
            <p:ph type="body" sz="quarter" idx="18" hasCustomPrompt="1"/>
          </p:nvPr>
        </p:nvSpPr>
        <p:spPr>
          <a:xfrm>
            <a:off x="627348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5" name="Text Placeholder 12"/>
          <p:cNvSpPr>
            <a:spLocks noGrp="1"/>
          </p:cNvSpPr>
          <p:nvPr>
            <p:ph type="body" sz="quarter" idx="20" hasCustomPrompt="1"/>
          </p:nvPr>
        </p:nvSpPr>
        <p:spPr>
          <a:xfrm>
            <a:off x="9188767"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4" name="Title 1"/>
          <p:cNvSpPr>
            <a:spLocks noGrp="1"/>
          </p:cNvSpPr>
          <p:nvPr>
            <p:ph type="title" hasCustomPrompt="1"/>
          </p:nvPr>
        </p:nvSpPr>
        <p:spPr>
          <a:xfrm>
            <a:off x="442913" y="430514"/>
            <a:ext cx="11306175" cy="502920"/>
          </a:xfrm>
        </p:spPr>
        <p:txBody>
          <a:bodyPr/>
          <a:lstStyle>
            <a:lvl1pPr>
              <a:defRPr/>
            </a:lvl1pPr>
          </a:lstStyle>
          <a:p>
            <a:r>
              <a:rPr lang="en-US" dirty="0"/>
              <a:t>[Slide title]</a:t>
            </a:r>
            <a:endParaRPr lang="en-GB" dirty="0"/>
          </a:p>
        </p:txBody>
      </p:sp>
      <p:sp>
        <p:nvSpPr>
          <p:cNvPr id="4" name="Slide Number Placeholder 3">
            <a:extLst>
              <a:ext uri="{FF2B5EF4-FFF2-40B4-BE49-F238E27FC236}">
                <a16:creationId xmlns:a16="http://schemas.microsoft.com/office/drawing/2014/main" id="{B53B37F2-903B-D544-93F5-C52542E06C38}"/>
              </a:ext>
            </a:extLst>
          </p:cNvPr>
          <p:cNvSpPr>
            <a:spLocks noGrp="1"/>
          </p:cNvSpPr>
          <p:nvPr>
            <p:ph type="sldNum" sz="quarter" idx="22"/>
          </p:nvPr>
        </p:nvSpPr>
        <p:spPr/>
        <p:txBody>
          <a:bodyPr/>
          <a:lstStyle/>
          <a:p>
            <a:fld id="{7870704B-CE94-48CC-AF30-84932A1262A7}" type="slidenum">
              <a:rPr lang="en-GB" smtClean="0"/>
              <a:pPr/>
              <a:t>‹#›</a:t>
            </a:fld>
            <a:endParaRPr lang="en-GB" dirty="0"/>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dirty="0"/>
              <a:t>[Optional slide subtitle]</a:t>
            </a:r>
          </a:p>
        </p:txBody>
      </p:sp>
      <p:sp>
        <p:nvSpPr>
          <p:cNvPr id="2" name="Date Placeholder 1">
            <a:extLst>
              <a:ext uri="{FF2B5EF4-FFF2-40B4-BE49-F238E27FC236}">
                <a16:creationId xmlns:a16="http://schemas.microsoft.com/office/drawing/2014/main" id="{0460D960-D902-2048-954B-F454F3A9AB3B}"/>
              </a:ext>
            </a:extLst>
          </p:cNvPr>
          <p:cNvSpPr>
            <a:spLocks noGrp="1"/>
          </p:cNvSpPr>
          <p:nvPr>
            <p:ph type="dt" sz="half" idx="24"/>
          </p:nvPr>
        </p:nvSpPr>
        <p:spPr/>
        <p:txBody>
          <a:bodyPr/>
          <a:lstStyle/>
          <a:p>
            <a:r>
              <a:rPr lang="en-IN"/>
              <a:t>April 2023 </a:t>
            </a:r>
            <a:endParaRPr lang="en-US" dirty="0"/>
          </a:p>
        </p:txBody>
      </p:sp>
    </p:spTree>
    <p:extLst>
      <p:ext uri="{BB962C8B-B14F-4D97-AF65-F5344CB8AC3E}">
        <p14:creationId xmlns:p14="http://schemas.microsoft.com/office/powerpoint/2010/main" val="7269704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2" y="2103438"/>
            <a:ext cx="1325880" cy="1325880"/>
          </a:xfrm>
          <a:solidFill>
            <a:srgbClr val="DEDEDE"/>
          </a:solidFill>
        </p:spPr>
        <p:txBody>
          <a:bodyPr anchor="ctr" anchorCtr="0"/>
          <a:lstStyle>
            <a:lvl1pPr algn="ctr">
              <a:defRPr sz="1200" b="0">
                <a:solidFill>
                  <a:schemeClr val="tx1"/>
                </a:solidFill>
              </a:defRPr>
            </a:lvl1pPr>
          </a:lstStyle>
          <a:p>
            <a:r>
              <a:rPr lang="en-GB" dirty="0"/>
              <a:t>Click icon to add picture</a:t>
            </a:r>
          </a:p>
        </p:txBody>
      </p:sp>
      <p:sp>
        <p:nvSpPr>
          <p:cNvPr id="13" name="Text Placeholder 12"/>
          <p:cNvSpPr>
            <a:spLocks noGrp="1"/>
          </p:cNvSpPr>
          <p:nvPr>
            <p:ph type="body" sz="quarter" idx="14" hasCustomPrompt="1"/>
          </p:nvPr>
        </p:nvSpPr>
        <p:spPr>
          <a:xfrm>
            <a:off x="44291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6" name="Picture Placeholder 9"/>
          <p:cNvSpPr>
            <a:spLocks noGrp="1" noChangeAspect="1"/>
          </p:cNvSpPr>
          <p:nvPr>
            <p:ph type="pic" sz="quarter" idx="15"/>
          </p:nvPr>
        </p:nvSpPr>
        <p:spPr>
          <a:xfrm>
            <a:off x="3358197" y="2103438"/>
            <a:ext cx="1325880" cy="1325880"/>
          </a:xfrm>
          <a:solidFill>
            <a:srgbClr val="DEDEDE"/>
          </a:solidFill>
        </p:spPr>
        <p:txBody>
          <a:bodyPr anchor="ctr" anchorCtr="0"/>
          <a:lstStyle>
            <a:lvl1pPr algn="ctr">
              <a:defRPr sz="1200" b="0">
                <a:solidFill>
                  <a:schemeClr val="tx1"/>
                </a:solidFill>
              </a:defRPr>
            </a:lvl1pPr>
          </a:lstStyle>
          <a:p>
            <a:r>
              <a:rPr lang="en-GB" dirty="0"/>
              <a:t>Click icon to add picture</a:t>
            </a:r>
          </a:p>
        </p:txBody>
      </p:sp>
      <p:sp>
        <p:nvSpPr>
          <p:cNvPr id="17" name="Text Placeholder 12"/>
          <p:cNvSpPr>
            <a:spLocks noGrp="1"/>
          </p:cNvSpPr>
          <p:nvPr>
            <p:ph type="body" sz="quarter" idx="16" hasCustomPrompt="1"/>
          </p:nvPr>
        </p:nvSpPr>
        <p:spPr>
          <a:xfrm>
            <a:off x="3358197"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8" name="Picture Placeholder 9"/>
          <p:cNvSpPr>
            <a:spLocks noGrp="1" noChangeAspect="1"/>
          </p:cNvSpPr>
          <p:nvPr>
            <p:ph type="pic" sz="quarter" idx="17"/>
          </p:nvPr>
        </p:nvSpPr>
        <p:spPr>
          <a:xfrm>
            <a:off x="6273482" y="2103438"/>
            <a:ext cx="1325880" cy="1325880"/>
          </a:xfrm>
          <a:solidFill>
            <a:srgbClr val="DEDEDE"/>
          </a:solidFill>
        </p:spPr>
        <p:txBody>
          <a:bodyPr anchor="ctr" anchorCtr="0"/>
          <a:lstStyle>
            <a:lvl1pPr algn="ctr">
              <a:defRPr sz="1200" b="0">
                <a:solidFill>
                  <a:schemeClr val="tx1"/>
                </a:solidFill>
              </a:defRPr>
            </a:lvl1pPr>
          </a:lstStyle>
          <a:p>
            <a:r>
              <a:rPr lang="en-GB" dirty="0"/>
              <a:t>Click icon to add picture</a:t>
            </a:r>
          </a:p>
        </p:txBody>
      </p:sp>
      <p:sp>
        <p:nvSpPr>
          <p:cNvPr id="19" name="Text Placeholder 12"/>
          <p:cNvSpPr>
            <a:spLocks noGrp="1"/>
          </p:cNvSpPr>
          <p:nvPr>
            <p:ph type="body" sz="quarter" idx="18" hasCustomPrompt="1"/>
          </p:nvPr>
        </p:nvSpPr>
        <p:spPr>
          <a:xfrm>
            <a:off x="627348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4" name="Picture Placeholder 9"/>
          <p:cNvSpPr>
            <a:spLocks noGrp="1" noChangeAspect="1"/>
          </p:cNvSpPr>
          <p:nvPr>
            <p:ph type="pic" sz="quarter" idx="19"/>
          </p:nvPr>
        </p:nvSpPr>
        <p:spPr>
          <a:xfrm>
            <a:off x="9188767" y="2103438"/>
            <a:ext cx="1325880" cy="1325880"/>
          </a:xfrm>
          <a:solidFill>
            <a:srgbClr val="DEDEDE"/>
          </a:solidFill>
        </p:spPr>
        <p:txBody>
          <a:bodyPr anchor="ctr" anchorCtr="0"/>
          <a:lstStyle>
            <a:lvl1pPr algn="ctr">
              <a:defRPr sz="1200" b="0">
                <a:solidFill>
                  <a:schemeClr val="tx1"/>
                </a:solidFill>
              </a:defRPr>
            </a:lvl1pPr>
          </a:lstStyle>
          <a:p>
            <a:r>
              <a:rPr lang="en-GB" dirty="0"/>
              <a:t>Click icon to add picture</a:t>
            </a:r>
          </a:p>
        </p:txBody>
      </p:sp>
      <p:sp>
        <p:nvSpPr>
          <p:cNvPr id="15" name="Text Placeholder 12"/>
          <p:cNvSpPr>
            <a:spLocks noGrp="1"/>
          </p:cNvSpPr>
          <p:nvPr>
            <p:ph type="body" sz="quarter" idx="20" hasCustomPrompt="1"/>
          </p:nvPr>
        </p:nvSpPr>
        <p:spPr>
          <a:xfrm>
            <a:off x="9188767"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1" name="Title 1"/>
          <p:cNvSpPr>
            <a:spLocks noGrp="1"/>
          </p:cNvSpPr>
          <p:nvPr>
            <p:ph type="title" hasCustomPrompt="1"/>
          </p:nvPr>
        </p:nvSpPr>
        <p:spPr>
          <a:xfrm>
            <a:off x="442913" y="430514"/>
            <a:ext cx="11306175" cy="502920"/>
          </a:xfrm>
        </p:spPr>
        <p:txBody>
          <a:bodyPr/>
          <a:lstStyle>
            <a:lvl1pPr>
              <a:defRPr/>
            </a:lvl1pPr>
          </a:lstStyle>
          <a:p>
            <a:r>
              <a:rPr lang="en-US" dirty="0"/>
              <a:t>[Slide title]</a:t>
            </a:r>
            <a:endParaRPr lang="en-GB" dirty="0"/>
          </a:p>
        </p:txBody>
      </p:sp>
      <p:sp>
        <p:nvSpPr>
          <p:cNvPr id="4" name="Slide Number Placeholder 3">
            <a:extLst>
              <a:ext uri="{FF2B5EF4-FFF2-40B4-BE49-F238E27FC236}">
                <a16:creationId xmlns:a16="http://schemas.microsoft.com/office/drawing/2014/main" id="{FE0022E1-5A19-8748-8180-279AACB6BB63}"/>
              </a:ext>
            </a:extLst>
          </p:cNvPr>
          <p:cNvSpPr>
            <a:spLocks noGrp="1"/>
          </p:cNvSpPr>
          <p:nvPr>
            <p:ph type="sldNum" sz="quarter" idx="25"/>
          </p:nvPr>
        </p:nvSpPr>
        <p:spPr/>
        <p:txBody>
          <a:bodyPr/>
          <a:lstStyle/>
          <a:p>
            <a:fld id="{7870704B-CE94-48CC-AF30-84932A1262A7}" type="slidenum">
              <a:rPr lang="en-GB" smtClean="0"/>
              <a:pPr/>
              <a:t>‹#›</a:t>
            </a:fld>
            <a:endParaRPr lang="en-GB" dirty="0"/>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dirty="0"/>
              <a:t>[Optional slide subtitle]</a:t>
            </a:r>
          </a:p>
        </p:txBody>
      </p:sp>
      <p:sp>
        <p:nvSpPr>
          <p:cNvPr id="2" name="Date Placeholder 1">
            <a:extLst>
              <a:ext uri="{FF2B5EF4-FFF2-40B4-BE49-F238E27FC236}">
                <a16:creationId xmlns:a16="http://schemas.microsoft.com/office/drawing/2014/main" id="{0CB65038-8636-4945-8B6F-709A62BEACF1}"/>
              </a:ext>
            </a:extLst>
          </p:cNvPr>
          <p:cNvSpPr>
            <a:spLocks noGrp="1"/>
          </p:cNvSpPr>
          <p:nvPr>
            <p:ph type="dt" sz="half" idx="27"/>
          </p:nvPr>
        </p:nvSpPr>
        <p:spPr/>
        <p:txBody>
          <a:bodyPr/>
          <a:lstStyle/>
          <a:p>
            <a:r>
              <a:rPr lang="en-IN"/>
              <a:t>April 2023 </a:t>
            </a:r>
            <a:endParaRPr lang="en-US" dirty="0"/>
          </a:p>
        </p:txBody>
      </p:sp>
    </p:spTree>
    <p:extLst>
      <p:ext uri="{BB962C8B-B14F-4D97-AF65-F5344CB8AC3E}">
        <p14:creationId xmlns:p14="http://schemas.microsoft.com/office/powerpoint/2010/main" val="15121429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1 Dark Grey">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0" name="Rectangle 9"/>
          <p:cNvSpPr/>
          <p:nvPr/>
        </p:nvSpPr>
        <p:spPr bwMode="hidden">
          <a:xfrm>
            <a:off x="0" y="3429000"/>
            <a:ext cx="8096250" cy="1143000"/>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solidFill>
                <a:schemeClr val="accent6"/>
              </a:solidFill>
            </a:endParaRPr>
          </a:p>
        </p:txBody>
      </p:sp>
      <p:sp>
        <p:nvSpPr>
          <p:cNvPr id="11" name="Rectangle 10"/>
          <p:cNvSpPr/>
          <p:nvPr/>
        </p:nvSpPr>
        <p:spPr bwMode="hidden">
          <a:xfrm>
            <a:off x="8096250" y="0"/>
            <a:ext cx="4095750" cy="3429000"/>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dirty="0"/>
              <a:t>[Presentation title]</a:t>
            </a:r>
            <a:endParaRPr lang="en-GB" dirty="0"/>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dirty="0"/>
              <a:t>[Presentation subtitle]</a:t>
            </a:r>
          </a:p>
        </p:txBody>
      </p:sp>
    </p:spTree>
    <p:extLst>
      <p:ext uri="{BB962C8B-B14F-4D97-AF65-F5344CB8AC3E}">
        <p14:creationId xmlns:p14="http://schemas.microsoft.com/office/powerpoint/2010/main" val="7269206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GB" dirty="0"/>
              <a:t>Click icon to add chart</a:t>
            </a:r>
          </a:p>
        </p:txBody>
      </p:sp>
      <p:sp>
        <p:nvSpPr>
          <p:cNvPr id="12" name="Title 1"/>
          <p:cNvSpPr>
            <a:spLocks noGrp="1"/>
          </p:cNvSpPr>
          <p:nvPr>
            <p:ph type="title" hasCustomPrompt="1"/>
          </p:nvPr>
        </p:nvSpPr>
        <p:spPr>
          <a:xfrm>
            <a:off x="442913" y="430514"/>
            <a:ext cx="11306175" cy="502920"/>
          </a:xfrm>
        </p:spPr>
        <p:txBody>
          <a:bodyPr/>
          <a:lstStyle>
            <a:lvl1pPr>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80C256F8-EAA0-F045-A569-920F86A13F1E}"/>
              </a:ext>
            </a:extLst>
          </p:cNvPr>
          <p:cNvSpPr>
            <a:spLocks noGrp="1"/>
          </p:cNvSpPr>
          <p:nvPr>
            <p:ph type="sldNum" sz="quarter" idx="18"/>
          </p:nvPr>
        </p:nvSpPr>
        <p:spPr/>
        <p:txBody>
          <a:bodyPr/>
          <a:lstStyle/>
          <a:p>
            <a:fld id="{7870704B-CE94-48CC-AF30-84932A1262A7}" type="slidenum">
              <a:rPr lang="en-GB" smtClean="0"/>
              <a:pPr/>
              <a:t>‹#›</a:t>
            </a:fld>
            <a:endParaRPr lang="en-GB" dirty="0"/>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dirty="0"/>
              <a:t>[Optional slide subtitle]</a:t>
            </a:r>
          </a:p>
        </p:txBody>
      </p:sp>
      <p:sp>
        <p:nvSpPr>
          <p:cNvPr id="2" name="Date Placeholder 1">
            <a:extLst>
              <a:ext uri="{FF2B5EF4-FFF2-40B4-BE49-F238E27FC236}">
                <a16:creationId xmlns:a16="http://schemas.microsoft.com/office/drawing/2014/main" id="{DF212C7E-F059-4B46-B4D7-79D6BA8599BE}"/>
              </a:ext>
            </a:extLst>
          </p:cNvPr>
          <p:cNvSpPr>
            <a:spLocks noGrp="1"/>
          </p:cNvSpPr>
          <p:nvPr>
            <p:ph type="dt" sz="half" idx="19"/>
          </p:nvPr>
        </p:nvSpPr>
        <p:spPr/>
        <p:txBody>
          <a:bodyPr/>
          <a:lstStyle/>
          <a:p>
            <a:r>
              <a:rPr lang="en-IN"/>
              <a:t>April 2023 </a:t>
            </a:r>
            <a:endParaRPr lang="en-US" dirty="0"/>
          </a:p>
        </p:txBody>
      </p:sp>
    </p:spTree>
    <p:extLst>
      <p:ext uri="{BB962C8B-B14F-4D97-AF65-F5344CB8AC3E}">
        <p14:creationId xmlns:p14="http://schemas.microsoft.com/office/powerpoint/2010/main" val="9113749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8" name="Rectangle 7"/>
          <p:cNvSpPr/>
          <p:nvPr/>
        </p:nvSpPr>
        <p:spPr bwMode="hidden">
          <a:xfrm>
            <a:off x="0" y="2103438"/>
            <a:ext cx="3971925" cy="4068762"/>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ext Placeholder 9"/>
          <p:cNvSpPr>
            <a:spLocks noGrp="1"/>
          </p:cNvSpPr>
          <p:nvPr>
            <p:ph type="body" sz="quarter" idx="14" hasCustomPrompt="1"/>
          </p:nvPr>
        </p:nvSpPr>
        <p:spPr>
          <a:xfrm>
            <a:off x="360370" y="2377440"/>
            <a:ext cx="3611880" cy="1737360"/>
          </a:xfrm>
        </p:spPr>
        <p:txBody>
          <a:bodyPr tIns="0" bIns="0" anchor="t" anchorCtr="0"/>
          <a:lstStyle>
            <a:lvl1pPr>
              <a:lnSpc>
                <a:spcPct val="80000"/>
              </a:lnSpc>
              <a:spcBef>
                <a:spcPts val="0"/>
              </a:spcBef>
              <a:spcAft>
                <a:spcPts val="0"/>
              </a:spcAft>
              <a:defRPr sz="13600" b="1" spc="-100" baseline="0">
                <a:solidFill>
                  <a:schemeClr val="bg1"/>
                </a:solidFill>
              </a:defRPr>
            </a:lvl1pPr>
          </a:lstStyle>
          <a:p>
            <a:pPr lvl="0"/>
            <a:r>
              <a:rPr lang="en-US" dirty="0"/>
              <a:t>00%</a:t>
            </a:r>
            <a:endParaRPr lang="en-GB" dirty="0"/>
          </a:p>
        </p:txBody>
      </p:sp>
      <p:sp>
        <p:nvSpPr>
          <p:cNvPr id="3" name="Content Placeholder 2"/>
          <p:cNvSpPr>
            <a:spLocks noGrp="1"/>
          </p:cNvSpPr>
          <p:nvPr>
            <p:ph idx="1" hasCustomPrompt="1"/>
          </p:nvPr>
        </p:nvSpPr>
        <p:spPr>
          <a:xfrm>
            <a:off x="442914" y="3931920"/>
            <a:ext cx="3328986" cy="2061784"/>
          </a:xfrm>
        </p:spPr>
        <p:txBody>
          <a:bodyPr/>
          <a:lstStyle>
            <a:lvl1pPr>
              <a:lnSpc>
                <a:spcPct val="100000"/>
              </a:lnSpc>
              <a:spcBef>
                <a:spcPts val="0"/>
              </a:spcBef>
              <a:spcAft>
                <a:spcPts val="0"/>
              </a:spcAft>
              <a:defRPr sz="1600" b="0">
                <a:solidFill>
                  <a:schemeClr val="bg1"/>
                </a:solidFill>
              </a:defRPr>
            </a:lvl1pPr>
            <a:lvl2pPr marL="182880" indent="-182880">
              <a:lnSpc>
                <a:spcPct val="100000"/>
              </a:lnSpc>
              <a:spcBef>
                <a:spcPts val="0"/>
              </a:spcBef>
              <a:spcAft>
                <a:spcPts val="0"/>
              </a:spcAft>
              <a:buFont typeface="Arial" panose="020B0604020202020204" pitchFamily="34" charset="0"/>
              <a:buChar char="•"/>
              <a:defRPr b="0">
                <a:solidFill>
                  <a:schemeClr val="bg1"/>
                </a:solidFill>
              </a:defRPr>
            </a:lvl2pPr>
            <a:lvl3pPr marL="365760" indent="-182880">
              <a:lnSpc>
                <a:spcPct val="100000"/>
              </a:lnSpc>
              <a:spcBef>
                <a:spcPts val="0"/>
              </a:spcBef>
              <a:spcAft>
                <a:spcPts val="0"/>
              </a:spcAft>
              <a:buFont typeface="Arial" panose="020B0604020202020204" pitchFamily="34" charset="0"/>
              <a:buChar char="–"/>
              <a:defRPr b="0">
                <a:solidFill>
                  <a:schemeClr val="bg1"/>
                </a:solidFill>
              </a:defRPr>
            </a:lvl3pPr>
            <a:lvl4pPr marL="548640" indent="-182880">
              <a:lnSpc>
                <a:spcPct val="100000"/>
              </a:lnSpc>
              <a:spcBef>
                <a:spcPts val="0"/>
              </a:spcBef>
              <a:spcAft>
                <a:spcPts val="0"/>
              </a:spcAft>
              <a:buFont typeface="Arial" panose="020B0604020202020204" pitchFamily="34" charset="0"/>
              <a:buChar char="•"/>
              <a:defRPr b="0">
                <a:solidFill>
                  <a:schemeClr val="bg1"/>
                </a:solidFill>
              </a:defRPr>
            </a:lvl4pPr>
            <a:lvl5pPr marL="731520" indent="-182880">
              <a:lnSpc>
                <a:spcPct val="100000"/>
              </a:lnSpc>
              <a:spcBef>
                <a:spcPts val="0"/>
              </a:spcBef>
              <a:spcAft>
                <a:spcPts val="0"/>
              </a:spcAft>
              <a:buFont typeface="Arial" panose="020B0604020202020204" pitchFamily="34" charset="0"/>
              <a:buChar char="–"/>
              <a:defRPr b="0">
                <a:solidFill>
                  <a:schemeClr val="bg1"/>
                </a:solidFill>
              </a:defRPr>
            </a:lvl5pPr>
            <a:lvl6pPr marL="914400" indent="-182880">
              <a:spcBef>
                <a:spcPts val="0"/>
              </a:spcBef>
              <a:buFont typeface="Arial" panose="020B0604020202020204" pitchFamily="34" charset="0"/>
              <a:buChar char="•"/>
              <a:defRPr>
                <a:solidFill>
                  <a:schemeClr val="bg1"/>
                </a:solidFill>
              </a:defRPr>
            </a:lvl6pPr>
            <a:lvl7pPr marL="1097280" indent="-182880">
              <a:spcBef>
                <a:spcPts val="0"/>
              </a:spcBef>
              <a:buFont typeface="Arial" panose="020B0604020202020204" pitchFamily="34" charset="0"/>
              <a:buChar char="–"/>
              <a:defRPr>
                <a:solidFill>
                  <a:schemeClr val="bg1"/>
                </a:solidFill>
              </a:defRPr>
            </a:lvl7pPr>
            <a:lvl8pPr marL="1280160" indent="-182880">
              <a:spcBef>
                <a:spcPts val="0"/>
              </a:spcBef>
              <a:buFont typeface="Arial" panose="020B0604020202020204" pitchFamily="34" charset="0"/>
              <a:buChar char="•"/>
              <a:defRPr>
                <a:solidFill>
                  <a:schemeClr val="bg1"/>
                </a:solidFill>
              </a:defRPr>
            </a:lvl8pPr>
            <a:lvl9pPr marL="1463040" indent="-182880">
              <a:spcBef>
                <a:spcPts val="0"/>
              </a:spcBef>
              <a:buFont typeface="Arial" panose="020B0604020202020204" pitchFamily="34" charset="0"/>
              <a:buChar cha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hart Placeholder 8"/>
          <p:cNvSpPr>
            <a:spLocks noGrp="1"/>
          </p:cNvSpPr>
          <p:nvPr>
            <p:ph type="chart" sz="quarter" idx="13"/>
          </p:nvPr>
        </p:nvSpPr>
        <p:spPr>
          <a:xfrm>
            <a:off x="4327525" y="2095500"/>
            <a:ext cx="7421563" cy="4076699"/>
          </a:xfrm>
        </p:spPr>
        <p:txBody>
          <a:bodyPr anchor="ctr" anchorCtr="0"/>
          <a:lstStyle>
            <a:lvl1pPr algn="ctr">
              <a:defRPr sz="1200" b="0">
                <a:solidFill>
                  <a:schemeClr val="tx1"/>
                </a:solidFill>
              </a:defRPr>
            </a:lvl1pPr>
          </a:lstStyle>
          <a:p>
            <a:r>
              <a:rPr lang="en-GB" dirty="0"/>
              <a:t>Click icon to add chart</a:t>
            </a:r>
          </a:p>
        </p:txBody>
      </p:sp>
      <p:sp>
        <p:nvSpPr>
          <p:cNvPr id="5" name="Title 4"/>
          <p:cNvSpPr>
            <a:spLocks noGrp="1"/>
          </p:cNvSpPr>
          <p:nvPr>
            <p:ph type="title" hasCustomPrompt="1"/>
          </p:nvPr>
        </p:nvSpPr>
        <p:spPr/>
        <p:txBody>
          <a:bodyPr/>
          <a:lstStyle>
            <a:lvl1pPr>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696E2E86-965C-BE4A-BDD2-8C3B0C7986E3}"/>
              </a:ext>
            </a:extLst>
          </p:cNvPr>
          <p:cNvSpPr>
            <a:spLocks noGrp="1"/>
          </p:cNvSpPr>
          <p:nvPr>
            <p:ph type="sldNum" sz="quarter" idx="16"/>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814EA5A5-893B-6B4B-80D2-49FFC81C88C2}"/>
              </a:ext>
            </a:extLst>
          </p:cNvPr>
          <p:cNvSpPr>
            <a:spLocks noGrp="1"/>
          </p:cNvSpPr>
          <p:nvPr>
            <p:ph type="dt" sz="half" idx="17"/>
          </p:nvPr>
        </p:nvSpPr>
        <p:spPr/>
        <p:txBody>
          <a:bodyPr/>
          <a:lstStyle/>
          <a:p>
            <a:r>
              <a:rPr lang="en-IN"/>
              <a:t>April 2023 </a:t>
            </a:r>
            <a:endParaRPr lang="en-US" dirty="0"/>
          </a:p>
        </p:txBody>
      </p:sp>
    </p:spTree>
    <p:extLst>
      <p:ext uri="{BB962C8B-B14F-4D97-AF65-F5344CB8AC3E}">
        <p14:creationId xmlns:p14="http://schemas.microsoft.com/office/powerpoint/2010/main" val="14444185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3599542"/>
            <a:ext cx="3529012" cy="2578057"/>
          </a:xfrm>
        </p:spPr>
        <p:txBody>
          <a:bodyPr/>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4" hasCustomPrompt="1"/>
          </p:nvPr>
        </p:nvSpPr>
        <p:spPr>
          <a:xfrm>
            <a:off x="442913" y="2095500"/>
            <a:ext cx="3529012" cy="1333500"/>
          </a:xfrm>
        </p:spPr>
        <p:txBody>
          <a:bodyPr anchor="ctr" anchorCtr="0"/>
          <a:lstStyle>
            <a:lvl1pPr>
              <a:lnSpc>
                <a:spcPct val="100000"/>
              </a:lnSpc>
              <a:defRPr sz="8500" b="0" spc="-100" baseline="0">
                <a:solidFill>
                  <a:schemeClr val="accent3"/>
                </a:solidFill>
              </a:defRPr>
            </a:lvl1pPr>
          </a:lstStyle>
          <a:p>
            <a:pPr lvl="0"/>
            <a:r>
              <a:rPr lang="en-US" dirty="0"/>
              <a:t>00%</a:t>
            </a:r>
            <a:endParaRPr lang="en-GB" dirty="0"/>
          </a:p>
        </p:txBody>
      </p:sp>
      <p:sp>
        <p:nvSpPr>
          <p:cNvPr id="13" name="Text Placeholder 9"/>
          <p:cNvSpPr>
            <a:spLocks noGrp="1"/>
          </p:cNvSpPr>
          <p:nvPr>
            <p:ph type="body" sz="quarter" idx="15" hasCustomPrompt="1"/>
          </p:nvPr>
        </p:nvSpPr>
        <p:spPr>
          <a:xfrm>
            <a:off x="4327524" y="2095500"/>
            <a:ext cx="3533775" cy="1333500"/>
          </a:xfrm>
        </p:spPr>
        <p:txBody>
          <a:bodyPr anchor="ctr" anchorCtr="0"/>
          <a:lstStyle>
            <a:lvl1pPr>
              <a:lnSpc>
                <a:spcPct val="100000"/>
              </a:lnSpc>
              <a:defRPr sz="8500" b="0" spc="-100" baseline="0">
                <a:solidFill>
                  <a:schemeClr val="tx2"/>
                </a:solidFill>
              </a:defRPr>
            </a:lvl1pPr>
          </a:lstStyle>
          <a:p>
            <a:pPr lvl="0"/>
            <a:r>
              <a:rPr lang="en-US" dirty="0"/>
              <a:t>00%</a:t>
            </a:r>
            <a:endParaRPr lang="en-GB" dirty="0"/>
          </a:p>
        </p:txBody>
      </p:sp>
      <p:sp>
        <p:nvSpPr>
          <p:cNvPr id="14" name="Text Placeholder 9"/>
          <p:cNvSpPr>
            <a:spLocks noGrp="1"/>
          </p:cNvSpPr>
          <p:nvPr>
            <p:ph type="body" sz="quarter" idx="16" hasCustomPrompt="1"/>
          </p:nvPr>
        </p:nvSpPr>
        <p:spPr>
          <a:xfrm>
            <a:off x="8222571" y="2095500"/>
            <a:ext cx="3529012" cy="1333500"/>
          </a:xfrm>
        </p:spPr>
        <p:txBody>
          <a:bodyPr anchor="ctr" anchorCtr="0"/>
          <a:lstStyle>
            <a:lvl1pPr>
              <a:lnSpc>
                <a:spcPct val="100000"/>
              </a:lnSpc>
              <a:defRPr sz="8500" b="0" spc="-100" baseline="0">
                <a:solidFill>
                  <a:schemeClr val="accent1"/>
                </a:solidFill>
              </a:defRPr>
            </a:lvl1pPr>
          </a:lstStyle>
          <a:p>
            <a:pPr lvl="0"/>
            <a:r>
              <a:rPr lang="en-US" dirty="0"/>
              <a:t>00%</a:t>
            </a:r>
            <a:endParaRPr lang="en-GB" dirty="0"/>
          </a:p>
        </p:txBody>
      </p:sp>
      <p:sp>
        <p:nvSpPr>
          <p:cNvPr id="6" name="Title 5"/>
          <p:cNvSpPr>
            <a:spLocks noGrp="1"/>
          </p:cNvSpPr>
          <p:nvPr>
            <p:ph type="title" hasCustomPrompt="1"/>
          </p:nvPr>
        </p:nvSpPr>
        <p:spPr/>
        <p:txBody>
          <a:bodyPr/>
          <a:lstStyle>
            <a:lvl1pPr>
              <a:defRPr/>
            </a:lvl1pPr>
          </a:lstStyle>
          <a:p>
            <a:r>
              <a:rPr lang="en-US" dirty="0"/>
              <a:t>[Slide title]</a:t>
            </a:r>
            <a:endParaRPr lang="en-GB" dirty="0"/>
          </a:p>
        </p:txBody>
      </p:sp>
      <p:sp>
        <p:nvSpPr>
          <p:cNvPr id="7" name="Slide Number Placeholder 6">
            <a:extLst>
              <a:ext uri="{FF2B5EF4-FFF2-40B4-BE49-F238E27FC236}">
                <a16:creationId xmlns:a16="http://schemas.microsoft.com/office/drawing/2014/main" id="{6BC21E25-BA96-8149-8793-205BDC263584}"/>
              </a:ext>
            </a:extLst>
          </p:cNvPr>
          <p:cNvSpPr>
            <a:spLocks noGrp="1"/>
          </p:cNvSpPr>
          <p:nvPr>
            <p:ph type="sldNum" sz="quarter" idx="18"/>
          </p:nvPr>
        </p:nvSpPr>
        <p:spPr/>
        <p:txBody>
          <a:bodyPr/>
          <a:lstStyle/>
          <a:p>
            <a:fld id="{7870704B-CE94-48CC-AF30-84932A1262A7}" type="slidenum">
              <a:rPr lang="en-GB" smtClean="0"/>
              <a:pPr/>
              <a:t>‹#›</a:t>
            </a:fld>
            <a:endParaRPr lang="en-GB" dirty="0"/>
          </a:p>
        </p:txBody>
      </p:sp>
      <p:sp>
        <p:nvSpPr>
          <p:cNvPr id="15" name="Content Placeholder 2">
            <a:extLst>
              <a:ext uri="{FF2B5EF4-FFF2-40B4-BE49-F238E27FC236}">
                <a16:creationId xmlns:a16="http://schemas.microsoft.com/office/drawing/2014/main" id="{904FBFED-85D0-8C43-84C6-BADD19241EDC}"/>
              </a:ext>
            </a:extLst>
          </p:cNvPr>
          <p:cNvSpPr>
            <a:spLocks noGrp="1"/>
          </p:cNvSpPr>
          <p:nvPr>
            <p:ph sz="half" idx="19" hasCustomPrompt="1"/>
          </p:nvPr>
        </p:nvSpPr>
        <p:spPr>
          <a:xfrm>
            <a:off x="4327525" y="3599542"/>
            <a:ext cx="3533775" cy="2578057"/>
          </a:xfrm>
        </p:spPr>
        <p:txBody>
          <a:bodyPr/>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2">
            <a:extLst>
              <a:ext uri="{FF2B5EF4-FFF2-40B4-BE49-F238E27FC236}">
                <a16:creationId xmlns:a16="http://schemas.microsoft.com/office/drawing/2014/main" id="{C7D43B0B-6C29-D449-BC95-219F98DA27E0}"/>
              </a:ext>
            </a:extLst>
          </p:cNvPr>
          <p:cNvSpPr>
            <a:spLocks noGrp="1"/>
          </p:cNvSpPr>
          <p:nvPr>
            <p:ph sz="half" idx="20" hasCustomPrompt="1"/>
          </p:nvPr>
        </p:nvSpPr>
        <p:spPr>
          <a:xfrm>
            <a:off x="8222571" y="3599542"/>
            <a:ext cx="3529012" cy="2578057"/>
          </a:xfrm>
        </p:spPr>
        <p:txBody>
          <a:bodyPr/>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Date Placeholder 1">
            <a:extLst>
              <a:ext uri="{FF2B5EF4-FFF2-40B4-BE49-F238E27FC236}">
                <a16:creationId xmlns:a16="http://schemas.microsoft.com/office/drawing/2014/main" id="{33F3B578-7307-3B4F-9573-5B25CD8634E9}"/>
              </a:ext>
            </a:extLst>
          </p:cNvPr>
          <p:cNvSpPr>
            <a:spLocks noGrp="1"/>
          </p:cNvSpPr>
          <p:nvPr>
            <p:ph type="dt" sz="half" idx="21"/>
          </p:nvPr>
        </p:nvSpPr>
        <p:spPr/>
        <p:txBody>
          <a:bodyPr/>
          <a:lstStyle/>
          <a:p>
            <a:r>
              <a:rPr lang="en-IN"/>
              <a:t>April 2023 </a:t>
            </a:r>
            <a:endParaRPr lang="en-US" dirty="0"/>
          </a:p>
        </p:txBody>
      </p:sp>
    </p:spTree>
    <p:extLst>
      <p:ext uri="{BB962C8B-B14F-4D97-AF65-F5344CB8AC3E}">
        <p14:creationId xmlns:p14="http://schemas.microsoft.com/office/powerpoint/2010/main" val="6266351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One Column Conten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5" name="Title 4"/>
          <p:cNvSpPr>
            <a:spLocks noGrp="1"/>
          </p:cNvSpPr>
          <p:nvPr>
            <p:ph type="title" hasCustomPrompt="1"/>
          </p:nvPr>
        </p:nvSpPr>
        <p:spPr/>
        <p:txBody>
          <a:bodyPr/>
          <a:lstStyle>
            <a:lvl1pPr>
              <a:defRPr>
                <a:solidFill>
                  <a:schemeClr val="tx1"/>
                </a:solidFill>
              </a:defRPr>
            </a:lvl1pPr>
          </a:lstStyle>
          <a:p>
            <a:r>
              <a:rPr lang="en-US" dirty="0"/>
              <a:t>[Slide title]</a:t>
            </a:r>
            <a:endParaRPr lang="en-GB" dirty="0"/>
          </a:p>
        </p:txBody>
      </p:sp>
      <p:sp>
        <p:nvSpPr>
          <p:cNvPr id="9" name="Date Placeholder 8">
            <a:extLst>
              <a:ext uri="{FF2B5EF4-FFF2-40B4-BE49-F238E27FC236}">
                <a16:creationId xmlns:a16="http://schemas.microsoft.com/office/drawing/2014/main" id="{534FC478-2103-444D-A788-6C385FEADA19}"/>
              </a:ext>
            </a:extLst>
          </p:cNvPr>
          <p:cNvSpPr>
            <a:spLocks noGrp="1"/>
          </p:cNvSpPr>
          <p:nvPr>
            <p:ph type="dt" sz="half" idx="10"/>
          </p:nvPr>
        </p:nvSpPr>
        <p:spPr/>
        <p:txBody>
          <a:bodyPr/>
          <a:lstStyle/>
          <a:p>
            <a:r>
              <a:rPr lang="en-IN"/>
              <a:t>April 2023 </a:t>
            </a:r>
            <a:endParaRPr lang="en-US" dirty="0"/>
          </a:p>
        </p:txBody>
      </p:sp>
      <p:sp>
        <p:nvSpPr>
          <p:cNvPr id="11" name="Slide Number Placeholder 10">
            <a:extLst>
              <a:ext uri="{FF2B5EF4-FFF2-40B4-BE49-F238E27FC236}">
                <a16:creationId xmlns:a16="http://schemas.microsoft.com/office/drawing/2014/main" id="{B9D3C748-DE6A-F649-888F-43A3773D1D4D}"/>
              </a:ext>
            </a:extLst>
          </p:cNvPr>
          <p:cNvSpPr>
            <a:spLocks noGrp="1"/>
          </p:cNvSpPr>
          <p:nvPr>
            <p:ph type="sldNum" sz="quarter" idx="12"/>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767746839"/>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e Column Char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GB" dirty="0"/>
              <a:t>Click icon to add chart</a:t>
            </a:r>
          </a:p>
        </p:txBody>
      </p:sp>
      <p:sp>
        <p:nvSpPr>
          <p:cNvPr id="5" name="Title 4"/>
          <p:cNvSpPr>
            <a:spLocks noGrp="1"/>
          </p:cNvSpPr>
          <p:nvPr>
            <p:ph type="title" hasCustomPrompt="1"/>
          </p:nvPr>
        </p:nvSpPr>
        <p:spPr/>
        <p:txBody>
          <a:bodyPr/>
          <a:lstStyle>
            <a:lvl1pPr>
              <a:defRPr>
                <a:solidFill>
                  <a:schemeClr val="tx1"/>
                </a:solidFill>
              </a:defRPr>
            </a:lvl1pPr>
          </a:lstStyle>
          <a:p>
            <a:r>
              <a:rPr lang="en-US" dirty="0"/>
              <a:t>[Slide title]</a:t>
            </a:r>
            <a:endParaRPr lang="en-GB" dirty="0"/>
          </a:p>
        </p:txBody>
      </p:sp>
      <p:sp>
        <p:nvSpPr>
          <p:cNvPr id="2" name="Date Placeholder 1">
            <a:extLst>
              <a:ext uri="{FF2B5EF4-FFF2-40B4-BE49-F238E27FC236}">
                <a16:creationId xmlns:a16="http://schemas.microsoft.com/office/drawing/2014/main" id="{240EE541-D951-5343-8A19-5BC13B8C9665}"/>
              </a:ext>
            </a:extLst>
          </p:cNvPr>
          <p:cNvSpPr>
            <a:spLocks noGrp="1"/>
          </p:cNvSpPr>
          <p:nvPr>
            <p:ph type="dt" sz="half" idx="14"/>
          </p:nvPr>
        </p:nvSpPr>
        <p:spPr/>
        <p:txBody>
          <a:bodyPr/>
          <a:lstStyle/>
          <a:p>
            <a:r>
              <a:rPr lang="en-IN"/>
              <a:t>April 2023 </a:t>
            </a:r>
            <a:endParaRPr lang="en-US" dirty="0"/>
          </a:p>
        </p:txBody>
      </p:sp>
      <p:sp>
        <p:nvSpPr>
          <p:cNvPr id="10" name="Slide Number Placeholder 9">
            <a:extLst>
              <a:ext uri="{FF2B5EF4-FFF2-40B4-BE49-F238E27FC236}">
                <a16:creationId xmlns:a16="http://schemas.microsoft.com/office/drawing/2014/main" id="{2C2BE143-A791-F940-BA69-8C99703B699E}"/>
              </a:ext>
            </a:extLst>
          </p:cNvPr>
          <p:cNvSpPr>
            <a:spLocks noGrp="1"/>
          </p:cNvSpPr>
          <p:nvPr>
            <p:ph type="sldNum" sz="quarter" idx="16"/>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3581681609"/>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hart Dark">
    <p:bg>
      <p:bgPr>
        <a:solidFill>
          <a:srgbClr val="464646"/>
        </a:solidFill>
        <a:effectLst/>
      </p:bgPr>
    </p:bg>
    <p:spTree>
      <p:nvGrpSpPr>
        <p:cNvPr id="1" name=""/>
        <p:cNvGrpSpPr/>
        <p:nvPr/>
      </p:nvGrpSpPr>
      <p:grpSpPr>
        <a:xfrm>
          <a:off x="0" y="0"/>
          <a:ext cx="0" cy="0"/>
          <a:chOff x="0" y="0"/>
          <a:chExt cx="0" cy="0"/>
        </a:xfrm>
      </p:grpSpPr>
      <p:sp>
        <p:nvSpPr>
          <p:cNvPr id="8" name="Chart Placeholder 7"/>
          <p:cNvSpPr>
            <a:spLocks noGrp="1"/>
          </p:cNvSpPr>
          <p:nvPr>
            <p:ph type="chart" sz="quarter" idx="13"/>
          </p:nvPr>
        </p:nvSpPr>
        <p:spPr>
          <a:xfrm>
            <a:off x="442913" y="2103438"/>
            <a:ext cx="11306175" cy="4068762"/>
          </a:xfrm>
        </p:spPr>
        <p:txBody>
          <a:bodyPr anchor="ctr" anchorCtr="0"/>
          <a:lstStyle>
            <a:lvl1pPr algn="ctr">
              <a:defRPr sz="1200" b="0">
                <a:solidFill>
                  <a:schemeClr val="tx1"/>
                </a:solidFill>
              </a:defRPr>
            </a:lvl1pPr>
          </a:lstStyle>
          <a:p>
            <a:r>
              <a:rPr lang="en-GB" dirty="0"/>
              <a:t>Click icon to add chart</a:t>
            </a:r>
          </a:p>
        </p:txBody>
      </p:sp>
      <p:sp>
        <p:nvSpPr>
          <p:cNvPr id="4" name="Title 3"/>
          <p:cNvSpPr>
            <a:spLocks noGrp="1"/>
          </p:cNvSpPr>
          <p:nvPr>
            <p:ph type="title" hasCustomPrompt="1"/>
          </p:nvPr>
        </p:nvSpPr>
        <p:spPr/>
        <p:txBody>
          <a:bodyPr/>
          <a:lstStyle>
            <a:lvl1pPr>
              <a:defRPr>
                <a:solidFill>
                  <a:schemeClr val="tx1"/>
                </a:solidFill>
              </a:defRPr>
            </a:lvl1pPr>
          </a:lstStyle>
          <a:p>
            <a:r>
              <a:rPr lang="en-US" dirty="0"/>
              <a:t>[Slide title]</a:t>
            </a:r>
            <a:endParaRPr lang="en-GB" dirty="0"/>
          </a:p>
        </p:txBody>
      </p:sp>
      <p:sp>
        <p:nvSpPr>
          <p:cNvPr id="2" name="Date Placeholder 1">
            <a:extLst>
              <a:ext uri="{FF2B5EF4-FFF2-40B4-BE49-F238E27FC236}">
                <a16:creationId xmlns:a16="http://schemas.microsoft.com/office/drawing/2014/main" id="{3368A692-B2AF-6448-8025-A2D10476E94B}"/>
              </a:ext>
            </a:extLst>
          </p:cNvPr>
          <p:cNvSpPr>
            <a:spLocks noGrp="1"/>
          </p:cNvSpPr>
          <p:nvPr>
            <p:ph type="dt" sz="half" idx="14"/>
          </p:nvPr>
        </p:nvSpPr>
        <p:spPr/>
        <p:txBody>
          <a:bodyPr/>
          <a:lstStyle/>
          <a:p>
            <a:r>
              <a:rPr lang="en-IN"/>
              <a:t>April 2023 </a:t>
            </a:r>
            <a:endParaRPr lang="en-US" dirty="0"/>
          </a:p>
        </p:txBody>
      </p:sp>
      <p:sp>
        <p:nvSpPr>
          <p:cNvPr id="9" name="Slide Number Placeholder 8">
            <a:extLst>
              <a:ext uri="{FF2B5EF4-FFF2-40B4-BE49-F238E27FC236}">
                <a16:creationId xmlns:a16="http://schemas.microsoft.com/office/drawing/2014/main" id="{C8247A16-A0E7-4A40-BC88-A10C50CA51F4}"/>
              </a:ext>
            </a:extLst>
          </p:cNvPr>
          <p:cNvSpPr>
            <a:spLocks noGrp="1"/>
          </p:cNvSpPr>
          <p:nvPr>
            <p:ph type="sldNum" sz="quarter" idx="16"/>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1735232353"/>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solidFill>
            <a:schemeClr val="tx2"/>
          </a:solidFill>
        </p:spPr>
        <p:txBody>
          <a:bodyPr anchor="ctr" anchorCtr="0"/>
          <a:lstStyle>
            <a:lvl1pPr algn="ctr">
              <a:defRPr sz="1200" b="0">
                <a:solidFill>
                  <a:schemeClr val="bg1"/>
                </a:solidFill>
              </a:defRPr>
            </a:lvl1pPr>
          </a:lstStyle>
          <a:p>
            <a:r>
              <a:rPr lang="en-GB" dirty="0"/>
              <a:t>Click icon to add picture</a:t>
            </a:r>
          </a:p>
        </p:txBody>
      </p:sp>
      <p:sp>
        <p:nvSpPr>
          <p:cNvPr id="3" name="Content Placeholder 2"/>
          <p:cNvSpPr>
            <a:spLocks noGrp="1"/>
          </p:cNvSpPr>
          <p:nvPr>
            <p:ph idx="1" hasCustomPrompt="1"/>
          </p:nvPr>
        </p:nvSpPr>
        <p:spPr>
          <a:xfrm>
            <a:off x="0" y="1143000"/>
            <a:ext cx="4572000" cy="4572000"/>
          </a:xfrm>
          <a:solidFill>
            <a:srgbClr val="E0301E"/>
          </a:solidFill>
        </p:spPr>
        <p:txBody>
          <a:bodyPr lIns="438912" tIns="1440000" rIns="252000" bIns="180000"/>
          <a:lstStyle>
            <a:lvl1pPr marL="0" indent="0">
              <a:lnSpc>
                <a:spcPct val="90000"/>
              </a:lnSpc>
              <a:spcBef>
                <a:spcPts val="0"/>
              </a:spcBef>
              <a:spcAft>
                <a:spcPts val="3000"/>
              </a:spcAft>
              <a:buFont typeface="Arial" panose="020B0604020202020204" pitchFamily="34" charset="0"/>
              <a:buNone/>
              <a:defRPr sz="2600" b="0">
                <a:solidFill>
                  <a:schemeClr val="tx1"/>
                </a:solidFill>
                <a:latin typeface="+mj-lt"/>
              </a:defRPr>
            </a:lvl1pPr>
            <a:lvl2pPr marL="0" indent="0">
              <a:spcBef>
                <a:spcPts val="0"/>
              </a:spcBef>
              <a:spcAft>
                <a:spcPts val="0"/>
              </a:spcAft>
              <a:buFontTx/>
              <a:buNone/>
              <a:defRPr sz="1600" b="1">
                <a:solidFill>
                  <a:schemeClr val="tx1"/>
                </a:solidFill>
                <a:latin typeface="+mn-lt"/>
              </a:defRPr>
            </a:lvl2pPr>
            <a:lvl3pPr marL="0" indent="0">
              <a:spcBef>
                <a:spcPts val="0"/>
              </a:spcBef>
              <a:spcAft>
                <a:spcPts val="0"/>
              </a:spcAft>
              <a:buFontTx/>
              <a:buNone/>
              <a:defRPr sz="1600" b="0">
                <a:solidFill>
                  <a:schemeClr val="tx1"/>
                </a:solidFill>
                <a:latin typeface="+mn-lt"/>
              </a:defRPr>
            </a:lvl3pPr>
            <a:lvl4pPr marL="0" indent="0">
              <a:spcBef>
                <a:spcPts val="0"/>
              </a:spcBef>
              <a:spcAft>
                <a:spcPts val="0"/>
              </a:spcAft>
              <a:buFontTx/>
              <a:buNone/>
              <a:defRPr sz="1600" b="0">
                <a:solidFill>
                  <a:schemeClr val="tx1"/>
                </a:solidFill>
                <a:latin typeface="+mn-lt"/>
              </a:defRPr>
            </a:lvl4pPr>
            <a:lvl5pPr marL="0" indent="0">
              <a:spcBef>
                <a:spcPts val="0"/>
              </a:spcBef>
              <a:spcAft>
                <a:spcPts val="0"/>
              </a:spcAft>
              <a:buFontTx/>
              <a:buNone/>
              <a:defRPr sz="1600" b="0">
                <a:solidFill>
                  <a:schemeClr val="tx1"/>
                </a:solidFill>
                <a:latin typeface="+mn-lt"/>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623703"/>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 name="Date Placeholder 6">
            <a:extLst>
              <a:ext uri="{FF2B5EF4-FFF2-40B4-BE49-F238E27FC236}">
                <a16:creationId xmlns:a16="http://schemas.microsoft.com/office/drawing/2014/main" id="{A1D36D47-D12A-3142-B681-815978E85E77}"/>
              </a:ext>
            </a:extLst>
          </p:cNvPr>
          <p:cNvSpPr>
            <a:spLocks noGrp="1"/>
          </p:cNvSpPr>
          <p:nvPr>
            <p:ph type="dt" sz="half" idx="15"/>
          </p:nvPr>
        </p:nvSpPr>
        <p:spPr/>
        <p:txBody>
          <a:bodyPr/>
          <a:lstStyle/>
          <a:p>
            <a:r>
              <a:rPr lang="en-IN"/>
              <a:t>April 2023 </a:t>
            </a:r>
            <a:endParaRPr lang="en-US" dirty="0"/>
          </a:p>
        </p:txBody>
      </p:sp>
      <p:sp>
        <p:nvSpPr>
          <p:cNvPr id="9" name="Slide Number Placeholder 8">
            <a:extLst>
              <a:ext uri="{FF2B5EF4-FFF2-40B4-BE49-F238E27FC236}">
                <a16:creationId xmlns:a16="http://schemas.microsoft.com/office/drawing/2014/main" id="{4751649C-08F4-D84A-9E3B-1FCB427D60BF}"/>
              </a:ext>
            </a:extLst>
          </p:cNvPr>
          <p:cNvSpPr>
            <a:spLocks noGrp="1"/>
          </p:cNvSpPr>
          <p:nvPr>
            <p:ph type="sldNum" sz="quarter" idx="17"/>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55447182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1 Image Orange">
    <p:bg>
      <p:bgPr>
        <a:solidFill>
          <a:srgbClr val="D04A02"/>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tx2"/>
          </a:solidFill>
        </p:spPr>
        <p:txBody>
          <a:bodyPr anchor="ctr" anchorCtr="0"/>
          <a:lstStyle>
            <a:lvl1pPr algn="ctr">
              <a:defRPr sz="1200" b="0">
                <a:solidFill>
                  <a:schemeClr val="bg1"/>
                </a:solidFill>
              </a:defRPr>
            </a:lvl1pPr>
          </a:lstStyle>
          <a:p>
            <a:r>
              <a:rPr lang="en-GB" dirty="0"/>
              <a:t>Click icon to add picture</a:t>
            </a:r>
          </a:p>
        </p:txBody>
      </p:sp>
      <p:sp>
        <p:nvSpPr>
          <p:cNvPr id="3" name="Content Placeholder 2"/>
          <p:cNvSpPr>
            <a:spLocks noGrp="1"/>
          </p:cNvSpPr>
          <p:nvPr>
            <p:ph idx="1" hasCustomPrompt="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 name="Date Placeholder 1">
            <a:extLst>
              <a:ext uri="{FF2B5EF4-FFF2-40B4-BE49-F238E27FC236}">
                <a16:creationId xmlns:a16="http://schemas.microsoft.com/office/drawing/2014/main" id="{08ACB6F4-A2A7-6E4D-A8EB-50B5B35AADEB}"/>
              </a:ext>
            </a:extLst>
          </p:cNvPr>
          <p:cNvSpPr>
            <a:spLocks noGrp="1"/>
          </p:cNvSpPr>
          <p:nvPr>
            <p:ph type="dt" sz="half" idx="15"/>
          </p:nvPr>
        </p:nvSpPr>
        <p:spPr/>
        <p:txBody>
          <a:bodyPr/>
          <a:lstStyle/>
          <a:p>
            <a:r>
              <a:rPr lang="en-IN"/>
              <a:t>April 2023 </a:t>
            </a:r>
            <a:endParaRPr lang="en-US" dirty="0"/>
          </a:p>
        </p:txBody>
      </p:sp>
      <p:sp>
        <p:nvSpPr>
          <p:cNvPr id="5" name="Slide Number Placeholder 4">
            <a:extLst>
              <a:ext uri="{FF2B5EF4-FFF2-40B4-BE49-F238E27FC236}">
                <a16:creationId xmlns:a16="http://schemas.microsoft.com/office/drawing/2014/main" id="{DAF7A802-0AAE-FA43-8858-03590E764031}"/>
              </a:ext>
            </a:extLst>
          </p:cNvPr>
          <p:cNvSpPr>
            <a:spLocks noGrp="1"/>
          </p:cNvSpPr>
          <p:nvPr>
            <p:ph type="sldNum" sz="quarter" idx="17"/>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38743013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1 Imag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bg2"/>
          </a:solidFill>
        </p:spPr>
        <p:txBody>
          <a:bodyPr anchor="ctr" anchorCtr="0"/>
          <a:lstStyle>
            <a:lvl1pPr algn="ctr">
              <a:defRPr sz="1200" b="0">
                <a:solidFill>
                  <a:schemeClr val="tx1"/>
                </a:solidFill>
              </a:defRPr>
            </a:lvl1pPr>
          </a:lstStyle>
          <a:p>
            <a:r>
              <a:rPr lang="en-GB" dirty="0"/>
              <a:t>Click icon to add picture</a:t>
            </a:r>
          </a:p>
        </p:txBody>
      </p:sp>
      <p:sp>
        <p:nvSpPr>
          <p:cNvPr id="3" name="Content Placeholder 2"/>
          <p:cNvSpPr>
            <a:spLocks noGrp="1"/>
          </p:cNvSpPr>
          <p:nvPr>
            <p:ph idx="1" hasCustomPrompt="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Freeform 5">
            <a:extLst>
              <a:ext uri="{FF2B5EF4-FFF2-40B4-BE49-F238E27FC236}">
                <a16:creationId xmlns:a16="http://schemas.microsoft.com/office/drawing/2014/main" id="{751F50DC-1032-F848-8EFD-503462F60157}"/>
              </a:ext>
            </a:extLst>
          </p:cNvPr>
          <p:cNvSpPr>
            <a:spLocks noChangeAspect="1" noEditPoints="1"/>
          </p:cNvSpPr>
          <p:nvPr userDrawn="1"/>
        </p:nvSpPr>
        <p:spPr bwMode="auto">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 name="Slide Number Placeholder 5">
            <a:extLst>
              <a:ext uri="{FF2B5EF4-FFF2-40B4-BE49-F238E27FC236}">
                <a16:creationId xmlns:a16="http://schemas.microsoft.com/office/drawing/2014/main" id="{C0618CEB-562C-EF47-A905-BA1BD3BB0B4A}"/>
              </a:ext>
            </a:extLst>
          </p:cNvPr>
          <p:cNvSpPr>
            <a:spLocks noGrp="1"/>
          </p:cNvSpPr>
          <p:nvPr>
            <p:ph type="sldNum" sz="quarter" idx="16"/>
          </p:nvPr>
        </p:nvSpPr>
        <p:spPr bwMode="gray"/>
        <p:txBody>
          <a:bodyPr/>
          <a:lstStyle>
            <a:lvl1pPr>
              <a:defRPr>
                <a:solidFill>
                  <a:schemeClr val="bg1"/>
                </a:solidFill>
              </a:defRPr>
            </a:lvl1p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B7BEC181-486E-E441-8900-B8446C2DF2CE}"/>
              </a:ext>
            </a:extLst>
          </p:cNvPr>
          <p:cNvSpPr>
            <a:spLocks noGrp="1"/>
          </p:cNvSpPr>
          <p:nvPr>
            <p:ph type="dt" sz="half" idx="17"/>
          </p:nvPr>
        </p:nvSpPr>
        <p:spPr/>
        <p:txBody>
          <a:bodyPr/>
          <a:lstStyle>
            <a:lvl1pPr>
              <a:defRPr>
                <a:solidFill>
                  <a:schemeClr val="bg1"/>
                </a:solidFill>
              </a:defRPr>
            </a:lvl1pPr>
          </a:lstStyle>
          <a:p>
            <a:r>
              <a:rPr lang="en-IN"/>
              <a:t>April 2023 </a:t>
            </a:r>
            <a:endParaRPr lang="en-US" dirty="0"/>
          </a:p>
        </p:txBody>
      </p:sp>
    </p:spTree>
    <p:extLst>
      <p:ext uri="{BB962C8B-B14F-4D97-AF65-F5344CB8AC3E}">
        <p14:creationId xmlns:p14="http://schemas.microsoft.com/office/powerpoint/2010/main" val="873285981"/>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reeform 5">
            <a:extLst>
              <a:ext uri="{FF2B5EF4-FFF2-40B4-BE49-F238E27FC236}">
                <a16:creationId xmlns:a16="http://schemas.microsoft.com/office/drawing/2014/main" id="{07AD3661-A443-F74F-9528-11F7BA264BF5}"/>
              </a:ext>
            </a:extLst>
          </p:cNvPr>
          <p:cNvSpPr>
            <a:spLocks noChangeAspect="1" noEditPoints="1"/>
          </p:cNvSpPr>
          <p:nvPr userDrawn="1"/>
        </p:nvSpPr>
        <p:spPr bwMode="auto">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 name="Date Placeholder 1">
            <a:extLst>
              <a:ext uri="{FF2B5EF4-FFF2-40B4-BE49-F238E27FC236}">
                <a16:creationId xmlns:a16="http://schemas.microsoft.com/office/drawing/2014/main" id="{7E5DC986-4502-464F-A426-50A70EA2E41A}"/>
              </a:ext>
            </a:extLst>
          </p:cNvPr>
          <p:cNvSpPr>
            <a:spLocks noGrp="1"/>
          </p:cNvSpPr>
          <p:nvPr>
            <p:ph type="dt" sz="half" idx="10"/>
          </p:nvPr>
        </p:nvSpPr>
        <p:spPr/>
        <p:txBody>
          <a:bodyPr/>
          <a:lstStyle/>
          <a:p>
            <a:r>
              <a:rPr lang="en-IN"/>
              <a:t>April 2023 </a:t>
            </a:r>
            <a:endParaRPr lang="en-US" dirty="0"/>
          </a:p>
        </p:txBody>
      </p:sp>
      <p:sp>
        <p:nvSpPr>
          <p:cNvPr id="7" name="Slide Number Placeholder 6">
            <a:extLst>
              <a:ext uri="{FF2B5EF4-FFF2-40B4-BE49-F238E27FC236}">
                <a16:creationId xmlns:a16="http://schemas.microsoft.com/office/drawing/2014/main" id="{FC67263F-492F-7F4E-9E89-2A38E1B27F39}"/>
              </a:ext>
            </a:extLst>
          </p:cNvPr>
          <p:cNvSpPr>
            <a:spLocks noGrp="1"/>
          </p:cNvSpPr>
          <p:nvPr>
            <p:ph type="sldNum" sz="quarter" idx="12"/>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315615330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dirty="0"/>
              <a:t>[Presentation title]</a:t>
            </a:r>
            <a:endParaRPr lang="en-GB" dirty="0"/>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dirty="0"/>
              <a:t>[Presentation subtitle]</a:t>
            </a:r>
          </a:p>
        </p:txBody>
      </p:sp>
    </p:spTree>
    <p:extLst>
      <p:ext uri="{BB962C8B-B14F-4D97-AF65-F5344CB8AC3E}">
        <p14:creationId xmlns:p14="http://schemas.microsoft.com/office/powerpoint/2010/main" val="3917376436"/>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2 Orange">
    <p:bg>
      <p:bgPr>
        <a:solidFill>
          <a:srgbClr val="D04A02"/>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Freeform 5">
            <a:extLst>
              <a:ext uri="{FF2B5EF4-FFF2-40B4-BE49-F238E27FC236}">
                <a16:creationId xmlns:a16="http://schemas.microsoft.com/office/drawing/2014/main" id="{753C6A26-069C-C142-8C96-315DE67FAD09}"/>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Date Placeholder 9">
            <a:extLst>
              <a:ext uri="{FF2B5EF4-FFF2-40B4-BE49-F238E27FC236}">
                <a16:creationId xmlns:a16="http://schemas.microsoft.com/office/drawing/2014/main" id="{F95925A0-A65A-B94F-AD42-4A17D5E9B63B}"/>
              </a:ext>
            </a:extLst>
          </p:cNvPr>
          <p:cNvSpPr>
            <a:spLocks noGrp="1"/>
          </p:cNvSpPr>
          <p:nvPr>
            <p:ph type="dt" sz="half" idx="10"/>
          </p:nvPr>
        </p:nvSpPr>
        <p:spPr/>
        <p:txBody>
          <a:bodyPr/>
          <a:lstStyle/>
          <a:p>
            <a:r>
              <a:rPr lang="en-IN"/>
              <a:t>April 2023 </a:t>
            </a:r>
            <a:endParaRPr lang="en-US" dirty="0"/>
          </a:p>
        </p:txBody>
      </p:sp>
      <p:sp>
        <p:nvSpPr>
          <p:cNvPr id="12" name="Slide Number Placeholder 11">
            <a:extLst>
              <a:ext uri="{FF2B5EF4-FFF2-40B4-BE49-F238E27FC236}">
                <a16:creationId xmlns:a16="http://schemas.microsoft.com/office/drawing/2014/main" id="{1E0FBAD1-BD7F-C249-B609-9F42DAA28A2B}"/>
              </a:ext>
            </a:extLst>
          </p:cNvPr>
          <p:cNvSpPr>
            <a:spLocks noGrp="1"/>
          </p:cNvSpPr>
          <p:nvPr>
            <p:ph type="sldNum" sz="quarter" idx="12"/>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224423923"/>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2 Red">
    <p:bg>
      <p:bgPr>
        <a:solidFill>
          <a:srgbClr val="E0301E"/>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reeform 5">
            <a:extLst>
              <a:ext uri="{FF2B5EF4-FFF2-40B4-BE49-F238E27FC236}">
                <a16:creationId xmlns:a16="http://schemas.microsoft.com/office/drawing/2014/main" id="{75C37678-6A0A-C84B-9A52-9B7F891FFFD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 name="Date Placeholder 1">
            <a:extLst>
              <a:ext uri="{FF2B5EF4-FFF2-40B4-BE49-F238E27FC236}">
                <a16:creationId xmlns:a16="http://schemas.microsoft.com/office/drawing/2014/main" id="{75944E79-860F-9542-986D-3F487E112641}"/>
              </a:ext>
            </a:extLst>
          </p:cNvPr>
          <p:cNvSpPr>
            <a:spLocks noGrp="1"/>
          </p:cNvSpPr>
          <p:nvPr>
            <p:ph type="dt" sz="half" idx="10"/>
          </p:nvPr>
        </p:nvSpPr>
        <p:spPr/>
        <p:txBody>
          <a:bodyPr/>
          <a:lstStyle/>
          <a:p>
            <a:r>
              <a:rPr lang="en-IN"/>
              <a:t>April 2023 </a:t>
            </a:r>
            <a:endParaRPr lang="en-US" dirty="0"/>
          </a:p>
        </p:txBody>
      </p:sp>
      <p:sp>
        <p:nvSpPr>
          <p:cNvPr id="9" name="Slide Number Placeholder 8">
            <a:extLst>
              <a:ext uri="{FF2B5EF4-FFF2-40B4-BE49-F238E27FC236}">
                <a16:creationId xmlns:a16="http://schemas.microsoft.com/office/drawing/2014/main" id="{E4410A1E-B181-CB46-A25E-398B598C5B78}"/>
              </a:ext>
            </a:extLst>
          </p:cNvPr>
          <p:cNvSpPr>
            <a:spLocks noGrp="1"/>
          </p:cNvSpPr>
          <p:nvPr>
            <p:ph type="sldNum" sz="quarter" idx="12"/>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3838994459"/>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2 Rose">
    <p:bg>
      <p:bgPr>
        <a:solidFill>
          <a:srgbClr val="DB536A"/>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reeform 5">
            <a:extLst>
              <a:ext uri="{FF2B5EF4-FFF2-40B4-BE49-F238E27FC236}">
                <a16:creationId xmlns:a16="http://schemas.microsoft.com/office/drawing/2014/main" id="{F3D58181-4255-CF4B-AEC5-6ADD879A60CA}"/>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 name="Date Placeholder 1">
            <a:extLst>
              <a:ext uri="{FF2B5EF4-FFF2-40B4-BE49-F238E27FC236}">
                <a16:creationId xmlns:a16="http://schemas.microsoft.com/office/drawing/2014/main" id="{33DF2FE2-E936-7745-91D2-A6D8CA7F5D95}"/>
              </a:ext>
            </a:extLst>
          </p:cNvPr>
          <p:cNvSpPr>
            <a:spLocks noGrp="1"/>
          </p:cNvSpPr>
          <p:nvPr>
            <p:ph type="dt" sz="half" idx="10"/>
          </p:nvPr>
        </p:nvSpPr>
        <p:spPr/>
        <p:txBody>
          <a:bodyPr/>
          <a:lstStyle/>
          <a:p>
            <a:r>
              <a:rPr lang="en-IN"/>
              <a:t>April 2023 </a:t>
            </a:r>
            <a:endParaRPr lang="en-US" dirty="0"/>
          </a:p>
        </p:txBody>
      </p:sp>
      <p:sp>
        <p:nvSpPr>
          <p:cNvPr id="9" name="Slide Number Placeholder 8">
            <a:extLst>
              <a:ext uri="{FF2B5EF4-FFF2-40B4-BE49-F238E27FC236}">
                <a16:creationId xmlns:a16="http://schemas.microsoft.com/office/drawing/2014/main" id="{4DD12AF3-FC08-E446-85E1-796189A84898}"/>
              </a:ext>
            </a:extLst>
          </p:cNvPr>
          <p:cNvSpPr>
            <a:spLocks noGrp="1"/>
          </p:cNvSpPr>
          <p:nvPr>
            <p:ph type="sldNum" sz="quarter" idx="12"/>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956678414"/>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2 Grey">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Freeform 5">
            <a:extLst>
              <a:ext uri="{FF2B5EF4-FFF2-40B4-BE49-F238E27FC236}">
                <a16:creationId xmlns:a16="http://schemas.microsoft.com/office/drawing/2014/main" id="{056180B7-FBDB-F345-B5D1-21FE86D79BA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 name="Date Placeholder 1">
            <a:extLst>
              <a:ext uri="{FF2B5EF4-FFF2-40B4-BE49-F238E27FC236}">
                <a16:creationId xmlns:a16="http://schemas.microsoft.com/office/drawing/2014/main" id="{9BB60EFE-B508-D848-9B02-A73119F1803A}"/>
              </a:ext>
            </a:extLst>
          </p:cNvPr>
          <p:cNvSpPr>
            <a:spLocks noGrp="1"/>
          </p:cNvSpPr>
          <p:nvPr>
            <p:ph type="dt" sz="half" idx="10"/>
          </p:nvPr>
        </p:nvSpPr>
        <p:spPr/>
        <p:txBody>
          <a:bodyPr/>
          <a:lstStyle/>
          <a:p>
            <a:r>
              <a:rPr lang="en-IN"/>
              <a:t>April 2023 </a:t>
            </a:r>
            <a:endParaRPr lang="en-US" dirty="0"/>
          </a:p>
        </p:txBody>
      </p:sp>
      <p:sp>
        <p:nvSpPr>
          <p:cNvPr id="9" name="Slide Number Placeholder 8">
            <a:extLst>
              <a:ext uri="{FF2B5EF4-FFF2-40B4-BE49-F238E27FC236}">
                <a16:creationId xmlns:a16="http://schemas.microsoft.com/office/drawing/2014/main" id="{F9D7BB50-999D-5745-BB53-011066651024}"/>
              </a:ext>
            </a:extLst>
          </p:cNvPr>
          <p:cNvSpPr>
            <a:spLocks noGrp="1"/>
          </p:cNvSpPr>
          <p:nvPr>
            <p:ph type="sldNum" sz="quarter" idx="12"/>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2692726678"/>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D04A0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dirty="0"/>
              <a:t>[Section header title]</a:t>
            </a:r>
            <a:endParaRPr lang="en-GB" dirty="0"/>
          </a:p>
        </p:txBody>
      </p:sp>
      <p:sp>
        <p:nvSpPr>
          <p:cNvPr id="4" name="Subtitle 2">
            <a:extLst>
              <a:ext uri="{FF2B5EF4-FFF2-40B4-BE49-F238E27FC236}">
                <a16:creationId xmlns:a16="http://schemas.microsoft.com/office/drawing/2014/main" id="{A1971A9E-1347-2E4A-8F01-32BA5D5488B1}"/>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dirty="0"/>
              <a:t>0</a:t>
            </a:r>
          </a:p>
        </p:txBody>
      </p:sp>
    </p:spTree>
    <p:extLst>
      <p:ext uri="{BB962C8B-B14F-4D97-AF65-F5344CB8AC3E}">
        <p14:creationId xmlns:p14="http://schemas.microsoft.com/office/powerpoint/2010/main" val="2375197682"/>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rgbClr val="E0301E"/>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dirty="0"/>
              <a:t>[Section header title]</a:t>
            </a:r>
            <a:endParaRPr lang="en-GB" dirty="0"/>
          </a:p>
        </p:txBody>
      </p:sp>
      <p:sp>
        <p:nvSpPr>
          <p:cNvPr id="5" name="Subtitle 2">
            <a:extLst>
              <a:ext uri="{FF2B5EF4-FFF2-40B4-BE49-F238E27FC236}">
                <a16:creationId xmlns:a16="http://schemas.microsoft.com/office/drawing/2014/main" id="{C60A2100-6DF1-414A-91DA-B6027C61BAAC}"/>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dirty="0"/>
              <a:t>0</a:t>
            </a:r>
          </a:p>
        </p:txBody>
      </p:sp>
    </p:spTree>
    <p:extLst>
      <p:ext uri="{BB962C8B-B14F-4D97-AF65-F5344CB8AC3E}">
        <p14:creationId xmlns:p14="http://schemas.microsoft.com/office/powerpoint/2010/main" val="99252688"/>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p:bg>
      <p:bgPr>
        <a:solidFill>
          <a:srgbClr val="DB536A"/>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dirty="0"/>
              <a:t>[Section header title]</a:t>
            </a:r>
            <a:endParaRPr lang="en-GB" dirty="0"/>
          </a:p>
        </p:txBody>
      </p:sp>
      <p:sp>
        <p:nvSpPr>
          <p:cNvPr id="5" name="Subtitle 2">
            <a:extLst>
              <a:ext uri="{FF2B5EF4-FFF2-40B4-BE49-F238E27FC236}">
                <a16:creationId xmlns:a16="http://schemas.microsoft.com/office/drawing/2014/main" id="{96D911B5-C441-B44D-9980-56426B1A1974}"/>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dirty="0"/>
              <a:t>0</a:t>
            </a:r>
          </a:p>
        </p:txBody>
      </p:sp>
    </p:spTree>
    <p:extLst>
      <p:ext uri="{BB962C8B-B14F-4D97-AF65-F5344CB8AC3E}">
        <p14:creationId xmlns:p14="http://schemas.microsoft.com/office/powerpoint/2010/main" val="422854080"/>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dirty="0"/>
              <a:t>[Section header title]</a:t>
            </a:r>
            <a:endParaRPr lang="en-GB" dirty="0"/>
          </a:p>
        </p:txBody>
      </p:sp>
      <p:sp>
        <p:nvSpPr>
          <p:cNvPr id="5" name="Subtitle 2">
            <a:extLst>
              <a:ext uri="{FF2B5EF4-FFF2-40B4-BE49-F238E27FC236}">
                <a16:creationId xmlns:a16="http://schemas.microsoft.com/office/drawing/2014/main" id="{4F941B13-F925-1C4F-8990-F4149ED1B18B}"/>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dirty="0"/>
              <a:t>0</a:t>
            </a:r>
          </a:p>
        </p:txBody>
      </p:sp>
    </p:spTree>
    <p:extLst>
      <p:ext uri="{BB962C8B-B14F-4D97-AF65-F5344CB8AC3E}">
        <p14:creationId xmlns:p14="http://schemas.microsoft.com/office/powerpoint/2010/main" val="1210266359"/>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Manual">
    <p:bg>
      <p:bgPr>
        <a:solidFill>
          <a:srgbClr val="D04A0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9D68526-5625-1E4A-90D0-6166C1CB098D}"/>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dirty="0"/>
              <a:t>0</a:t>
            </a:r>
            <a:endParaRPr lang="en-GB" dirty="0"/>
          </a:p>
        </p:txBody>
      </p:sp>
    </p:spTree>
    <p:extLst>
      <p:ext uri="{BB962C8B-B14F-4D97-AF65-F5344CB8AC3E}">
        <p14:creationId xmlns:p14="http://schemas.microsoft.com/office/powerpoint/2010/main" val="237858898"/>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Manual">
    <p:bg>
      <p:bgPr>
        <a:solidFill>
          <a:srgbClr val="E03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054294-58FB-3646-A032-19FD697995B5}"/>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dirty="0"/>
              <a:t>0</a:t>
            </a:r>
            <a:endParaRPr lang="en-GB" dirty="0"/>
          </a:p>
        </p:txBody>
      </p:sp>
    </p:spTree>
    <p:extLst>
      <p:ext uri="{BB962C8B-B14F-4D97-AF65-F5344CB8AC3E}">
        <p14:creationId xmlns:p14="http://schemas.microsoft.com/office/powerpoint/2010/main" val="25589264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All Whit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tx1"/>
                </a:solidFill>
              </a:defRPr>
            </a:lvl1pPr>
          </a:lstStyle>
          <a:p>
            <a:r>
              <a:rPr lang="en-US" dirty="0"/>
              <a:t>[Presentation title]</a:t>
            </a:r>
            <a:endParaRPr lang="en-GB" dirty="0"/>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dirty="0"/>
              <a:t>[Presentation subtitle]</a:t>
            </a:r>
          </a:p>
        </p:txBody>
      </p:sp>
    </p:spTree>
    <p:extLst>
      <p:ext uri="{BB962C8B-B14F-4D97-AF65-F5344CB8AC3E}">
        <p14:creationId xmlns:p14="http://schemas.microsoft.com/office/powerpoint/2010/main" val="3649151057"/>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Manual">
    <p:bg>
      <p:bgPr>
        <a:solidFill>
          <a:srgbClr val="DB536A"/>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F4BCE9-03B0-5C4D-A70B-519F67263FF7}"/>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dirty="0"/>
              <a:t>0</a:t>
            </a:r>
            <a:endParaRPr lang="en-GB" dirty="0"/>
          </a:p>
        </p:txBody>
      </p:sp>
    </p:spTree>
    <p:extLst>
      <p:ext uri="{BB962C8B-B14F-4D97-AF65-F5344CB8AC3E}">
        <p14:creationId xmlns:p14="http://schemas.microsoft.com/office/powerpoint/2010/main" val="16867170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Manual">
    <p:bg>
      <p:bgPr>
        <a:solidFill>
          <a:srgbClr val="46464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D146EE5-5980-A84E-9311-F5B9956E43AB}"/>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dirty="0"/>
              <a:t>0</a:t>
            </a:r>
            <a:endParaRPr lang="en-GB" dirty="0"/>
          </a:p>
        </p:txBody>
      </p:sp>
    </p:spTree>
    <p:extLst>
      <p:ext uri="{BB962C8B-B14F-4D97-AF65-F5344CB8AC3E}">
        <p14:creationId xmlns:p14="http://schemas.microsoft.com/office/powerpoint/2010/main" val="387444473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title]</a:t>
            </a:r>
            <a:endParaRPr lang="en-GB" dirty="0"/>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a:lstStyle/>
          <a:p>
            <a:r>
              <a:rPr lang="en-IN"/>
              <a:t>April 2023 </a:t>
            </a:r>
            <a:endParaRPr lang="en-US" dirty="0"/>
          </a:p>
        </p:txBody>
      </p:sp>
    </p:spTree>
    <p:extLst>
      <p:ext uri="{BB962C8B-B14F-4D97-AF65-F5344CB8AC3E}">
        <p14:creationId xmlns:p14="http://schemas.microsoft.com/office/powerpoint/2010/main" val="15315883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2" name="Date Placeholder 1">
            <a:extLst>
              <a:ext uri="{FF2B5EF4-FFF2-40B4-BE49-F238E27FC236}">
                <a16:creationId xmlns:a16="http://schemas.microsoft.com/office/drawing/2014/main" id="{859B7FC3-54D3-A044-9662-AED001F4D972}"/>
              </a:ext>
            </a:extLst>
          </p:cNvPr>
          <p:cNvSpPr>
            <a:spLocks noGrp="1"/>
          </p:cNvSpPr>
          <p:nvPr>
            <p:ph type="dt" sz="half" idx="12"/>
          </p:nvPr>
        </p:nvSpPr>
        <p:spPr/>
        <p:txBody>
          <a:bodyPr/>
          <a:lstStyle/>
          <a:p>
            <a:r>
              <a:rPr lang="en-IN"/>
              <a:t>April 2023 </a:t>
            </a:r>
            <a:endParaRPr lang="en-US" dirty="0"/>
          </a:p>
        </p:txBody>
      </p:sp>
    </p:spTree>
    <p:extLst>
      <p:ext uri="{BB962C8B-B14F-4D97-AF65-F5344CB8AC3E}">
        <p14:creationId xmlns:p14="http://schemas.microsoft.com/office/powerpoint/2010/main" val="307957971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hank You Dark">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bg1"/>
                </a:solidFill>
              </a:defRPr>
            </a:lvl1pPr>
          </a:lstStyle>
          <a:p>
            <a:r>
              <a:rPr lang="en-US" dirty="0"/>
              <a:t>Thank you</a:t>
            </a:r>
            <a:endParaRPr lang="en-GB" dirty="0"/>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869499770"/>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hank You Light">
    <p:bg>
      <p:bgRef idx="1001">
        <a:schemeClr val="bg1"/>
      </p:bgRef>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tx1"/>
                </a:solidFill>
              </a:defRPr>
            </a:lvl1pPr>
          </a:lstStyle>
          <a:p>
            <a:r>
              <a:rPr lang="en-US" dirty="0"/>
              <a:t>Thank you</a:t>
            </a:r>
            <a:endParaRPr lang="en-GB" dirty="0"/>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dirty="0"/>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 name="TextBox 7">
            <a:extLst>
              <a:ext uri="{FF2B5EF4-FFF2-40B4-BE49-F238E27FC236}">
                <a16:creationId xmlns:a16="http://schemas.microsoft.com/office/drawing/2014/main" id="{3745B5A1-1961-2549-9AC7-6FB51905A5F2}"/>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dirty="0">
                <a:solidFill>
                  <a:schemeClr val="tx1"/>
                </a:solidFill>
              </a:rPr>
              <a:t> .com</a:t>
            </a:r>
          </a:p>
        </p:txBody>
      </p:sp>
    </p:spTree>
    <p:extLst>
      <p:ext uri="{BB962C8B-B14F-4D97-AF65-F5344CB8AC3E}">
        <p14:creationId xmlns:p14="http://schemas.microsoft.com/office/powerpoint/2010/main" val="327065129"/>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1_Title Slide 2">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0" y="0"/>
            <a:ext cx="12192000" cy="6858000"/>
          </a:xfrm>
          <a:prstGeom prst="rect">
            <a:avLst/>
          </a:prstGeom>
          <a:solidFill>
            <a:srgbClr val="DEDEDE"/>
          </a:solidFill>
        </p:spPr>
        <p:txBody>
          <a:bodyPr anchor="ctr" anchorCtr="0"/>
          <a:lstStyle>
            <a:lvl1pPr algn="ctr">
              <a:defRPr sz="1200" b="0">
                <a:solidFill>
                  <a:schemeClr val="tx1"/>
                </a:solidFill>
              </a:defRPr>
            </a:lvl1pPr>
          </a:lstStyle>
          <a:p>
            <a:r>
              <a:rPr lang="en-US" dirty="0"/>
              <a:t>Click icon to add picture</a:t>
            </a:r>
            <a:endParaRPr lang="en-GB" dirty="0"/>
          </a:p>
        </p:txBody>
      </p:sp>
    </p:spTree>
    <p:extLst>
      <p:ext uri="{BB962C8B-B14F-4D97-AF65-F5344CB8AC3E}">
        <p14:creationId xmlns:p14="http://schemas.microsoft.com/office/powerpoint/2010/main" val="240121127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1_Thank You Dark">
    <p:bg>
      <p:bgPr>
        <a:solidFill>
          <a:srgbClr val="464646"/>
        </a:solidFill>
        <a:effectLst/>
      </p:bgPr>
    </p:bg>
    <p:spTree>
      <p:nvGrpSpPr>
        <p:cNvPr id="1" name=""/>
        <p:cNvGrpSpPr/>
        <p:nvPr/>
      </p:nvGrpSpPr>
      <p:grpSpPr>
        <a:xfrm>
          <a:off x="0" y="0"/>
          <a:ext cx="0" cy="0"/>
          <a:chOff x="0" y="0"/>
          <a:chExt cx="0" cy="0"/>
        </a:xfrm>
      </p:grpSpPr>
      <p:sp>
        <p:nvSpPr>
          <p:cNvPr id="14" name="Rectangle 13"/>
          <p:cNvSpPr/>
          <p:nvPr/>
        </p:nvSpPr>
        <p:spPr bwMode="hidden">
          <a:xfrm>
            <a:off x="0" y="4074160"/>
            <a:ext cx="12192000" cy="27838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bg1"/>
                </a:solidFill>
              </a:defRPr>
            </a:lvl1pPr>
          </a:lstStyle>
          <a:p>
            <a:r>
              <a:rPr lang="en-US"/>
              <a:t>Thank you</a:t>
            </a:r>
            <a:endParaRPr lang="en-US" dirty="0"/>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dirty="0"/>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43938122"/>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20CA0E-1800-4A6F-81A0-96FD47F7BB5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533538A-2B03-48AE-AADD-C136B406C36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4989CF2-FBD2-4D54-B439-A1BEBD31760B}"/>
              </a:ext>
            </a:extLst>
          </p:cNvPr>
          <p:cNvSpPr>
            <a:spLocks noGrp="1"/>
          </p:cNvSpPr>
          <p:nvPr>
            <p:ph type="dt" sz="half" idx="10"/>
          </p:nvPr>
        </p:nvSpPr>
        <p:spPr/>
        <p:txBody>
          <a:bodyPr/>
          <a:lstStyle/>
          <a:p>
            <a:fld id="{4E51841F-48B3-4A96-A2C2-3A6E091F7A76}" type="datetimeFigureOut">
              <a:rPr lang="en-US" smtClean="0"/>
              <a:t>12/4/2023</a:t>
            </a:fld>
            <a:endParaRPr lang="en-US"/>
          </a:p>
        </p:txBody>
      </p:sp>
      <p:sp>
        <p:nvSpPr>
          <p:cNvPr id="5" name="Footer Placeholder 4">
            <a:extLst>
              <a:ext uri="{FF2B5EF4-FFF2-40B4-BE49-F238E27FC236}">
                <a16:creationId xmlns:a16="http://schemas.microsoft.com/office/drawing/2014/main" id="{B9D43768-DD86-4239-A9E3-1F56D607B5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8247C93-FBCB-4C6B-92B1-A471CB3C85AE}"/>
              </a:ext>
            </a:extLst>
          </p:cNvPr>
          <p:cNvSpPr>
            <a:spLocks noGrp="1"/>
          </p:cNvSpPr>
          <p:nvPr>
            <p:ph type="sldNum" sz="quarter" idx="12"/>
          </p:nvPr>
        </p:nvSpPr>
        <p:spPr/>
        <p:txBody>
          <a:bodyPr/>
          <a:lstStyle/>
          <a:p>
            <a:fld id="{18F62AE6-6212-412D-9E98-8FED8C6A5FF8}" type="slidenum">
              <a:rPr lang="en-US" smtClean="0"/>
              <a:t>‹#›</a:t>
            </a:fld>
            <a:endParaRPr lang="en-US"/>
          </a:p>
        </p:txBody>
      </p:sp>
    </p:spTree>
    <p:extLst>
      <p:ext uri="{BB962C8B-B14F-4D97-AF65-F5344CB8AC3E}">
        <p14:creationId xmlns:p14="http://schemas.microsoft.com/office/powerpoint/2010/main" val="157728796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38F9F-2660-4E6A-BFA6-5669D8828C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3EC71BE-52D0-4B5F-8B45-B6C1457EC91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338562-3956-46B1-A261-928CC636CA81}"/>
              </a:ext>
            </a:extLst>
          </p:cNvPr>
          <p:cNvSpPr>
            <a:spLocks noGrp="1"/>
          </p:cNvSpPr>
          <p:nvPr>
            <p:ph type="dt" sz="half" idx="10"/>
          </p:nvPr>
        </p:nvSpPr>
        <p:spPr/>
        <p:txBody>
          <a:bodyPr/>
          <a:lstStyle/>
          <a:p>
            <a:fld id="{4E51841F-48B3-4A96-A2C2-3A6E091F7A76}" type="datetimeFigureOut">
              <a:rPr lang="en-US" smtClean="0"/>
              <a:t>12/4/2023</a:t>
            </a:fld>
            <a:endParaRPr lang="en-US"/>
          </a:p>
        </p:txBody>
      </p:sp>
      <p:sp>
        <p:nvSpPr>
          <p:cNvPr id="5" name="Footer Placeholder 4">
            <a:extLst>
              <a:ext uri="{FF2B5EF4-FFF2-40B4-BE49-F238E27FC236}">
                <a16:creationId xmlns:a16="http://schemas.microsoft.com/office/drawing/2014/main" id="{8684E69D-1017-4D06-8428-B598D502EE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12E1BED-811F-41F9-8E47-EE6970977E53}"/>
              </a:ext>
            </a:extLst>
          </p:cNvPr>
          <p:cNvSpPr>
            <a:spLocks noGrp="1"/>
          </p:cNvSpPr>
          <p:nvPr>
            <p:ph type="sldNum" sz="quarter" idx="12"/>
          </p:nvPr>
        </p:nvSpPr>
        <p:spPr/>
        <p:txBody>
          <a:bodyPr/>
          <a:lstStyle/>
          <a:p>
            <a:fld id="{18F62AE6-6212-412D-9E98-8FED8C6A5FF8}" type="slidenum">
              <a:rPr lang="en-US" smtClean="0"/>
              <a:t>‹#›</a:t>
            </a:fld>
            <a:endParaRPr lang="en-US"/>
          </a:p>
        </p:txBody>
      </p:sp>
    </p:spTree>
    <p:extLst>
      <p:ext uri="{BB962C8B-B14F-4D97-AF65-F5344CB8AC3E}">
        <p14:creationId xmlns:p14="http://schemas.microsoft.com/office/powerpoint/2010/main" val="30203650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6096000" y="0"/>
            <a:ext cx="6096000" cy="4575812"/>
          </a:xfrm>
          <a:solidFill>
            <a:srgbClr val="DEDEDE"/>
          </a:solidFill>
        </p:spPr>
        <p:txBody>
          <a:bodyPr anchor="ctr" anchorCtr="0"/>
          <a:lstStyle>
            <a:lvl1pPr algn="ctr">
              <a:defRPr sz="1200" b="0">
                <a:solidFill>
                  <a:schemeClr val="tx1"/>
                </a:solidFill>
              </a:defRPr>
            </a:lvl1pPr>
          </a:lstStyle>
          <a:p>
            <a:r>
              <a:rPr lang="en-GB" dirty="0"/>
              <a:t>Click icon to add picture</a:t>
            </a:r>
          </a:p>
        </p:txBody>
      </p:sp>
      <p:sp>
        <p:nvSpPr>
          <p:cNvPr id="9" name="Rectangle 8"/>
          <p:cNvSpPr/>
          <p:nvPr/>
        </p:nvSpPr>
        <p:spPr bwMode="hidden">
          <a:xfrm>
            <a:off x="0" y="0"/>
            <a:ext cx="6096000" cy="4575812"/>
          </a:xfrm>
          <a:prstGeom prst="rect">
            <a:avLst/>
          </a:prstGeom>
          <a:solidFill>
            <a:srgbClr val="00000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p:cNvSpPr/>
          <p:nvPr/>
        </p:nvSpPr>
        <p:spPr bwMode="hidden">
          <a:xfrm>
            <a:off x="0" y="4575812"/>
            <a:ext cx="6096000" cy="22821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hasCustomPrompt="1"/>
          </p:nvPr>
        </p:nvSpPr>
        <p:spPr>
          <a:xfrm>
            <a:off x="442913" y="428625"/>
            <a:ext cx="5473700" cy="2066926"/>
          </a:xfrm>
        </p:spPr>
        <p:txBody>
          <a:bodyPr anchor="b" anchorCtr="0"/>
          <a:lstStyle>
            <a:lvl1pPr algn="l">
              <a:lnSpc>
                <a:spcPct val="85000"/>
              </a:lnSpc>
              <a:defRPr sz="5000">
                <a:solidFill>
                  <a:schemeClr val="bg1"/>
                </a:solidFill>
              </a:defRPr>
            </a:lvl1pPr>
          </a:lstStyle>
          <a:p>
            <a:r>
              <a:rPr lang="en-US" dirty="0"/>
              <a:t>[Presentation title]</a:t>
            </a:r>
            <a:endParaRPr lang="en-GB" dirty="0"/>
          </a:p>
        </p:txBody>
      </p:sp>
      <p:sp>
        <p:nvSpPr>
          <p:cNvPr id="3" name="Subtitle 2"/>
          <p:cNvSpPr>
            <a:spLocks noGrp="1"/>
          </p:cNvSpPr>
          <p:nvPr>
            <p:ph type="subTitle" idx="1" hasCustomPrompt="1"/>
          </p:nvPr>
        </p:nvSpPr>
        <p:spPr>
          <a:xfrm>
            <a:off x="442913" y="5101594"/>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dirty="0"/>
              <a:t>[Presentation subtitle]</a:t>
            </a:r>
          </a:p>
        </p:txBody>
      </p:sp>
    </p:spTree>
    <p:extLst>
      <p:ext uri="{BB962C8B-B14F-4D97-AF65-F5344CB8AC3E}">
        <p14:creationId xmlns:p14="http://schemas.microsoft.com/office/powerpoint/2010/main" val="374648880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6FCE4A-F98D-4985-9FA5-C1C71DD1E18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EC4046A-9FDE-4616-9525-C6EFB3D6547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703C7A-4A44-4367-B4F5-8878A81F3186}"/>
              </a:ext>
            </a:extLst>
          </p:cNvPr>
          <p:cNvSpPr>
            <a:spLocks noGrp="1"/>
          </p:cNvSpPr>
          <p:nvPr>
            <p:ph type="dt" sz="half" idx="10"/>
          </p:nvPr>
        </p:nvSpPr>
        <p:spPr/>
        <p:txBody>
          <a:bodyPr/>
          <a:lstStyle/>
          <a:p>
            <a:fld id="{4E51841F-48B3-4A96-A2C2-3A6E091F7A76}" type="datetimeFigureOut">
              <a:rPr lang="en-US" smtClean="0"/>
              <a:t>12/4/2023</a:t>
            </a:fld>
            <a:endParaRPr lang="en-US"/>
          </a:p>
        </p:txBody>
      </p:sp>
      <p:sp>
        <p:nvSpPr>
          <p:cNvPr id="5" name="Footer Placeholder 4">
            <a:extLst>
              <a:ext uri="{FF2B5EF4-FFF2-40B4-BE49-F238E27FC236}">
                <a16:creationId xmlns:a16="http://schemas.microsoft.com/office/drawing/2014/main" id="{025EC3A9-A5B3-4F95-ACA1-F93D1AAE62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0AE552-F7EF-427A-A823-2FAE8FFA54C9}"/>
              </a:ext>
            </a:extLst>
          </p:cNvPr>
          <p:cNvSpPr>
            <a:spLocks noGrp="1"/>
          </p:cNvSpPr>
          <p:nvPr>
            <p:ph type="sldNum" sz="quarter" idx="12"/>
          </p:nvPr>
        </p:nvSpPr>
        <p:spPr/>
        <p:txBody>
          <a:bodyPr/>
          <a:lstStyle/>
          <a:p>
            <a:fld id="{18F62AE6-6212-412D-9E98-8FED8C6A5FF8}" type="slidenum">
              <a:rPr lang="en-US" smtClean="0"/>
              <a:t>‹#›</a:t>
            </a:fld>
            <a:endParaRPr lang="en-US"/>
          </a:p>
        </p:txBody>
      </p:sp>
    </p:spTree>
    <p:extLst>
      <p:ext uri="{BB962C8B-B14F-4D97-AF65-F5344CB8AC3E}">
        <p14:creationId xmlns:p14="http://schemas.microsoft.com/office/powerpoint/2010/main" val="124159621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8DB1D4-711D-421B-8EF4-FE9662425C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1F9FB19-CB23-4894-87C8-191F8F55240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55EDD4-C2B3-4E87-85AA-68A891521F7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D27B2A4-B5A3-4F2F-80C7-5FD9E4F7F376}"/>
              </a:ext>
            </a:extLst>
          </p:cNvPr>
          <p:cNvSpPr>
            <a:spLocks noGrp="1"/>
          </p:cNvSpPr>
          <p:nvPr>
            <p:ph type="dt" sz="half" idx="10"/>
          </p:nvPr>
        </p:nvSpPr>
        <p:spPr/>
        <p:txBody>
          <a:bodyPr/>
          <a:lstStyle/>
          <a:p>
            <a:fld id="{4E51841F-48B3-4A96-A2C2-3A6E091F7A76}" type="datetimeFigureOut">
              <a:rPr lang="en-US" smtClean="0"/>
              <a:t>12/4/2023</a:t>
            </a:fld>
            <a:endParaRPr lang="en-US"/>
          </a:p>
        </p:txBody>
      </p:sp>
      <p:sp>
        <p:nvSpPr>
          <p:cNvPr id="6" name="Footer Placeholder 5">
            <a:extLst>
              <a:ext uri="{FF2B5EF4-FFF2-40B4-BE49-F238E27FC236}">
                <a16:creationId xmlns:a16="http://schemas.microsoft.com/office/drawing/2014/main" id="{660A8E3A-A123-48A7-9008-B4F21094596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10DABCD-EB6D-4B22-93AB-A13BA8135C19}"/>
              </a:ext>
            </a:extLst>
          </p:cNvPr>
          <p:cNvSpPr>
            <a:spLocks noGrp="1"/>
          </p:cNvSpPr>
          <p:nvPr>
            <p:ph type="sldNum" sz="quarter" idx="12"/>
          </p:nvPr>
        </p:nvSpPr>
        <p:spPr/>
        <p:txBody>
          <a:bodyPr/>
          <a:lstStyle/>
          <a:p>
            <a:fld id="{18F62AE6-6212-412D-9E98-8FED8C6A5FF8}" type="slidenum">
              <a:rPr lang="en-US" smtClean="0"/>
              <a:t>‹#›</a:t>
            </a:fld>
            <a:endParaRPr lang="en-US"/>
          </a:p>
        </p:txBody>
      </p:sp>
    </p:spTree>
    <p:extLst>
      <p:ext uri="{BB962C8B-B14F-4D97-AF65-F5344CB8AC3E}">
        <p14:creationId xmlns:p14="http://schemas.microsoft.com/office/powerpoint/2010/main" val="33285876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FD4E7E-ED16-4110-8BF0-F2B33F3C595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7D12DA1-665C-4B69-AE90-8821BDF5602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8D59907-47B0-4DF0-B0FA-81B4C23E80A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492C182-9D86-4E24-A8EA-4DAF32C7354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32ECBC2-5F8B-41D1-BFC7-1278F0D1B23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6C2B74C-E46E-4EDB-AC8C-B9CCA4BC9483}"/>
              </a:ext>
            </a:extLst>
          </p:cNvPr>
          <p:cNvSpPr>
            <a:spLocks noGrp="1"/>
          </p:cNvSpPr>
          <p:nvPr>
            <p:ph type="dt" sz="half" idx="10"/>
          </p:nvPr>
        </p:nvSpPr>
        <p:spPr/>
        <p:txBody>
          <a:bodyPr/>
          <a:lstStyle/>
          <a:p>
            <a:fld id="{4E51841F-48B3-4A96-A2C2-3A6E091F7A76}" type="datetimeFigureOut">
              <a:rPr lang="en-US" smtClean="0"/>
              <a:t>12/4/2023</a:t>
            </a:fld>
            <a:endParaRPr lang="en-US"/>
          </a:p>
        </p:txBody>
      </p:sp>
      <p:sp>
        <p:nvSpPr>
          <p:cNvPr id="8" name="Footer Placeholder 7">
            <a:extLst>
              <a:ext uri="{FF2B5EF4-FFF2-40B4-BE49-F238E27FC236}">
                <a16:creationId xmlns:a16="http://schemas.microsoft.com/office/drawing/2014/main" id="{6238A027-8DF2-437B-AFC8-CC76AD49A1D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DA302A3-61EC-42FC-9A84-F6D074143600}"/>
              </a:ext>
            </a:extLst>
          </p:cNvPr>
          <p:cNvSpPr>
            <a:spLocks noGrp="1"/>
          </p:cNvSpPr>
          <p:nvPr>
            <p:ph type="sldNum" sz="quarter" idx="12"/>
          </p:nvPr>
        </p:nvSpPr>
        <p:spPr/>
        <p:txBody>
          <a:bodyPr/>
          <a:lstStyle/>
          <a:p>
            <a:fld id="{18F62AE6-6212-412D-9E98-8FED8C6A5FF8}" type="slidenum">
              <a:rPr lang="en-US" smtClean="0"/>
              <a:t>‹#›</a:t>
            </a:fld>
            <a:endParaRPr lang="en-US"/>
          </a:p>
        </p:txBody>
      </p:sp>
    </p:spTree>
    <p:extLst>
      <p:ext uri="{BB962C8B-B14F-4D97-AF65-F5344CB8AC3E}">
        <p14:creationId xmlns:p14="http://schemas.microsoft.com/office/powerpoint/2010/main" val="387076420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143AA-A439-4045-846A-CA598966884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0576D63-28DD-4A2B-98D1-5DC866929A95}"/>
              </a:ext>
            </a:extLst>
          </p:cNvPr>
          <p:cNvSpPr>
            <a:spLocks noGrp="1"/>
          </p:cNvSpPr>
          <p:nvPr>
            <p:ph type="dt" sz="half" idx="10"/>
          </p:nvPr>
        </p:nvSpPr>
        <p:spPr/>
        <p:txBody>
          <a:bodyPr/>
          <a:lstStyle/>
          <a:p>
            <a:fld id="{4E51841F-48B3-4A96-A2C2-3A6E091F7A76}" type="datetimeFigureOut">
              <a:rPr lang="en-US" smtClean="0"/>
              <a:t>12/4/2023</a:t>
            </a:fld>
            <a:endParaRPr lang="en-US"/>
          </a:p>
        </p:txBody>
      </p:sp>
      <p:sp>
        <p:nvSpPr>
          <p:cNvPr id="4" name="Footer Placeholder 3">
            <a:extLst>
              <a:ext uri="{FF2B5EF4-FFF2-40B4-BE49-F238E27FC236}">
                <a16:creationId xmlns:a16="http://schemas.microsoft.com/office/drawing/2014/main" id="{F1F0C24E-76F5-4898-A61A-17B284E9B3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19800C3-EA84-40E4-BB50-9F6439E2702F}"/>
              </a:ext>
            </a:extLst>
          </p:cNvPr>
          <p:cNvSpPr>
            <a:spLocks noGrp="1"/>
          </p:cNvSpPr>
          <p:nvPr>
            <p:ph type="sldNum" sz="quarter" idx="12"/>
          </p:nvPr>
        </p:nvSpPr>
        <p:spPr/>
        <p:txBody>
          <a:bodyPr/>
          <a:lstStyle/>
          <a:p>
            <a:fld id="{18F62AE6-6212-412D-9E98-8FED8C6A5FF8}" type="slidenum">
              <a:rPr lang="en-US" smtClean="0"/>
              <a:t>‹#›</a:t>
            </a:fld>
            <a:endParaRPr lang="en-US"/>
          </a:p>
        </p:txBody>
      </p:sp>
    </p:spTree>
    <p:extLst>
      <p:ext uri="{BB962C8B-B14F-4D97-AF65-F5344CB8AC3E}">
        <p14:creationId xmlns:p14="http://schemas.microsoft.com/office/powerpoint/2010/main" val="341093013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04FDE62-9B4D-4AF2-9971-66FA59B5A621}"/>
              </a:ext>
            </a:extLst>
          </p:cNvPr>
          <p:cNvSpPr>
            <a:spLocks noGrp="1"/>
          </p:cNvSpPr>
          <p:nvPr>
            <p:ph type="dt" sz="half" idx="10"/>
          </p:nvPr>
        </p:nvSpPr>
        <p:spPr/>
        <p:txBody>
          <a:bodyPr/>
          <a:lstStyle/>
          <a:p>
            <a:fld id="{4E51841F-48B3-4A96-A2C2-3A6E091F7A76}" type="datetimeFigureOut">
              <a:rPr lang="en-US" smtClean="0"/>
              <a:t>12/4/2023</a:t>
            </a:fld>
            <a:endParaRPr lang="en-US"/>
          </a:p>
        </p:txBody>
      </p:sp>
      <p:sp>
        <p:nvSpPr>
          <p:cNvPr id="3" name="Footer Placeholder 2">
            <a:extLst>
              <a:ext uri="{FF2B5EF4-FFF2-40B4-BE49-F238E27FC236}">
                <a16:creationId xmlns:a16="http://schemas.microsoft.com/office/drawing/2014/main" id="{844CE2B9-E458-4D22-9675-DD14ADBDD92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529035A-9F86-4EAA-96E2-A490FBAD0FF1}"/>
              </a:ext>
            </a:extLst>
          </p:cNvPr>
          <p:cNvSpPr>
            <a:spLocks noGrp="1"/>
          </p:cNvSpPr>
          <p:nvPr>
            <p:ph type="sldNum" sz="quarter" idx="12"/>
          </p:nvPr>
        </p:nvSpPr>
        <p:spPr/>
        <p:txBody>
          <a:bodyPr/>
          <a:lstStyle/>
          <a:p>
            <a:fld id="{18F62AE6-6212-412D-9E98-8FED8C6A5FF8}" type="slidenum">
              <a:rPr lang="en-US" smtClean="0"/>
              <a:t>‹#›</a:t>
            </a:fld>
            <a:endParaRPr lang="en-US"/>
          </a:p>
        </p:txBody>
      </p:sp>
    </p:spTree>
    <p:extLst>
      <p:ext uri="{BB962C8B-B14F-4D97-AF65-F5344CB8AC3E}">
        <p14:creationId xmlns:p14="http://schemas.microsoft.com/office/powerpoint/2010/main" val="381069790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DF895-DC09-4C26-B71C-E1913F5AAC0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ECE40D8-01F3-450C-8094-6242CBADEEA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B26C855-1DE4-4ECA-8012-4743F644BF7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5FF9F74-00BC-41D0-A5F3-510981F2471C}"/>
              </a:ext>
            </a:extLst>
          </p:cNvPr>
          <p:cNvSpPr>
            <a:spLocks noGrp="1"/>
          </p:cNvSpPr>
          <p:nvPr>
            <p:ph type="dt" sz="half" idx="10"/>
          </p:nvPr>
        </p:nvSpPr>
        <p:spPr/>
        <p:txBody>
          <a:bodyPr/>
          <a:lstStyle/>
          <a:p>
            <a:fld id="{4E51841F-48B3-4A96-A2C2-3A6E091F7A76}" type="datetimeFigureOut">
              <a:rPr lang="en-US" smtClean="0"/>
              <a:t>12/4/2023</a:t>
            </a:fld>
            <a:endParaRPr lang="en-US"/>
          </a:p>
        </p:txBody>
      </p:sp>
      <p:sp>
        <p:nvSpPr>
          <p:cNvPr id="6" name="Footer Placeholder 5">
            <a:extLst>
              <a:ext uri="{FF2B5EF4-FFF2-40B4-BE49-F238E27FC236}">
                <a16:creationId xmlns:a16="http://schemas.microsoft.com/office/drawing/2014/main" id="{C64DA41A-0158-462E-9698-B61CC6272F7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980B815-75A4-4AC7-B6EB-C807A4AF164F}"/>
              </a:ext>
            </a:extLst>
          </p:cNvPr>
          <p:cNvSpPr>
            <a:spLocks noGrp="1"/>
          </p:cNvSpPr>
          <p:nvPr>
            <p:ph type="sldNum" sz="quarter" idx="12"/>
          </p:nvPr>
        </p:nvSpPr>
        <p:spPr/>
        <p:txBody>
          <a:bodyPr/>
          <a:lstStyle/>
          <a:p>
            <a:fld id="{18F62AE6-6212-412D-9E98-8FED8C6A5FF8}" type="slidenum">
              <a:rPr lang="en-US" smtClean="0"/>
              <a:t>‹#›</a:t>
            </a:fld>
            <a:endParaRPr lang="en-US"/>
          </a:p>
        </p:txBody>
      </p:sp>
    </p:spTree>
    <p:extLst>
      <p:ext uri="{BB962C8B-B14F-4D97-AF65-F5344CB8AC3E}">
        <p14:creationId xmlns:p14="http://schemas.microsoft.com/office/powerpoint/2010/main" val="36395630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878ED0-A4C4-463A-80DC-FC919744AD1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FBF58DB-4FB9-4446-8F26-E6698CF43C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C6A8B0F-F68A-49E6-9690-391F405B9D9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C081C40-702E-4E3F-8BFF-DF28BD2BD3A5}"/>
              </a:ext>
            </a:extLst>
          </p:cNvPr>
          <p:cNvSpPr>
            <a:spLocks noGrp="1"/>
          </p:cNvSpPr>
          <p:nvPr>
            <p:ph type="dt" sz="half" idx="10"/>
          </p:nvPr>
        </p:nvSpPr>
        <p:spPr/>
        <p:txBody>
          <a:bodyPr/>
          <a:lstStyle/>
          <a:p>
            <a:fld id="{4E51841F-48B3-4A96-A2C2-3A6E091F7A76}" type="datetimeFigureOut">
              <a:rPr lang="en-US" smtClean="0"/>
              <a:t>12/4/2023</a:t>
            </a:fld>
            <a:endParaRPr lang="en-US"/>
          </a:p>
        </p:txBody>
      </p:sp>
      <p:sp>
        <p:nvSpPr>
          <p:cNvPr id="6" name="Footer Placeholder 5">
            <a:extLst>
              <a:ext uri="{FF2B5EF4-FFF2-40B4-BE49-F238E27FC236}">
                <a16:creationId xmlns:a16="http://schemas.microsoft.com/office/drawing/2014/main" id="{394A4985-D191-4BFA-894A-8761B78CACF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B0BF87E-72EF-40FB-AB1E-D4D81CD1A77A}"/>
              </a:ext>
            </a:extLst>
          </p:cNvPr>
          <p:cNvSpPr>
            <a:spLocks noGrp="1"/>
          </p:cNvSpPr>
          <p:nvPr>
            <p:ph type="sldNum" sz="quarter" idx="12"/>
          </p:nvPr>
        </p:nvSpPr>
        <p:spPr/>
        <p:txBody>
          <a:bodyPr/>
          <a:lstStyle/>
          <a:p>
            <a:fld id="{18F62AE6-6212-412D-9E98-8FED8C6A5FF8}" type="slidenum">
              <a:rPr lang="en-US" smtClean="0"/>
              <a:t>‹#›</a:t>
            </a:fld>
            <a:endParaRPr lang="en-US"/>
          </a:p>
        </p:txBody>
      </p:sp>
    </p:spTree>
    <p:extLst>
      <p:ext uri="{BB962C8B-B14F-4D97-AF65-F5344CB8AC3E}">
        <p14:creationId xmlns:p14="http://schemas.microsoft.com/office/powerpoint/2010/main" val="195663980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B6411C-A489-4F25-A93C-CF5E7580BFA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B70D076-2668-4876-AE4E-1AAA9CB495F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474F8A-9C11-4F4C-95C1-638303D0C151}"/>
              </a:ext>
            </a:extLst>
          </p:cNvPr>
          <p:cNvSpPr>
            <a:spLocks noGrp="1"/>
          </p:cNvSpPr>
          <p:nvPr>
            <p:ph type="dt" sz="half" idx="10"/>
          </p:nvPr>
        </p:nvSpPr>
        <p:spPr/>
        <p:txBody>
          <a:bodyPr/>
          <a:lstStyle/>
          <a:p>
            <a:fld id="{4E51841F-48B3-4A96-A2C2-3A6E091F7A76}" type="datetimeFigureOut">
              <a:rPr lang="en-US" smtClean="0"/>
              <a:t>12/4/2023</a:t>
            </a:fld>
            <a:endParaRPr lang="en-US"/>
          </a:p>
        </p:txBody>
      </p:sp>
      <p:sp>
        <p:nvSpPr>
          <p:cNvPr id="5" name="Footer Placeholder 4">
            <a:extLst>
              <a:ext uri="{FF2B5EF4-FFF2-40B4-BE49-F238E27FC236}">
                <a16:creationId xmlns:a16="http://schemas.microsoft.com/office/drawing/2014/main" id="{CA7CFBC2-5165-4810-A082-F9096D3C75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7592A7-2710-447C-8D22-C3D1828A689E}"/>
              </a:ext>
            </a:extLst>
          </p:cNvPr>
          <p:cNvSpPr>
            <a:spLocks noGrp="1"/>
          </p:cNvSpPr>
          <p:nvPr>
            <p:ph type="sldNum" sz="quarter" idx="12"/>
          </p:nvPr>
        </p:nvSpPr>
        <p:spPr/>
        <p:txBody>
          <a:bodyPr/>
          <a:lstStyle/>
          <a:p>
            <a:fld id="{18F62AE6-6212-412D-9E98-8FED8C6A5FF8}" type="slidenum">
              <a:rPr lang="en-US" smtClean="0"/>
              <a:t>‹#›</a:t>
            </a:fld>
            <a:endParaRPr lang="en-US"/>
          </a:p>
        </p:txBody>
      </p:sp>
    </p:spTree>
    <p:extLst>
      <p:ext uri="{BB962C8B-B14F-4D97-AF65-F5344CB8AC3E}">
        <p14:creationId xmlns:p14="http://schemas.microsoft.com/office/powerpoint/2010/main" val="379582291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C9EE86B-D8AE-46A3-B299-BA0DBD614B6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E7832E9-391B-48C8-B65C-657C465B0FC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E34A36-1FD3-4A30-8396-206A459AC0B7}"/>
              </a:ext>
            </a:extLst>
          </p:cNvPr>
          <p:cNvSpPr>
            <a:spLocks noGrp="1"/>
          </p:cNvSpPr>
          <p:nvPr>
            <p:ph type="dt" sz="half" idx="10"/>
          </p:nvPr>
        </p:nvSpPr>
        <p:spPr/>
        <p:txBody>
          <a:bodyPr/>
          <a:lstStyle/>
          <a:p>
            <a:fld id="{4E51841F-48B3-4A96-A2C2-3A6E091F7A76}" type="datetimeFigureOut">
              <a:rPr lang="en-US" smtClean="0"/>
              <a:t>12/4/2023</a:t>
            </a:fld>
            <a:endParaRPr lang="en-US"/>
          </a:p>
        </p:txBody>
      </p:sp>
      <p:sp>
        <p:nvSpPr>
          <p:cNvPr id="5" name="Footer Placeholder 4">
            <a:extLst>
              <a:ext uri="{FF2B5EF4-FFF2-40B4-BE49-F238E27FC236}">
                <a16:creationId xmlns:a16="http://schemas.microsoft.com/office/drawing/2014/main" id="{9B5FD176-1DDF-4422-9567-37D4E69FEF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13B349-51CE-4C42-B333-242B09F4933A}"/>
              </a:ext>
            </a:extLst>
          </p:cNvPr>
          <p:cNvSpPr>
            <a:spLocks noGrp="1"/>
          </p:cNvSpPr>
          <p:nvPr>
            <p:ph type="sldNum" sz="quarter" idx="12"/>
          </p:nvPr>
        </p:nvSpPr>
        <p:spPr/>
        <p:txBody>
          <a:bodyPr/>
          <a:lstStyle/>
          <a:p>
            <a:fld id="{18F62AE6-6212-412D-9E98-8FED8C6A5FF8}" type="slidenum">
              <a:rPr lang="en-US" smtClean="0"/>
              <a:t>‹#›</a:t>
            </a:fld>
            <a:endParaRPr lang="en-US"/>
          </a:p>
        </p:txBody>
      </p:sp>
    </p:spTree>
    <p:extLst>
      <p:ext uri="{BB962C8B-B14F-4D97-AF65-F5344CB8AC3E}">
        <p14:creationId xmlns:p14="http://schemas.microsoft.com/office/powerpoint/2010/main" val="2156801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Lines">
    <p:bg>
      <p:bgPr>
        <a:solidFill>
          <a:srgbClr val="DEDEDE"/>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0" y="0"/>
            <a:ext cx="12192000" cy="6858000"/>
          </a:xfrm>
          <a:solidFill>
            <a:srgbClr val="DEDEDE"/>
          </a:solidFill>
        </p:spPr>
        <p:txBody>
          <a:bodyPr tIns="91440"/>
          <a:lstStyle>
            <a:lvl1pPr algn="ctr">
              <a:defRPr sz="1200" b="0">
                <a:solidFill>
                  <a:schemeClr val="tx1"/>
                </a:solidFill>
              </a:defRPr>
            </a:lvl1pPr>
          </a:lstStyle>
          <a:p>
            <a:r>
              <a:rPr lang="en-GB" dirty="0"/>
              <a:t>Click icon to add picture</a:t>
            </a:r>
          </a:p>
        </p:txBody>
      </p:sp>
      <p:sp>
        <p:nvSpPr>
          <p:cNvPr id="3" name="Subtitle 2"/>
          <p:cNvSpPr>
            <a:spLocks noGrp="1"/>
          </p:cNvSpPr>
          <p:nvPr userDrawn="1">
            <p:ph type="subTitle" idx="1" hasCustomPrompt="1"/>
          </p:nvPr>
        </p:nvSpPr>
        <p:spPr>
          <a:xfrm>
            <a:off x="442914" y="3713607"/>
            <a:ext cx="5473699" cy="592074"/>
          </a:xfrm>
          <a:noFill/>
        </p:spPr>
        <p:txBody>
          <a:bodyPr lIns="0" tIns="0" rIns="0" bIns="0" anchor="ctr" anchorCtr="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dirty="0"/>
              <a:t>[Presentation subtitle]</a:t>
            </a:r>
          </a:p>
        </p:txBody>
      </p:sp>
      <p:sp>
        <p:nvSpPr>
          <p:cNvPr id="2" name="Title 1"/>
          <p:cNvSpPr>
            <a:spLocks noGrp="1"/>
          </p:cNvSpPr>
          <p:nvPr userDrawn="1">
            <p:ph type="ctrTitle" hasCustomPrompt="1"/>
          </p:nvPr>
        </p:nvSpPr>
        <p:spPr>
          <a:xfrm>
            <a:off x="442914" y="428624"/>
            <a:ext cx="7418386" cy="1884391"/>
          </a:xfrm>
        </p:spPr>
        <p:txBody>
          <a:bodyPr anchor="b" anchorCtr="0"/>
          <a:lstStyle>
            <a:lvl1pPr algn="l">
              <a:lnSpc>
                <a:spcPct val="85000"/>
              </a:lnSpc>
              <a:defRPr sz="4500">
                <a:solidFill>
                  <a:schemeClr val="bg1"/>
                </a:solidFill>
              </a:defRPr>
            </a:lvl1pPr>
          </a:lstStyle>
          <a:p>
            <a:r>
              <a:rPr lang="en-US" dirty="0"/>
              <a:t>[Presentation title]</a:t>
            </a:r>
            <a:endParaRPr lang="en-GB" dirty="0"/>
          </a:p>
        </p:txBody>
      </p:sp>
    </p:spTree>
    <p:extLst>
      <p:ext uri="{BB962C8B-B14F-4D97-AF65-F5344CB8AC3E}">
        <p14:creationId xmlns:p14="http://schemas.microsoft.com/office/powerpoint/2010/main" val="12918934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Lines 2">
    <p:bg>
      <p:bgPr>
        <a:solidFill>
          <a:srgbClr val="DEDEDE"/>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0" y="0"/>
            <a:ext cx="12192000" cy="6858000"/>
          </a:xfrm>
          <a:solidFill>
            <a:srgbClr val="DEDEDE"/>
          </a:solidFill>
        </p:spPr>
        <p:txBody>
          <a:bodyPr tIns="91440"/>
          <a:lstStyle>
            <a:lvl1pPr algn="ctr">
              <a:defRPr sz="1200" b="0">
                <a:solidFill>
                  <a:schemeClr val="tx1"/>
                </a:solidFill>
              </a:defRPr>
            </a:lvl1pPr>
          </a:lstStyle>
          <a:p>
            <a:r>
              <a:rPr lang="en-GB" dirty="0"/>
              <a:t>Click icon to add picture</a:t>
            </a:r>
          </a:p>
        </p:txBody>
      </p:sp>
      <p:sp>
        <p:nvSpPr>
          <p:cNvPr id="8" name="Subtitle 2">
            <a:extLst>
              <a:ext uri="{FF2B5EF4-FFF2-40B4-BE49-F238E27FC236}">
                <a16:creationId xmlns:a16="http://schemas.microsoft.com/office/drawing/2014/main" id="{B2285DDC-FA1B-F84F-B44E-C04413327EF5}"/>
              </a:ext>
            </a:extLst>
          </p:cNvPr>
          <p:cNvSpPr>
            <a:spLocks noGrp="1"/>
          </p:cNvSpPr>
          <p:nvPr userDrawn="1">
            <p:ph type="subTitle" idx="1" hasCustomPrompt="1"/>
          </p:nvPr>
        </p:nvSpPr>
        <p:spPr>
          <a:xfrm>
            <a:off x="442913" y="3713607"/>
            <a:ext cx="5473700" cy="594221"/>
          </a:xfrm>
          <a:noFill/>
        </p:spPr>
        <p:txBody>
          <a:bodyPr lIns="0" tIns="0" rIns="0" bIns="0" anchor="ctr" anchorCtr="0"/>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dirty="0"/>
              <a:t>[Presentation subtitle]</a:t>
            </a:r>
          </a:p>
        </p:txBody>
      </p:sp>
      <p:sp>
        <p:nvSpPr>
          <p:cNvPr id="2" name="Title 1"/>
          <p:cNvSpPr>
            <a:spLocks noGrp="1"/>
          </p:cNvSpPr>
          <p:nvPr userDrawn="1">
            <p:ph type="ctrTitle" hasCustomPrompt="1"/>
          </p:nvPr>
        </p:nvSpPr>
        <p:spPr>
          <a:xfrm>
            <a:off x="442912" y="428624"/>
            <a:ext cx="7418387" cy="1884391"/>
          </a:xfrm>
        </p:spPr>
        <p:txBody>
          <a:bodyPr anchor="b" anchorCtr="0"/>
          <a:lstStyle>
            <a:lvl1pPr algn="l">
              <a:lnSpc>
                <a:spcPct val="85000"/>
              </a:lnSpc>
              <a:defRPr sz="4500">
                <a:solidFill>
                  <a:schemeClr val="tx1"/>
                </a:solidFill>
              </a:defRPr>
            </a:lvl1pPr>
          </a:lstStyle>
          <a:p>
            <a:r>
              <a:rPr lang="en-US" dirty="0"/>
              <a:t>[Presentation title]</a:t>
            </a:r>
            <a:endParaRPr lang="en-GB" dirty="0"/>
          </a:p>
        </p:txBody>
      </p:sp>
    </p:spTree>
    <p:extLst>
      <p:ext uri="{BB962C8B-B14F-4D97-AF65-F5344CB8AC3E}">
        <p14:creationId xmlns:p14="http://schemas.microsoft.com/office/powerpoint/2010/main" val="2803711686"/>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2.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76A4137-3123-C898-9AE1-F207E8BA6E2A}"/>
              </a:ext>
            </a:extLst>
          </p:cNvPr>
          <p:cNvGraphicFramePr>
            <a:graphicFrameLocks noChangeAspect="1"/>
          </p:cNvGraphicFramePr>
          <p:nvPr userDrawn="1">
            <p:custDataLst>
              <p:tags r:id="rId70"/>
            </p:custDataLst>
            <p:extLst>
              <p:ext uri="{D42A27DB-BD31-4B8C-83A1-F6EECF244321}">
                <p14:modId xmlns:p14="http://schemas.microsoft.com/office/powerpoint/2010/main" val="29766842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45" name="think-cell Slide" r:id="rId71" imgW="7772400" imgH="10058400" progId="TCLayout.ActiveDocument.1">
                  <p:embed/>
                </p:oleObj>
              </mc:Choice>
              <mc:Fallback>
                <p:oleObj name="think-cell Slide" r:id="rId71" imgW="7772400" imgH="10058400" progId="TCLayout.ActiveDocument.1">
                  <p:embed/>
                  <p:pic>
                    <p:nvPicPr>
                      <p:cNvPr id="8" name="Object 7" hidden="1">
                        <a:extLst>
                          <a:ext uri="{FF2B5EF4-FFF2-40B4-BE49-F238E27FC236}">
                            <a16:creationId xmlns:a16="http://schemas.microsoft.com/office/drawing/2014/main" id="{576A4137-3123-C898-9AE1-F207E8BA6E2A}"/>
                          </a:ext>
                        </a:extLst>
                      </p:cNvPr>
                      <p:cNvPicPr/>
                      <p:nvPr/>
                    </p:nvPicPr>
                    <p:blipFill>
                      <a:blip r:embed="rId72"/>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en-US" dirty="0"/>
              <a:t>[Slide title]</a:t>
            </a:r>
            <a:endParaRPr lang="en-GB" dirty="0"/>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fld id="{7870704B-CE94-48CC-AF30-84932A1262A7}" type="slidenum">
              <a:rPr lang="en-GB" smtClean="0"/>
              <a:pPr/>
              <a:t>‹#›</a:t>
            </a:fld>
            <a:endParaRPr lang="en-GB" dirty="0"/>
          </a:p>
        </p:txBody>
      </p:sp>
      <p:sp>
        <p:nvSpPr>
          <p:cNvPr id="4" name="Date Placeholder 3">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r>
              <a:rPr lang="en-IN"/>
              <a:t>April 2023 </a:t>
            </a:r>
            <a:endParaRPr lang="en-US" dirty="0"/>
          </a:p>
        </p:txBody>
      </p:sp>
      <p:sp>
        <p:nvSpPr>
          <p:cNvPr id="10" name="TextBox 9">
            <a:extLst>
              <a:ext uri="{FF2B5EF4-FFF2-40B4-BE49-F238E27FC236}">
                <a16:creationId xmlns:a16="http://schemas.microsoft.com/office/drawing/2014/main" id="{07B840E3-D1D8-4AF8-B85F-9A0E8BC68FEF}"/>
              </a:ext>
            </a:extLst>
          </p:cNvPr>
          <p:cNvSpPr txBox="1"/>
          <p:nvPr userDrawn="1"/>
        </p:nvSpPr>
        <p:spPr>
          <a:xfrm>
            <a:off x="442913" y="6492240"/>
            <a:ext cx="5473700" cy="137160"/>
          </a:xfrm>
          <a:prstGeom prst="rect">
            <a:avLst/>
          </a:prstGeom>
          <a:noFill/>
        </p:spPr>
        <p:txBody>
          <a:bodyPr wrap="square" lIns="0" tIns="0" rIns="0" bIns="0" rtlCol="0" anchor="b" anchorCtr="0">
            <a:noAutofit/>
          </a:bodyPr>
          <a:lstStyle/>
          <a:p>
            <a:pPr algn="l"/>
            <a:r>
              <a:rPr lang="en-US" sz="750" b="0" dirty="0">
                <a:solidFill>
                  <a:schemeClr val="tx1"/>
                </a:solidFill>
              </a:rPr>
              <a:t> </a:t>
            </a:r>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 id="2147483746" r:id="rId22"/>
    <p:sldLayoutId id="2147483747" r:id="rId23"/>
    <p:sldLayoutId id="2147483748" r:id="rId24"/>
    <p:sldLayoutId id="2147483749" r:id="rId25"/>
    <p:sldLayoutId id="2147483750" r:id="rId26"/>
    <p:sldLayoutId id="2147483751" r:id="rId27"/>
    <p:sldLayoutId id="2147483752" r:id="rId28"/>
    <p:sldLayoutId id="2147483753" r:id="rId29"/>
    <p:sldLayoutId id="2147483754" r:id="rId30"/>
    <p:sldLayoutId id="2147483755" r:id="rId31"/>
    <p:sldLayoutId id="2147483756" r:id="rId32"/>
    <p:sldLayoutId id="2147483757" r:id="rId33"/>
    <p:sldLayoutId id="2147483758" r:id="rId34"/>
    <p:sldLayoutId id="2147483759" r:id="rId35"/>
    <p:sldLayoutId id="2147483760" r:id="rId36"/>
    <p:sldLayoutId id="2147483761" r:id="rId37"/>
    <p:sldLayoutId id="2147483762" r:id="rId38"/>
    <p:sldLayoutId id="2147483763" r:id="rId39"/>
    <p:sldLayoutId id="2147483764" r:id="rId40"/>
    <p:sldLayoutId id="2147483765" r:id="rId41"/>
    <p:sldLayoutId id="2147483766" r:id="rId42"/>
    <p:sldLayoutId id="2147483767" r:id="rId43"/>
    <p:sldLayoutId id="2147483768" r:id="rId44"/>
    <p:sldLayoutId id="2147483769" r:id="rId45"/>
    <p:sldLayoutId id="2147483770" r:id="rId46"/>
    <p:sldLayoutId id="2147483771" r:id="rId47"/>
    <p:sldLayoutId id="2147483772" r:id="rId48"/>
    <p:sldLayoutId id="2147483773" r:id="rId49"/>
    <p:sldLayoutId id="2147483774" r:id="rId50"/>
    <p:sldLayoutId id="2147483775" r:id="rId51"/>
    <p:sldLayoutId id="2147483776" r:id="rId52"/>
    <p:sldLayoutId id="2147483777" r:id="rId53"/>
    <p:sldLayoutId id="2147483778" r:id="rId54"/>
    <p:sldLayoutId id="2147483779" r:id="rId55"/>
    <p:sldLayoutId id="2147483780" r:id="rId56"/>
    <p:sldLayoutId id="2147483781" r:id="rId57"/>
    <p:sldLayoutId id="2147483782" r:id="rId58"/>
    <p:sldLayoutId id="2147483783" r:id="rId59"/>
    <p:sldLayoutId id="2147483784" r:id="rId60"/>
    <p:sldLayoutId id="2147483785" r:id="rId61"/>
    <p:sldLayoutId id="2147483786" r:id="rId62"/>
    <p:sldLayoutId id="2147483787" r:id="rId63"/>
    <p:sldLayoutId id="2147483788" r:id="rId64"/>
    <p:sldLayoutId id="2147483789" r:id="rId65"/>
    <p:sldLayoutId id="2147483791" r:id="rId66"/>
    <p:sldLayoutId id="2147483794" r:id="rId67"/>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2" orient="horz" pos="744" userDrawn="1">
          <p15:clr>
            <a:srgbClr val="F26B43"/>
          </p15:clr>
        </p15:guide>
        <p15:guide id="13" orient="horz" pos="27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A045B52-B2EB-4ABF-8DAB-037880B7B6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C57FA08-88C9-4668-8A0C-8868F02A1C4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B2ECB6-B719-4FFA-82A1-526C18F42CC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E51841F-48B3-4A96-A2C2-3A6E091F7A76}" type="datetimeFigureOut">
              <a:rPr lang="en-US" smtClean="0"/>
              <a:t>12/4/2023</a:t>
            </a:fld>
            <a:endParaRPr lang="en-US"/>
          </a:p>
        </p:txBody>
      </p:sp>
      <p:sp>
        <p:nvSpPr>
          <p:cNvPr id="5" name="Footer Placeholder 4">
            <a:extLst>
              <a:ext uri="{FF2B5EF4-FFF2-40B4-BE49-F238E27FC236}">
                <a16:creationId xmlns:a16="http://schemas.microsoft.com/office/drawing/2014/main" id="{1F1F633C-07AA-4FA2-939C-7C227C1B4B2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177EB8B-3D7D-4438-A3AF-19D18EE421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8F62AE6-6212-412D-9E98-8FED8C6A5FF8}" type="slidenum">
              <a:rPr lang="en-US" smtClean="0"/>
              <a:t>‹#›</a:t>
            </a:fld>
            <a:endParaRPr lang="en-US"/>
          </a:p>
        </p:txBody>
      </p:sp>
    </p:spTree>
    <p:extLst>
      <p:ext uri="{BB962C8B-B14F-4D97-AF65-F5344CB8AC3E}">
        <p14:creationId xmlns:p14="http://schemas.microsoft.com/office/powerpoint/2010/main" val="2674950692"/>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3.xml"/><Relationship Id="rId7" Type="http://schemas.openxmlformats.org/officeDocument/2006/relationships/image" Target="../media/image2.emf"/><Relationship Id="rId2" Type="http://schemas.openxmlformats.org/officeDocument/2006/relationships/customXml" Target="../../customXml/item16.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4.emf"/><Relationship Id="rId2" Type="http://schemas.openxmlformats.org/officeDocument/2006/relationships/customXml" Target="../../customXml/item21.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0.xml"/><Relationship Id="rId4"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3.xml"/><Relationship Id="rId7" Type="http://schemas.openxmlformats.org/officeDocument/2006/relationships/image" Target="../media/image4.emf"/><Relationship Id="rId2" Type="http://schemas.openxmlformats.org/officeDocument/2006/relationships/customXml" Target="../../customXml/item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1.xml"/><Relationship Id="rId4" Type="http://schemas.openxmlformats.org/officeDocument/2006/relationships/slideLayout" Target="../slideLayouts/slideLayout16.xml"/><Relationship Id="rId9" Type="http://schemas.openxmlformats.org/officeDocument/2006/relationships/image" Target="../media/image26.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customXml" Target="../../customXml/item11.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customXml" Target="../../customXml/item23.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customXml" Target="../../customXml/item12.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30.xml"/><Relationship Id="rId1" Type="http://schemas.openxmlformats.org/officeDocument/2006/relationships/customXml" Target="../../customXml/item4.xml"/><Relationship Id="rId6" Type="http://schemas.openxmlformats.org/officeDocument/2006/relationships/image" Target="../media/image30.svg"/><Relationship Id="rId5" Type="http://schemas.openxmlformats.org/officeDocument/2006/relationships/image" Target="../media/image28.png"/><Relationship Id="rId4" Type="http://schemas.openxmlformats.org/officeDocument/2006/relationships/image" Target="../media/image28.svg"/></Relationships>
</file>

<file path=ppt/slides/_rels/slide17.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tags" Target="../tags/tag14.xml"/><Relationship Id="rId7" Type="http://schemas.openxmlformats.org/officeDocument/2006/relationships/image" Target="../media/image4.emf"/><Relationship Id="rId2" Type="http://schemas.openxmlformats.org/officeDocument/2006/relationships/customXml" Target="../../customXml/item8.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2.xml"/><Relationship Id="rId4"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4.emf"/><Relationship Id="rId2" Type="http://schemas.openxmlformats.org/officeDocument/2006/relationships/customXml" Target="../../customXml/item1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3.xml"/><Relationship Id="rId4"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16.xml"/><Relationship Id="rId7" Type="http://schemas.openxmlformats.org/officeDocument/2006/relationships/image" Target="../media/image4.emf"/><Relationship Id="rId2" Type="http://schemas.openxmlformats.org/officeDocument/2006/relationships/customXml" Target="../../customXml/item25.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4.xml"/><Relationship Id="rId4"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4.xml"/><Relationship Id="rId7" Type="http://schemas.openxmlformats.org/officeDocument/2006/relationships/image" Target="../media/image4.emf"/><Relationship Id="rId2" Type="http://schemas.openxmlformats.org/officeDocument/2006/relationships/customXml" Target="../../customXml/item3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xml"/><Relationship Id="rId4"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4.emf"/><Relationship Id="rId2" Type="http://schemas.openxmlformats.org/officeDocument/2006/relationships/customXml" Target="../../customXml/item1.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5.xml"/><Relationship Id="rId4"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4.emf"/><Relationship Id="rId2" Type="http://schemas.openxmlformats.org/officeDocument/2006/relationships/customXml" Target="../../customXml/item10.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16.xml"/><Relationship Id="rId4"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19.xml"/><Relationship Id="rId7" Type="http://schemas.openxmlformats.org/officeDocument/2006/relationships/image" Target="../media/image4.emf"/><Relationship Id="rId12" Type="http://schemas.microsoft.com/office/2007/relationships/diagramDrawing" Target="../diagrams/drawing1.xml"/><Relationship Id="rId2" Type="http://schemas.openxmlformats.org/officeDocument/2006/relationships/customXml" Target="../../customXml/item3.xml"/><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diagramColors" Target="../diagrams/colors1.xml"/><Relationship Id="rId5" Type="http://schemas.openxmlformats.org/officeDocument/2006/relationships/notesSlide" Target="../notesSlides/notesSlide17.xml"/><Relationship Id="rId10" Type="http://schemas.openxmlformats.org/officeDocument/2006/relationships/diagramQuickStyle" Target="../diagrams/quickStyle1.xml"/><Relationship Id="rId4" Type="http://schemas.openxmlformats.org/officeDocument/2006/relationships/slideLayout" Target="../slideLayouts/slideLayout16.xml"/><Relationship Id="rId9" Type="http://schemas.openxmlformats.org/officeDocument/2006/relationships/diagramLayout" Target="../diagrams/layout1.xml"/></Relationships>
</file>

<file path=ppt/slides/_rels/slide23.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4.emf"/><Relationship Id="rId2" Type="http://schemas.openxmlformats.org/officeDocument/2006/relationships/customXml" Target="../../customXml/item34.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8.xml"/><Relationship Id="rId4"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4.emf"/><Relationship Id="rId2" Type="http://schemas.openxmlformats.org/officeDocument/2006/relationships/customXml" Target="../../customXml/item26.xml"/><Relationship Id="rId1" Type="http://schemas.openxmlformats.org/officeDocument/2006/relationships/vmlDrawing" Target="../drawings/vmlDrawing20.vml"/><Relationship Id="rId6" Type="http://schemas.openxmlformats.org/officeDocument/2006/relationships/oleObject" Target="../embeddings/oleObject19.bin"/><Relationship Id="rId5" Type="http://schemas.openxmlformats.org/officeDocument/2006/relationships/notesSlide" Target="../notesSlides/notesSlide19.xml"/><Relationship Id="rId4"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4.emf"/><Relationship Id="rId2" Type="http://schemas.openxmlformats.org/officeDocument/2006/relationships/customXml" Target="../../customXml/item18.xml"/><Relationship Id="rId1" Type="http://schemas.openxmlformats.org/officeDocument/2006/relationships/vmlDrawing" Target="../drawings/vmlDrawing21.vml"/><Relationship Id="rId6" Type="http://schemas.openxmlformats.org/officeDocument/2006/relationships/oleObject" Target="../embeddings/oleObject20.bin"/><Relationship Id="rId5" Type="http://schemas.openxmlformats.org/officeDocument/2006/relationships/notesSlide" Target="../notesSlides/notesSlide20.xml"/><Relationship Id="rId4"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4.emf"/><Relationship Id="rId2" Type="http://schemas.openxmlformats.org/officeDocument/2006/relationships/customXml" Target="../../customXml/item13.xml"/><Relationship Id="rId1" Type="http://schemas.openxmlformats.org/officeDocument/2006/relationships/vmlDrawing" Target="../drawings/vmlDrawing22.vml"/><Relationship Id="rId6" Type="http://schemas.openxmlformats.org/officeDocument/2006/relationships/oleObject" Target="../embeddings/oleObject21.bin"/><Relationship Id="rId5" Type="http://schemas.openxmlformats.org/officeDocument/2006/relationships/notesSlide" Target="../notesSlides/notesSlide21.xml"/><Relationship Id="rId4"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1.png"/><Relationship Id="rId7" Type="http://schemas.openxmlformats.org/officeDocument/2006/relationships/image" Target="../media/image33.png"/><Relationship Id="rId12" Type="http://schemas.openxmlformats.org/officeDocument/2006/relationships/image" Target="../media/image42.svg"/><Relationship Id="rId2" Type="http://schemas.openxmlformats.org/officeDocument/2006/relationships/slideLayout" Target="../slideLayouts/slideLayout30.xml"/><Relationship Id="rId1" Type="http://schemas.openxmlformats.org/officeDocument/2006/relationships/customXml" Target="../../customXml/item31.xml"/><Relationship Id="rId6" Type="http://schemas.openxmlformats.org/officeDocument/2006/relationships/image" Target="../media/image36.svg"/><Relationship Id="rId11" Type="http://schemas.openxmlformats.org/officeDocument/2006/relationships/image" Target="../media/image35.png"/><Relationship Id="rId5" Type="http://schemas.openxmlformats.org/officeDocument/2006/relationships/image" Target="../media/image32.png"/><Relationship Id="rId10" Type="http://schemas.openxmlformats.org/officeDocument/2006/relationships/image" Target="../media/image40.svg"/><Relationship Id="rId4" Type="http://schemas.openxmlformats.org/officeDocument/2006/relationships/image" Target="../media/image34.svg"/><Relationship Id="rId9" Type="http://schemas.openxmlformats.org/officeDocument/2006/relationships/image" Target="../media/image34.png"/></Relationships>
</file>

<file path=ppt/slides/_rels/slide28.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4.emf"/><Relationship Id="rId2" Type="http://schemas.openxmlformats.org/officeDocument/2006/relationships/customXml" Target="../../customXml/item2.xml"/><Relationship Id="rId1" Type="http://schemas.openxmlformats.org/officeDocument/2006/relationships/vmlDrawing" Target="../drawings/vmlDrawing23.vml"/><Relationship Id="rId6" Type="http://schemas.openxmlformats.org/officeDocument/2006/relationships/oleObject" Target="../embeddings/oleObject22.bin"/><Relationship Id="rId5" Type="http://schemas.openxmlformats.org/officeDocument/2006/relationships/notesSlide" Target="../notesSlides/notesSlide22.xml"/><Relationship Id="rId4"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customXml" Target="../../customXml/item19.xml"/></Relationships>
</file>

<file path=ppt/slides/_rels/slide3.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customXml" Target="../../customXml/item2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3.xml"/><Relationship Id="rId4"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7.xml"/><Relationship Id="rId1" Type="http://schemas.openxmlformats.org/officeDocument/2006/relationships/customXml" Target="../../customXml/item9.xml"/></Relationships>
</file>

<file path=ppt/slides/_rels/slide4.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6.xml"/><Relationship Id="rId7" Type="http://schemas.openxmlformats.org/officeDocument/2006/relationships/image" Target="../media/image4.emf"/><Relationship Id="rId2" Type="http://schemas.openxmlformats.org/officeDocument/2006/relationships/customXml" Target="../../customXml/item24.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4.xml"/><Relationship Id="rId4"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2.png"/><Relationship Id="rId3" Type="http://schemas.openxmlformats.org/officeDocument/2006/relationships/tags" Target="../tags/tag7.xml"/><Relationship Id="rId7" Type="http://schemas.openxmlformats.org/officeDocument/2006/relationships/image" Target="../media/image4.emf"/><Relationship Id="rId12" Type="http://schemas.openxmlformats.org/officeDocument/2006/relationships/image" Target="../media/image11.png"/><Relationship Id="rId2" Type="http://schemas.openxmlformats.org/officeDocument/2006/relationships/customXml" Target="../../customXml/item30.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10.png"/><Relationship Id="rId5" Type="http://schemas.openxmlformats.org/officeDocument/2006/relationships/notesSlide" Target="../notesSlides/notesSlide5.xml"/><Relationship Id="rId15" Type="http://schemas.openxmlformats.org/officeDocument/2006/relationships/image" Target="../media/image14.png"/><Relationship Id="rId10" Type="http://schemas.openxmlformats.org/officeDocument/2006/relationships/image" Target="../media/image9.png"/><Relationship Id="rId4" Type="http://schemas.openxmlformats.org/officeDocument/2006/relationships/slideLayout" Target="../slideLayouts/slideLayout69.xml"/><Relationship Id="rId9" Type="http://schemas.openxmlformats.org/officeDocument/2006/relationships/image" Target="../media/image8.png"/><Relationship Id="rId1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4.emf"/><Relationship Id="rId2" Type="http://schemas.openxmlformats.org/officeDocument/2006/relationships/customXml" Target="../../customXml/item2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6.xml"/><Relationship Id="rId4"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tags" Target="../tags/tag9.xml"/><Relationship Id="rId7" Type="http://schemas.openxmlformats.org/officeDocument/2006/relationships/image" Target="../media/image4.emf"/><Relationship Id="rId2" Type="http://schemas.openxmlformats.org/officeDocument/2006/relationships/customXml" Target="../../customXml/item20.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7.xml"/><Relationship Id="rId4"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jpeg"/><Relationship Id="rId3" Type="http://schemas.openxmlformats.org/officeDocument/2006/relationships/tags" Target="../tags/tag10.xml"/><Relationship Id="rId7" Type="http://schemas.openxmlformats.org/officeDocument/2006/relationships/image" Target="../media/image4.emf"/><Relationship Id="rId12" Type="http://schemas.openxmlformats.org/officeDocument/2006/relationships/image" Target="../media/image20.png"/><Relationship Id="rId2" Type="http://schemas.openxmlformats.org/officeDocument/2006/relationships/customXml" Target="../../customXml/item6.xml"/><Relationship Id="rId16" Type="http://schemas.openxmlformats.org/officeDocument/2006/relationships/image" Target="../media/image24.png"/><Relationship Id="rId1" Type="http://schemas.openxmlformats.org/officeDocument/2006/relationships/vmlDrawing" Target="../drawings/vmlDrawing9.vml"/><Relationship Id="rId6" Type="http://schemas.openxmlformats.org/officeDocument/2006/relationships/oleObject" Target="../embeddings/oleObject9.bin"/><Relationship Id="rId11" Type="http://schemas.openxmlformats.org/officeDocument/2006/relationships/image" Target="../media/image19.jpeg"/><Relationship Id="rId5" Type="http://schemas.openxmlformats.org/officeDocument/2006/relationships/notesSlide" Target="../notesSlides/notesSlide8.xml"/><Relationship Id="rId15" Type="http://schemas.openxmlformats.org/officeDocument/2006/relationships/image" Target="../media/image23.png"/><Relationship Id="rId10" Type="http://schemas.openxmlformats.org/officeDocument/2006/relationships/image" Target="../media/image18.jpeg"/><Relationship Id="rId4" Type="http://schemas.openxmlformats.org/officeDocument/2006/relationships/slideLayout" Target="../slideLayouts/slideLayout16.xml"/><Relationship Id="rId9" Type="http://schemas.openxmlformats.org/officeDocument/2006/relationships/image" Target="../media/image17.jpeg"/><Relationship Id="rId14" Type="http://schemas.openxmlformats.org/officeDocument/2006/relationships/image" Target="../media/image22.jpeg"/></Relationships>
</file>

<file path=ppt/slides/_rels/slide9.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emf"/><Relationship Id="rId2" Type="http://schemas.openxmlformats.org/officeDocument/2006/relationships/customXml" Target="../../customXml/item2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9.xml"/><Relationship Id="rId4"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16E8CBE-128E-0399-53F7-47D1C37F5D14}"/>
              </a:ext>
            </a:extLst>
          </p:cNvPr>
          <p:cNvGraphicFramePr>
            <a:graphicFrameLocks noChangeAspect="1"/>
          </p:cNvGraphicFramePr>
          <p:nvPr>
            <p:custDataLst>
              <p:tags r:id="rId3"/>
            </p:custDataLst>
            <p:extLst>
              <p:ext uri="{D42A27DB-BD31-4B8C-83A1-F6EECF244321}">
                <p14:modId xmlns:p14="http://schemas.microsoft.com/office/powerpoint/2010/main" val="8754521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69" name="think-cell Slide" r:id="rId6" imgW="7772400" imgH="10058400" progId="TCLayout.ActiveDocument.1">
                  <p:embed/>
                </p:oleObj>
              </mc:Choice>
              <mc:Fallback>
                <p:oleObj name="think-cell Slide" r:id="rId6" imgW="7772400" imgH="10058400" progId="TCLayout.ActiveDocument.1">
                  <p:embed/>
                  <p:pic>
                    <p:nvPicPr>
                      <p:cNvPr id="10" name="Object 9" hidden="1">
                        <a:extLst>
                          <a:ext uri="{FF2B5EF4-FFF2-40B4-BE49-F238E27FC236}">
                            <a16:creationId xmlns:a16="http://schemas.microsoft.com/office/drawing/2014/main" id="{016E8CBE-128E-0399-53F7-47D1C37F5D14}"/>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F819A594-83F4-8790-8F77-151898BFD28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2815" y="-1"/>
            <a:ext cx="12192000" cy="6858001"/>
          </a:xfrm>
          <a:prstGeom prst="rect">
            <a:avLst/>
          </a:prstGeom>
        </p:spPr>
      </p:pic>
      <p:sp>
        <p:nvSpPr>
          <p:cNvPr id="11" name="Rectangle 10">
            <a:extLst>
              <a:ext uri="{FF2B5EF4-FFF2-40B4-BE49-F238E27FC236}">
                <a16:creationId xmlns:a16="http://schemas.microsoft.com/office/drawing/2014/main" id="{EDB38E99-9888-FA71-53AF-720CF7B34654}"/>
              </a:ext>
            </a:extLst>
          </p:cNvPr>
          <p:cNvSpPr/>
          <p:nvPr/>
        </p:nvSpPr>
        <p:spPr bwMode="gray">
          <a:xfrm>
            <a:off x="0" y="2913148"/>
            <a:ext cx="4724400" cy="2258351"/>
          </a:xfrm>
          <a:prstGeom prst="rect">
            <a:avLst/>
          </a:prstGeom>
          <a:solidFill>
            <a:schemeClr val="accent3"/>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17" name="Rectangle 16">
            <a:extLst>
              <a:ext uri="{FF2B5EF4-FFF2-40B4-BE49-F238E27FC236}">
                <a16:creationId xmlns:a16="http://schemas.microsoft.com/office/drawing/2014/main" id="{94574793-5E9E-EEA1-F627-D9B0E69EA447}"/>
              </a:ext>
            </a:extLst>
          </p:cNvPr>
          <p:cNvSpPr/>
          <p:nvPr/>
        </p:nvSpPr>
        <p:spPr bwMode="gray">
          <a:xfrm>
            <a:off x="465098" y="4422871"/>
            <a:ext cx="1668502" cy="533400"/>
          </a:xfrm>
          <a:prstGeom prst="rect">
            <a:avLst/>
          </a:prstGeom>
          <a:solidFill>
            <a:srgbClr val="2D2D2D"/>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19" name="TextBox 18">
            <a:extLst>
              <a:ext uri="{FF2B5EF4-FFF2-40B4-BE49-F238E27FC236}">
                <a16:creationId xmlns:a16="http://schemas.microsoft.com/office/drawing/2014/main" id="{2378B714-2E0F-6A53-2910-803A599FA496}"/>
              </a:ext>
            </a:extLst>
          </p:cNvPr>
          <p:cNvSpPr txBox="1"/>
          <p:nvPr/>
        </p:nvSpPr>
        <p:spPr>
          <a:xfrm>
            <a:off x="533400" y="4566461"/>
            <a:ext cx="1503617" cy="246221"/>
          </a:xfrm>
          <a:prstGeom prst="rect">
            <a:avLst/>
          </a:prstGeom>
          <a:noFill/>
        </p:spPr>
        <p:txBody>
          <a:bodyPr wrap="none" lIns="0" tIns="0" rIns="0" bIns="0">
            <a:spAutoFit/>
          </a:bodyPr>
          <a:lstStyle/>
          <a:p>
            <a:r>
              <a:rPr lang="en-US" sz="1600" b="1" dirty="0">
                <a:solidFill>
                  <a:schemeClr val="bg1"/>
                </a:solidFill>
              </a:rPr>
              <a:t>December 2023</a:t>
            </a:r>
          </a:p>
        </p:txBody>
      </p:sp>
      <p:sp>
        <p:nvSpPr>
          <p:cNvPr id="13" name="TextBox 12">
            <a:extLst>
              <a:ext uri="{FF2B5EF4-FFF2-40B4-BE49-F238E27FC236}">
                <a16:creationId xmlns:a16="http://schemas.microsoft.com/office/drawing/2014/main" id="{CBE6DB7F-4C50-9F69-DF8E-1CE1B5EE7D08}"/>
              </a:ext>
            </a:extLst>
          </p:cNvPr>
          <p:cNvSpPr txBox="1"/>
          <p:nvPr/>
        </p:nvSpPr>
        <p:spPr>
          <a:xfrm>
            <a:off x="84080" y="3300205"/>
            <a:ext cx="4662487" cy="1015663"/>
          </a:xfrm>
          <a:prstGeom prst="rect">
            <a:avLst/>
          </a:prstGeom>
          <a:noFill/>
        </p:spPr>
        <p:txBody>
          <a:bodyPr wrap="square">
            <a:spAutoFit/>
          </a:bodyPr>
          <a:lstStyle/>
          <a:p>
            <a:pPr marL="0" marR="0" lvl="0" indent="0" algn="l" rtl="0">
              <a:lnSpc>
                <a:spcPct val="100000"/>
              </a:lnSpc>
              <a:spcBef>
                <a:spcPts val="300"/>
              </a:spcBef>
              <a:spcAft>
                <a:spcPts val="0"/>
              </a:spcAft>
              <a:buClr>
                <a:srgbClr val="FFFFFF"/>
              </a:buClr>
              <a:buSzPts val="700"/>
              <a:buFont typeface="Arial"/>
              <a:buNone/>
            </a:pPr>
            <a:r>
              <a:rPr lang="en-GB" sz="2000" i="0" u="none" strike="noStrike" cap="none" dirty="0">
                <a:solidFill>
                  <a:schemeClr val="lt1"/>
                </a:solidFill>
                <a:ea typeface="Arial"/>
                <a:cs typeface="Arial"/>
                <a:sym typeface="Arial"/>
              </a:rPr>
              <a:t>Anti-Money Laundering (AML) and Combating the Financing of Terrorism (CFT) Framework</a:t>
            </a:r>
          </a:p>
        </p:txBody>
      </p:sp>
    </p:spTree>
    <p:custDataLst>
      <p:custData r:id="rId2"/>
    </p:custDataLst>
    <p:extLst>
      <p:ext uri="{BB962C8B-B14F-4D97-AF65-F5344CB8AC3E}">
        <p14:creationId xmlns:p14="http://schemas.microsoft.com/office/powerpoint/2010/main" val="39414359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4DA136-1EA4-F7C5-200C-77C4257A5B8E}"/>
              </a:ext>
            </a:extLst>
          </p:cNvPr>
          <p:cNvGraphicFramePr>
            <a:graphicFrameLocks noChangeAspect="1"/>
          </p:cNvGraphicFramePr>
          <p:nvPr>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334" name="think-cell Slide" r:id="rId6" imgW="7772400" imgH="10058400" progId="TCLayout.ActiveDocument.1">
                  <p:embed/>
                </p:oleObj>
              </mc:Choice>
              <mc:Fallback>
                <p:oleObj name="think-cell Slide" r:id="rId6" imgW="7772400" imgH="10058400" progId="TCLayout.ActiveDocument.1">
                  <p:embed/>
                  <p:pic>
                    <p:nvPicPr>
                      <p:cNvPr id="10" name="Object 9" hidden="1">
                        <a:extLst>
                          <a:ext uri="{FF2B5EF4-FFF2-40B4-BE49-F238E27FC236}">
                            <a16:creationId xmlns:a16="http://schemas.microsoft.com/office/drawing/2014/main" id="{2D4DA136-1EA4-F7C5-200C-77C4257A5B8E}"/>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2F8DBAD9-2FB4-3D45-BD3C-AE82E5DD780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169" name="TextBox 168">
            <a:extLst>
              <a:ext uri="{FF2B5EF4-FFF2-40B4-BE49-F238E27FC236}">
                <a16:creationId xmlns:a16="http://schemas.microsoft.com/office/drawing/2014/main" id="{20452E5A-2247-49EF-A923-10AF3F688F10}"/>
              </a:ext>
            </a:extLst>
          </p:cNvPr>
          <p:cNvSpPr txBox="1"/>
          <p:nvPr/>
        </p:nvSpPr>
        <p:spPr>
          <a:xfrm>
            <a:off x="349820" y="318107"/>
            <a:ext cx="11380218" cy="523220"/>
          </a:xfrm>
          <a:prstGeom prst="rect">
            <a:avLst/>
          </a:prstGeom>
          <a:noFill/>
        </p:spPr>
        <p:txBody>
          <a:bodyPr wrap="square">
            <a:spAutoFit/>
          </a:bodyPr>
          <a:lstStyle/>
          <a:p>
            <a:pPr lvl="0">
              <a:defRPr/>
            </a:pPr>
            <a:r>
              <a:rPr lang="en-US" sz="2800" dirty="0">
                <a:solidFill>
                  <a:srgbClr val="000000"/>
                </a:solidFill>
                <a:latin typeface="Georgia"/>
                <a:ea typeface="Georgia"/>
                <a:cs typeface="Georgia"/>
                <a:sym typeface="Georgia"/>
              </a:rPr>
              <a:t>Global Sanctions</a:t>
            </a:r>
          </a:p>
        </p:txBody>
      </p:sp>
      <p:sp>
        <p:nvSpPr>
          <p:cNvPr id="2" name="Rectangle 1">
            <a:extLst>
              <a:ext uri="{FF2B5EF4-FFF2-40B4-BE49-F238E27FC236}">
                <a16:creationId xmlns:a16="http://schemas.microsoft.com/office/drawing/2014/main" id="{D3E82E12-CB3F-8998-950F-A2D45F6DB6BF}"/>
              </a:ext>
            </a:extLst>
          </p:cNvPr>
          <p:cNvSpPr/>
          <p:nvPr/>
        </p:nvSpPr>
        <p:spPr bwMode="gray">
          <a:xfrm>
            <a:off x="0" y="0"/>
            <a:ext cx="12192000" cy="137160"/>
          </a:xfrm>
          <a:prstGeom prst="rect">
            <a:avLst/>
          </a:prstGeom>
          <a:solidFill>
            <a:schemeClr val="accent3"/>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3" name="Rectangle 2">
            <a:extLst>
              <a:ext uri="{FF2B5EF4-FFF2-40B4-BE49-F238E27FC236}">
                <a16:creationId xmlns:a16="http://schemas.microsoft.com/office/drawing/2014/main" id="{6D4E6E39-24CE-AE1B-4B20-F0F3D270BEF6}"/>
              </a:ext>
            </a:extLst>
          </p:cNvPr>
          <p:cNvSpPr/>
          <p:nvPr/>
        </p:nvSpPr>
        <p:spPr>
          <a:xfrm>
            <a:off x="442913" y="2440853"/>
            <a:ext cx="11306175" cy="3740502"/>
          </a:xfrm>
          <a:prstGeom prst="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12" name="Rectangle 11">
            <a:extLst>
              <a:ext uri="{FF2B5EF4-FFF2-40B4-BE49-F238E27FC236}">
                <a16:creationId xmlns:a16="http://schemas.microsoft.com/office/drawing/2014/main" id="{7D50EE8A-B670-E1A2-45F7-B18F95BC4ECC}"/>
              </a:ext>
            </a:extLst>
          </p:cNvPr>
          <p:cNvSpPr/>
          <p:nvPr/>
        </p:nvSpPr>
        <p:spPr>
          <a:xfrm>
            <a:off x="442913" y="1181100"/>
            <a:ext cx="11306175" cy="1259754"/>
          </a:xfrm>
          <a:prstGeom prst="rect">
            <a:avLst/>
          </a:prstGeom>
          <a:solidFill>
            <a:srgbClr val="2D2D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17" name="Rectangle 16">
            <a:extLst>
              <a:ext uri="{FF2B5EF4-FFF2-40B4-BE49-F238E27FC236}">
                <a16:creationId xmlns:a16="http://schemas.microsoft.com/office/drawing/2014/main" id="{81BC2EA8-220A-02E6-5F6A-F6944020AD6F}"/>
              </a:ext>
            </a:extLst>
          </p:cNvPr>
          <p:cNvSpPr/>
          <p:nvPr/>
        </p:nvSpPr>
        <p:spPr>
          <a:xfrm>
            <a:off x="744418" y="1339705"/>
            <a:ext cx="3250030" cy="927424"/>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24" name="Rectangle 23">
            <a:extLst>
              <a:ext uri="{FF2B5EF4-FFF2-40B4-BE49-F238E27FC236}">
                <a16:creationId xmlns:a16="http://schemas.microsoft.com/office/drawing/2014/main" id="{EB9D4751-D304-B689-5E36-0304E72CC93C}"/>
              </a:ext>
            </a:extLst>
          </p:cNvPr>
          <p:cNvSpPr/>
          <p:nvPr/>
        </p:nvSpPr>
        <p:spPr>
          <a:xfrm>
            <a:off x="4469521" y="1339705"/>
            <a:ext cx="3250030" cy="927424"/>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36" name="Rectangle 35">
            <a:extLst>
              <a:ext uri="{FF2B5EF4-FFF2-40B4-BE49-F238E27FC236}">
                <a16:creationId xmlns:a16="http://schemas.microsoft.com/office/drawing/2014/main" id="{88427922-8489-4DE2-F805-7180F6BEFF1A}"/>
              </a:ext>
            </a:extLst>
          </p:cNvPr>
          <p:cNvSpPr/>
          <p:nvPr/>
        </p:nvSpPr>
        <p:spPr>
          <a:xfrm>
            <a:off x="8199141" y="1339705"/>
            <a:ext cx="3250030" cy="927424"/>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37" name="Rectangle 36">
            <a:extLst>
              <a:ext uri="{FF2B5EF4-FFF2-40B4-BE49-F238E27FC236}">
                <a16:creationId xmlns:a16="http://schemas.microsoft.com/office/drawing/2014/main" id="{E74873D1-74FA-A9FA-4F2C-68EE3616AC26}"/>
              </a:ext>
            </a:extLst>
          </p:cNvPr>
          <p:cNvSpPr/>
          <p:nvPr/>
        </p:nvSpPr>
        <p:spPr>
          <a:xfrm>
            <a:off x="731736" y="1541807"/>
            <a:ext cx="3261604" cy="523220"/>
          </a:xfrm>
          <a:prstGeom prst="rect">
            <a:avLst/>
          </a:prstGeom>
        </p:spPr>
        <p:txBody>
          <a:bodyPr wrap="square">
            <a:spAutoFit/>
          </a:bodyPr>
          <a:lstStyle/>
          <a:p>
            <a:pPr algn="ctr">
              <a:lnSpc>
                <a:spcPct val="100000"/>
              </a:lnSpc>
              <a:spcAft>
                <a:spcPts val="600"/>
              </a:spcAft>
              <a:buSzPct val="100000"/>
            </a:pPr>
            <a:r>
              <a:rPr lang="en-US" sz="1400" b="1" dirty="0"/>
              <a:t>Used to fight economically, </a:t>
            </a:r>
            <a:br>
              <a:rPr lang="en-US" sz="1400" b="1" dirty="0"/>
            </a:br>
            <a:r>
              <a:rPr lang="en-US" sz="1400" b="1" dirty="0"/>
              <a:t>rather than physically</a:t>
            </a:r>
          </a:p>
        </p:txBody>
      </p:sp>
      <p:sp>
        <p:nvSpPr>
          <p:cNvPr id="38" name="Rectangle 37">
            <a:extLst>
              <a:ext uri="{FF2B5EF4-FFF2-40B4-BE49-F238E27FC236}">
                <a16:creationId xmlns:a16="http://schemas.microsoft.com/office/drawing/2014/main" id="{AD3C67B0-2DA0-FC3B-84E3-873365F9F97D}"/>
              </a:ext>
            </a:extLst>
          </p:cNvPr>
          <p:cNvSpPr/>
          <p:nvPr/>
        </p:nvSpPr>
        <p:spPr>
          <a:xfrm>
            <a:off x="4468894" y="1541807"/>
            <a:ext cx="3250030" cy="523220"/>
          </a:xfrm>
          <a:prstGeom prst="rect">
            <a:avLst/>
          </a:prstGeom>
        </p:spPr>
        <p:txBody>
          <a:bodyPr wrap="square">
            <a:spAutoFit/>
          </a:bodyPr>
          <a:lstStyle/>
          <a:p>
            <a:pPr algn="ctr">
              <a:lnSpc>
                <a:spcPct val="100000"/>
              </a:lnSpc>
              <a:spcAft>
                <a:spcPts val="600"/>
              </a:spcAft>
              <a:buSzPct val="100000"/>
            </a:pPr>
            <a:r>
              <a:rPr lang="en-US" sz="1400" b="1" dirty="0"/>
              <a:t>Prohibit transacting with sanctioned individuals and entities</a:t>
            </a:r>
          </a:p>
        </p:txBody>
      </p:sp>
      <p:sp>
        <p:nvSpPr>
          <p:cNvPr id="39" name="Rectangle 38">
            <a:extLst>
              <a:ext uri="{FF2B5EF4-FFF2-40B4-BE49-F238E27FC236}">
                <a16:creationId xmlns:a16="http://schemas.microsoft.com/office/drawing/2014/main" id="{D4AB27CA-B0F6-7378-A0A6-CDB6F997E788}"/>
              </a:ext>
            </a:extLst>
          </p:cNvPr>
          <p:cNvSpPr/>
          <p:nvPr/>
        </p:nvSpPr>
        <p:spPr>
          <a:xfrm>
            <a:off x="8199141" y="1434085"/>
            <a:ext cx="3260496" cy="738664"/>
          </a:xfrm>
          <a:prstGeom prst="rect">
            <a:avLst/>
          </a:prstGeom>
        </p:spPr>
        <p:txBody>
          <a:bodyPr wrap="square">
            <a:spAutoFit/>
          </a:bodyPr>
          <a:lstStyle/>
          <a:p>
            <a:pPr algn="ctr">
              <a:lnSpc>
                <a:spcPct val="100000"/>
              </a:lnSpc>
              <a:spcAft>
                <a:spcPts val="600"/>
              </a:spcAft>
              <a:buSzPct val="100000"/>
            </a:pPr>
            <a:r>
              <a:rPr lang="en-US" sz="1400" b="1" dirty="0"/>
              <a:t>Countries have </a:t>
            </a:r>
            <a:br>
              <a:rPr lang="en-US" sz="1400" b="1" dirty="0"/>
            </a:br>
            <a:r>
              <a:rPr lang="en-US" sz="1400" b="1" dirty="0"/>
              <a:t>their own sanctions lists such as USA, European Union etc.</a:t>
            </a:r>
          </a:p>
        </p:txBody>
      </p:sp>
      <p:sp>
        <p:nvSpPr>
          <p:cNvPr id="40" name="Rectangle 39">
            <a:extLst>
              <a:ext uri="{FF2B5EF4-FFF2-40B4-BE49-F238E27FC236}">
                <a16:creationId xmlns:a16="http://schemas.microsoft.com/office/drawing/2014/main" id="{4EEE750F-3B35-6C72-D60B-595C390B6CEB}"/>
              </a:ext>
            </a:extLst>
          </p:cNvPr>
          <p:cNvSpPr/>
          <p:nvPr/>
        </p:nvSpPr>
        <p:spPr>
          <a:xfrm>
            <a:off x="744418" y="2494161"/>
            <a:ext cx="3248295" cy="17154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dirty="0"/>
          </a:p>
        </p:txBody>
      </p:sp>
      <p:sp>
        <p:nvSpPr>
          <p:cNvPr id="41" name="Rectangle 40">
            <a:extLst>
              <a:ext uri="{FF2B5EF4-FFF2-40B4-BE49-F238E27FC236}">
                <a16:creationId xmlns:a16="http://schemas.microsoft.com/office/drawing/2014/main" id="{F862AA64-5BDC-A136-7214-0867B894DBE8}"/>
              </a:ext>
            </a:extLst>
          </p:cNvPr>
          <p:cNvSpPr/>
          <p:nvPr/>
        </p:nvSpPr>
        <p:spPr bwMode="ltGray">
          <a:xfrm>
            <a:off x="744418" y="2494297"/>
            <a:ext cx="3247218" cy="396823"/>
          </a:xfrm>
          <a:prstGeom prst="rect">
            <a:avLst/>
          </a:prstGeom>
          <a:solidFill>
            <a:schemeClr val="bg2">
              <a:lumMod val="9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32000" rIns="396000" rtlCol="0" anchor="ctr"/>
          <a:lstStyle/>
          <a:p>
            <a:pPr>
              <a:lnSpc>
                <a:spcPct val="100000"/>
              </a:lnSpc>
              <a:spcAft>
                <a:spcPts val="1200"/>
              </a:spcAft>
            </a:pPr>
            <a:endParaRPr lang="en-US" sz="1200" b="1" dirty="0"/>
          </a:p>
        </p:txBody>
      </p:sp>
      <p:sp>
        <p:nvSpPr>
          <p:cNvPr id="42" name="TextBox 41">
            <a:extLst>
              <a:ext uri="{FF2B5EF4-FFF2-40B4-BE49-F238E27FC236}">
                <a16:creationId xmlns:a16="http://schemas.microsoft.com/office/drawing/2014/main" id="{63B11E67-28C9-7546-F8EA-DE5DF47A6154}"/>
              </a:ext>
            </a:extLst>
          </p:cNvPr>
          <p:cNvSpPr txBox="1"/>
          <p:nvPr/>
        </p:nvSpPr>
        <p:spPr>
          <a:xfrm>
            <a:off x="858695" y="2581365"/>
            <a:ext cx="2869029" cy="184666"/>
          </a:xfrm>
          <a:prstGeom prst="rect">
            <a:avLst/>
          </a:prstGeom>
          <a:noFill/>
          <a:ln>
            <a:noFill/>
          </a:ln>
        </p:spPr>
        <p:txBody>
          <a:bodyPr wrap="square" lIns="0" tIns="0" rIns="0" bIns="0" rtlCol="0">
            <a:spAutoFit/>
          </a:bodyPr>
          <a:lstStyle/>
          <a:p>
            <a:pPr>
              <a:lnSpc>
                <a:spcPct val="100000"/>
              </a:lnSpc>
              <a:spcAft>
                <a:spcPts val="1200"/>
              </a:spcAft>
            </a:pPr>
            <a:r>
              <a:rPr lang="en-US" sz="1200" b="1" dirty="0"/>
              <a:t>OFAC Sanctions List (USA)</a:t>
            </a:r>
          </a:p>
        </p:txBody>
      </p:sp>
      <p:sp>
        <p:nvSpPr>
          <p:cNvPr id="43" name="TextBox 42">
            <a:extLst>
              <a:ext uri="{FF2B5EF4-FFF2-40B4-BE49-F238E27FC236}">
                <a16:creationId xmlns:a16="http://schemas.microsoft.com/office/drawing/2014/main" id="{8C6F5AD4-524D-FC39-FD58-09F220A41B70}"/>
              </a:ext>
            </a:extLst>
          </p:cNvPr>
          <p:cNvSpPr txBox="1"/>
          <p:nvPr/>
        </p:nvSpPr>
        <p:spPr>
          <a:xfrm>
            <a:off x="858695" y="2986474"/>
            <a:ext cx="2995675" cy="973728"/>
          </a:xfrm>
          <a:prstGeom prst="rect">
            <a:avLst/>
          </a:prstGeom>
          <a:noFill/>
        </p:spPr>
        <p:txBody>
          <a:bodyPr wrap="square" lIns="0" tIns="0" rIns="0" bIns="0" rtlCol="0">
            <a:spAutoFit/>
          </a:bodyPr>
          <a:lstStyle/>
          <a:p>
            <a:pPr lvl="0">
              <a:lnSpc>
                <a:spcPct val="107000"/>
              </a:lnSpc>
              <a:spcAft>
                <a:spcPts val="800"/>
              </a:spcAft>
              <a:tabLst>
                <a:tab pos="381635" algn="l"/>
              </a:tabLst>
            </a:pPr>
            <a:r>
              <a:rPr lang="en-US" sz="1200" dirty="0"/>
              <a:t>The Office of Foreign Assets Control (OFAC) operates under the US Treasury Department and is responsible for administering and enforcing the United States’ economic and trade sanctions.</a:t>
            </a:r>
            <a:endParaRPr lang="en-IN" sz="1200" dirty="0"/>
          </a:p>
        </p:txBody>
      </p:sp>
      <p:sp>
        <p:nvSpPr>
          <p:cNvPr id="44" name="Rectangle 43">
            <a:extLst>
              <a:ext uri="{FF2B5EF4-FFF2-40B4-BE49-F238E27FC236}">
                <a16:creationId xmlns:a16="http://schemas.microsoft.com/office/drawing/2014/main" id="{7C84524E-A1C5-2EE1-7746-04F72D10F8C5}"/>
              </a:ext>
            </a:extLst>
          </p:cNvPr>
          <p:cNvSpPr/>
          <p:nvPr/>
        </p:nvSpPr>
        <p:spPr>
          <a:xfrm>
            <a:off x="4469521" y="2494161"/>
            <a:ext cx="3248295" cy="17154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dirty="0"/>
          </a:p>
        </p:txBody>
      </p:sp>
      <p:sp>
        <p:nvSpPr>
          <p:cNvPr id="45" name="Rectangle 44">
            <a:extLst>
              <a:ext uri="{FF2B5EF4-FFF2-40B4-BE49-F238E27FC236}">
                <a16:creationId xmlns:a16="http://schemas.microsoft.com/office/drawing/2014/main" id="{50DA0DC4-E935-8466-E04D-1E7570CA05BE}"/>
              </a:ext>
            </a:extLst>
          </p:cNvPr>
          <p:cNvSpPr/>
          <p:nvPr/>
        </p:nvSpPr>
        <p:spPr bwMode="ltGray">
          <a:xfrm>
            <a:off x="4469521" y="2494297"/>
            <a:ext cx="3247218" cy="396823"/>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32000" rIns="396000" rtlCol="0" anchor="ctr"/>
          <a:lstStyle/>
          <a:p>
            <a:pPr>
              <a:lnSpc>
                <a:spcPct val="100000"/>
              </a:lnSpc>
              <a:spcAft>
                <a:spcPts val="1200"/>
              </a:spcAft>
            </a:pPr>
            <a:endParaRPr lang="en-US" sz="1200" b="1" dirty="0"/>
          </a:p>
        </p:txBody>
      </p:sp>
      <p:sp>
        <p:nvSpPr>
          <p:cNvPr id="46" name="TextBox 45">
            <a:extLst>
              <a:ext uri="{FF2B5EF4-FFF2-40B4-BE49-F238E27FC236}">
                <a16:creationId xmlns:a16="http://schemas.microsoft.com/office/drawing/2014/main" id="{DEDDB901-6392-0008-85F2-0C839DE65F38}"/>
              </a:ext>
            </a:extLst>
          </p:cNvPr>
          <p:cNvSpPr txBox="1"/>
          <p:nvPr/>
        </p:nvSpPr>
        <p:spPr>
          <a:xfrm>
            <a:off x="4584279" y="2581365"/>
            <a:ext cx="2869029" cy="184666"/>
          </a:xfrm>
          <a:prstGeom prst="rect">
            <a:avLst/>
          </a:prstGeom>
          <a:noFill/>
          <a:ln>
            <a:noFill/>
          </a:ln>
        </p:spPr>
        <p:txBody>
          <a:bodyPr wrap="square" lIns="0" tIns="0" rIns="0" bIns="0" rtlCol="0">
            <a:spAutoFit/>
          </a:bodyPr>
          <a:lstStyle/>
          <a:p>
            <a:pPr>
              <a:lnSpc>
                <a:spcPct val="100000"/>
              </a:lnSpc>
              <a:spcAft>
                <a:spcPts val="1200"/>
              </a:spcAft>
            </a:pPr>
            <a:r>
              <a:rPr lang="en-US" sz="1200" b="1" dirty="0">
                <a:solidFill>
                  <a:schemeClr val="bg1"/>
                </a:solidFill>
              </a:rPr>
              <a:t>United Nations Sanctions List</a:t>
            </a:r>
          </a:p>
        </p:txBody>
      </p:sp>
      <p:sp>
        <p:nvSpPr>
          <p:cNvPr id="47" name="TextBox 46">
            <a:extLst>
              <a:ext uri="{FF2B5EF4-FFF2-40B4-BE49-F238E27FC236}">
                <a16:creationId xmlns:a16="http://schemas.microsoft.com/office/drawing/2014/main" id="{BFC66CED-9C55-3A14-7793-5287AE5B19A3}"/>
              </a:ext>
            </a:extLst>
          </p:cNvPr>
          <p:cNvSpPr txBox="1"/>
          <p:nvPr/>
        </p:nvSpPr>
        <p:spPr>
          <a:xfrm>
            <a:off x="4584279" y="2986474"/>
            <a:ext cx="2995675" cy="923330"/>
          </a:xfrm>
          <a:prstGeom prst="rect">
            <a:avLst/>
          </a:prstGeom>
          <a:noFill/>
        </p:spPr>
        <p:txBody>
          <a:bodyPr wrap="square" lIns="0" tIns="0" rIns="0" bIns="0" rtlCol="0">
            <a:spAutoFit/>
          </a:bodyPr>
          <a:lstStyle/>
          <a:p>
            <a:r>
              <a:rPr lang="en-US" sz="1200" dirty="0"/>
              <a:t>United Nations it publishes a Sanction List known as the UN Sanctions which includes a list of all sanctioned individuals and entities that regulated entities in India must subject to sanction measures.</a:t>
            </a:r>
            <a:endParaRPr lang="en-IN" sz="1200" dirty="0"/>
          </a:p>
        </p:txBody>
      </p:sp>
      <p:sp>
        <p:nvSpPr>
          <p:cNvPr id="48" name="Rectangle 47">
            <a:extLst>
              <a:ext uri="{FF2B5EF4-FFF2-40B4-BE49-F238E27FC236}">
                <a16:creationId xmlns:a16="http://schemas.microsoft.com/office/drawing/2014/main" id="{C8627E99-E390-42D5-F802-CA9A8829CC17}"/>
              </a:ext>
            </a:extLst>
          </p:cNvPr>
          <p:cNvSpPr/>
          <p:nvPr/>
        </p:nvSpPr>
        <p:spPr>
          <a:xfrm>
            <a:off x="8199141" y="2494161"/>
            <a:ext cx="3248295" cy="17154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dirty="0"/>
          </a:p>
        </p:txBody>
      </p:sp>
      <p:sp>
        <p:nvSpPr>
          <p:cNvPr id="49" name="Rectangle 48">
            <a:extLst>
              <a:ext uri="{FF2B5EF4-FFF2-40B4-BE49-F238E27FC236}">
                <a16:creationId xmlns:a16="http://schemas.microsoft.com/office/drawing/2014/main" id="{0B21D6B5-BE22-B6B7-32C3-5E7C5F863D89}"/>
              </a:ext>
            </a:extLst>
          </p:cNvPr>
          <p:cNvSpPr/>
          <p:nvPr/>
        </p:nvSpPr>
        <p:spPr bwMode="ltGray">
          <a:xfrm>
            <a:off x="8199141" y="2494297"/>
            <a:ext cx="3247218" cy="396823"/>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32000" rIns="396000" rtlCol="0" anchor="ctr"/>
          <a:lstStyle/>
          <a:p>
            <a:pPr>
              <a:lnSpc>
                <a:spcPct val="100000"/>
              </a:lnSpc>
              <a:spcAft>
                <a:spcPts val="1200"/>
              </a:spcAft>
            </a:pPr>
            <a:endParaRPr lang="en-US" sz="1200" b="1" dirty="0"/>
          </a:p>
        </p:txBody>
      </p:sp>
      <p:sp>
        <p:nvSpPr>
          <p:cNvPr id="50" name="TextBox 49">
            <a:extLst>
              <a:ext uri="{FF2B5EF4-FFF2-40B4-BE49-F238E27FC236}">
                <a16:creationId xmlns:a16="http://schemas.microsoft.com/office/drawing/2014/main" id="{85C10E06-D841-7BA8-FE73-AF909A24CA34}"/>
              </a:ext>
            </a:extLst>
          </p:cNvPr>
          <p:cNvSpPr txBox="1"/>
          <p:nvPr/>
        </p:nvSpPr>
        <p:spPr>
          <a:xfrm>
            <a:off x="8312791" y="2581365"/>
            <a:ext cx="2869029" cy="184666"/>
          </a:xfrm>
          <a:prstGeom prst="rect">
            <a:avLst/>
          </a:prstGeom>
          <a:noFill/>
          <a:ln>
            <a:noFill/>
          </a:ln>
        </p:spPr>
        <p:txBody>
          <a:bodyPr wrap="square" lIns="0" tIns="0" rIns="0" bIns="0" rtlCol="0">
            <a:spAutoFit/>
          </a:bodyPr>
          <a:lstStyle/>
          <a:p>
            <a:pPr>
              <a:lnSpc>
                <a:spcPct val="100000"/>
              </a:lnSpc>
              <a:spcAft>
                <a:spcPts val="1200"/>
              </a:spcAft>
            </a:pPr>
            <a:r>
              <a:rPr lang="en-US" sz="1200" b="1" dirty="0">
                <a:solidFill>
                  <a:schemeClr val="bg1"/>
                </a:solidFill>
              </a:rPr>
              <a:t>FATF advisory</a:t>
            </a:r>
          </a:p>
        </p:txBody>
      </p:sp>
      <p:sp>
        <p:nvSpPr>
          <p:cNvPr id="51" name="TextBox 50">
            <a:extLst>
              <a:ext uri="{FF2B5EF4-FFF2-40B4-BE49-F238E27FC236}">
                <a16:creationId xmlns:a16="http://schemas.microsoft.com/office/drawing/2014/main" id="{BCB3FCEC-1B56-5540-86C8-582D5F7D1848}"/>
              </a:ext>
            </a:extLst>
          </p:cNvPr>
          <p:cNvSpPr txBox="1"/>
          <p:nvPr/>
        </p:nvSpPr>
        <p:spPr>
          <a:xfrm>
            <a:off x="8312791" y="2986474"/>
            <a:ext cx="3134164" cy="923330"/>
          </a:xfrm>
          <a:prstGeom prst="rect">
            <a:avLst/>
          </a:prstGeom>
          <a:noFill/>
        </p:spPr>
        <p:txBody>
          <a:bodyPr wrap="square" lIns="0" tIns="0" rIns="0" bIns="0" rtlCol="0">
            <a:spAutoFit/>
          </a:bodyPr>
          <a:lstStyle/>
          <a:p>
            <a:r>
              <a:rPr lang="en-US" sz="1200" dirty="0"/>
              <a:t>FATF has 2 types of lists- </a:t>
            </a:r>
          </a:p>
          <a:p>
            <a:r>
              <a:rPr lang="en-US" sz="1200" b="1" dirty="0"/>
              <a:t>Blacklist: </a:t>
            </a:r>
            <a:r>
              <a:rPr lang="en-US" sz="1200" dirty="0"/>
              <a:t>Countries knowns as Non-Cooperative Countries or Territories (NCCTs)</a:t>
            </a:r>
          </a:p>
          <a:p>
            <a:r>
              <a:rPr lang="en-US" sz="1200" b="1" dirty="0"/>
              <a:t>Grey List: </a:t>
            </a:r>
            <a:r>
              <a:rPr lang="en-US" sz="1200" dirty="0"/>
              <a:t>Countries that are considered a safe haven for supporting ML and TF. </a:t>
            </a:r>
            <a:endParaRPr lang="en-IN" sz="1200" dirty="0"/>
          </a:p>
        </p:txBody>
      </p:sp>
      <p:sp>
        <p:nvSpPr>
          <p:cNvPr id="52" name="Rectangle 51">
            <a:extLst>
              <a:ext uri="{FF2B5EF4-FFF2-40B4-BE49-F238E27FC236}">
                <a16:creationId xmlns:a16="http://schemas.microsoft.com/office/drawing/2014/main" id="{93355CD2-D5B6-98F2-2625-056A5252191A}"/>
              </a:ext>
            </a:extLst>
          </p:cNvPr>
          <p:cNvSpPr/>
          <p:nvPr/>
        </p:nvSpPr>
        <p:spPr>
          <a:xfrm>
            <a:off x="744418" y="4322961"/>
            <a:ext cx="3248295" cy="17154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dirty="0"/>
          </a:p>
        </p:txBody>
      </p:sp>
      <p:sp>
        <p:nvSpPr>
          <p:cNvPr id="53" name="Rectangle 52">
            <a:extLst>
              <a:ext uri="{FF2B5EF4-FFF2-40B4-BE49-F238E27FC236}">
                <a16:creationId xmlns:a16="http://schemas.microsoft.com/office/drawing/2014/main" id="{B772197A-909C-5693-84E0-E0FFD30E36F4}"/>
              </a:ext>
            </a:extLst>
          </p:cNvPr>
          <p:cNvSpPr/>
          <p:nvPr/>
        </p:nvSpPr>
        <p:spPr bwMode="ltGray">
          <a:xfrm>
            <a:off x="744418" y="4323097"/>
            <a:ext cx="3247218" cy="396823"/>
          </a:xfrm>
          <a:prstGeom prst="rect">
            <a:avLst/>
          </a:prstGeom>
          <a:solidFill>
            <a:schemeClr val="bg2">
              <a:lumMod val="9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32000" rIns="396000" rtlCol="0" anchor="ctr"/>
          <a:lstStyle/>
          <a:p>
            <a:pPr>
              <a:lnSpc>
                <a:spcPct val="100000"/>
              </a:lnSpc>
              <a:spcAft>
                <a:spcPts val="1200"/>
              </a:spcAft>
            </a:pPr>
            <a:endParaRPr lang="en-US" sz="1200" b="1" dirty="0"/>
          </a:p>
        </p:txBody>
      </p:sp>
      <p:sp>
        <p:nvSpPr>
          <p:cNvPr id="54" name="TextBox 53">
            <a:extLst>
              <a:ext uri="{FF2B5EF4-FFF2-40B4-BE49-F238E27FC236}">
                <a16:creationId xmlns:a16="http://schemas.microsoft.com/office/drawing/2014/main" id="{C19DDA5A-89A6-3400-4CBC-1B79F5BE3EC7}"/>
              </a:ext>
            </a:extLst>
          </p:cNvPr>
          <p:cNvSpPr txBox="1"/>
          <p:nvPr/>
        </p:nvSpPr>
        <p:spPr>
          <a:xfrm>
            <a:off x="858695" y="4410165"/>
            <a:ext cx="2869029" cy="184666"/>
          </a:xfrm>
          <a:prstGeom prst="rect">
            <a:avLst/>
          </a:prstGeom>
          <a:noFill/>
          <a:ln>
            <a:noFill/>
          </a:ln>
        </p:spPr>
        <p:txBody>
          <a:bodyPr wrap="square" lIns="0" tIns="0" rIns="0" bIns="0" rtlCol="0">
            <a:spAutoFit/>
          </a:bodyPr>
          <a:lstStyle/>
          <a:p>
            <a:pPr>
              <a:lnSpc>
                <a:spcPct val="100000"/>
              </a:lnSpc>
              <a:spcAft>
                <a:spcPts val="1200"/>
              </a:spcAft>
            </a:pPr>
            <a:r>
              <a:rPr lang="en-US" sz="1200" b="1" dirty="0"/>
              <a:t>UK HMT</a:t>
            </a:r>
          </a:p>
        </p:txBody>
      </p:sp>
      <p:sp>
        <p:nvSpPr>
          <p:cNvPr id="55" name="TextBox 54">
            <a:extLst>
              <a:ext uri="{FF2B5EF4-FFF2-40B4-BE49-F238E27FC236}">
                <a16:creationId xmlns:a16="http://schemas.microsoft.com/office/drawing/2014/main" id="{3E5F7F22-139E-B2FC-EA51-703EB68BE4D8}"/>
              </a:ext>
            </a:extLst>
          </p:cNvPr>
          <p:cNvSpPr txBox="1"/>
          <p:nvPr/>
        </p:nvSpPr>
        <p:spPr>
          <a:xfrm>
            <a:off x="858695" y="4815274"/>
            <a:ext cx="2995675" cy="776110"/>
          </a:xfrm>
          <a:prstGeom prst="rect">
            <a:avLst/>
          </a:prstGeom>
          <a:noFill/>
        </p:spPr>
        <p:txBody>
          <a:bodyPr wrap="square" lIns="0" tIns="0" rIns="0" bIns="0" rtlCol="0">
            <a:spAutoFit/>
          </a:bodyPr>
          <a:lstStyle/>
          <a:p>
            <a:pPr lvl="0">
              <a:lnSpc>
                <a:spcPct val="107000"/>
              </a:lnSpc>
              <a:spcAft>
                <a:spcPts val="800"/>
              </a:spcAft>
              <a:tabLst>
                <a:tab pos="381635" algn="l"/>
              </a:tabLst>
            </a:pPr>
            <a:r>
              <a:rPr lang="en-US" sz="1200" dirty="0"/>
              <a:t>The UK government publishes the UK Sanctions List, which provides details of those designated under regulations made under the Sanctions Act. </a:t>
            </a:r>
            <a:endParaRPr lang="en-IN" sz="1200" dirty="0"/>
          </a:p>
        </p:txBody>
      </p:sp>
      <p:sp>
        <p:nvSpPr>
          <p:cNvPr id="56" name="Rectangle 55">
            <a:extLst>
              <a:ext uri="{FF2B5EF4-FFF2-40B4-BE49-F238E27FC236}">
                <a16:creationId xmlns:a16="http://schemas.microsoft.com/office/drawing/2014/main" id="{02329ADE-AF66-3ECC-C37D-A5D5C60D9C00}"/>
              </a:ext>
            </a:extLst>
          </p:cNvPr>
          <p:cNvSpPr/>
          <p:nvPr/>
        </p:nvSpPr>
        <p:spPr>
          <a:xfrm>
            <a:off x="4469521" y="4322961"/>
            <a:ext cx="3248295" cy="17154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dirty="0"/>
          </a:p>
        </p:txBody>
      </p:sp>
      <p:sp>
        <p:nvSpPr>
          <p:cNvPr id="57" name="Rectangle 56">
            <a:extLst>
              <a:ext uri="{FF2B5EF4-FFF2-40B4-BE49-F238E27FC236}">
                <a16:creationId xmlns:a16="http://schemas.microsoft.com/office/drawing/2014/main" id="{53E24C4A-5828-5999-6361-06DF60B8DFB3}"/>
              </a:ext>
            </a:extLst>
          </p:cNvPr>
          <p:cNvSpPr/>
          <p:nvPr/>
        </p:nvSpPr>
        <p:spPr bwMode="ltGray">
          <a:xfrm>
            <a:off x="4469521" y="4323097"/>
            <a:ext cx="3247218" cy="396823"/>
          </a:xfrm>
          <a:prstGeom prst="rect">
            <a:avLst/>
          </a:prstGeom>
          <a:solidFill>
            <a:schemeClr val="bg2">
              <a:lumMod val="9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32000" rIns="396000" rtlCol="0" anchor="ctr"/>
          <a:lstStyle/>
          <a:p>
            <a:pPr>
              <a:lnSpc>
                <a:spcPct val="100000"/>
              </a:lnSpc>
              <a:spcAft>
                <a:spcPts val="1200"/>
              </a:spcAft>
            </a:pPr>
            <a:endParaRPr lang="en-US" sz="1200" b="1" dirty="0"/>
          </a:p>
        </p:txBody>
      </p:sp>
      <p:sp>
        <p:nvSpPr>
          <p:cNvPr id="58" name="TextBox 57">
            <a:extLst>
              <a:ext uri="{FF2B5EF4-FFF2-40B4-BE49-F238E27FC236}">
                <a16:creationId xmlns:a16="http://schemas.microsoft.com/office/drawing/2014/main" id="{7285CEA3-2D10-244C-1889-D81F118D2515}"/>
              </a:ext>
            </a:extLst>
          </p:cNvPr>
          <p:cNvSpPr txBox="1"/>
          <p:nvPr/>
        </p:nvSpPr>
        <p:spPr>
          <a:xfrm>
            <a:off x="4584279" y="4410165"/>
            <a:ext cx="2869029" cy="184666"/>
          </a:xfrm>
          <a:prstGeom prst="rect">
            <a:avLst/>
          </a:prstGeom>
          <a:noFill/>
          <a:ln>
            <a:noFill/>
          </a:ln>
        </p:spPr>
        <p:txBody>
          <a:bodyPr wrap="square" lIns="0" tIns="0" rIns="0" bIns="0" rtlCol="0">
            <a:spAutoFit/>
          </a:bodyPr>
          <a:lstStyle/>
          <a:p>
            <a:pPr>
              <a:lnSpc>
                <a:spcPct val="100000"/>
              </a:lnSpc>
              <a:spcAft>
                <a:spcPts val="1200"/>
              </a:spcAft>
            </a:pPr>
            <a:r>
              <a:rPr lang="en-US" sz="1200" b="1" dirty="0"/>
              <a:t>European Union (EU) Sanctions List</a:t>
            </a:r>
          </a:p>
        </p:txBody>
      </p:sp>
      <p:sp>
        <p:nvSpPr>
          <p:cNvPr id="59" name="TextBox 58">
            <a:extLst>
              <a:ext uri="{FF2B5EF4-FFF2-40B4-BE49-F238E27FC236}">
                <a16:creationId xmlns:a16="http://schemas.microsoft.com/office/drawing/2014/main" id="{B828D364-82F0-B3FC-EFB7-94D7ACACF15E}"/>
              </a:ext>
            </a:extLst>
          </p:cNvPr>
          <p:cNvSpPr txBox="1"/>
          <p:nvPr/>
        </p:nvSpPr>
        <p:spPr>
          <a:xfrm>
            <a:off x="4584279" y="4815274"/>
            <a:ext cx="2995675" cy="553998"/>
          </a:xfrm>
          <a:prstGeom prst="rect">
            <a:avLst/>
          </a:prstGeom>
          <a:noFill/>
        </p:spPr>
        <p:txBody>
          <a:bodyPr wrap="square" lIns="0" tIns="0" rIns="0" bIns="0" rtlCol="0">
            <a:spAutoFit/>
          </a:bodyPr>
          <a:lstStyle/>
          <a:p>
            <a:r>
              <a:rPr lang="en-US" sz="1200" dirty="0"/>
              <a:t>EU Sanctions are linked to United Nations Security Council Resolutions, but the EU imposes its own autonomous sanctions</a:t>
            </a:r>
            <a:endParaRPr lang="en-IN" sz="1200" dirty="0"/>
          </a:p>
        </p:txBody>
      </p:sp>
      <p:sp>
        <p:nvSpPr>
          <p:cNvPr id="60" name="Rectangle 59">
            <a:extLst>
              <a:ext uri="{FF2B5EF4-FFF2-40B4-BE49-F238E27FC236}">
                <a16:creationId xmlns:a16="http://schemas.microsoft.com/office/drawing/2014/main" id="{60E323A3-D9FA-E5F9-7ED0-E244B21B0219}"/>
              </a:ext>
            </a:extLst>
          </p:cNvPr>
          <p:cNvSpPr/>
          <p:nvPr/>
        </p:nvSpPr>
        <p:spPr>
          <a:xfrm>
            <a:off x="8199141" y="4322961"/>
            <a:ext cx="3248295" cy="171545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dirty="0"/>
          </a:p>
        </p:txBody>
      </p:sp>
      <p:sp>
        <p:nvSpPr>
          <p:cNvPr id="61" name="Rectangle 60">
            <a:extLst>
              <a:ext uri="{FF2B5EF4-FFF2-40B4-BE49-F238E27FC236}">
                <a16:creationId xmlns:a16="http://schemas.microsoft.com/office/drawing/2014/main" id="{207BCCBB-AE8A-E384-DC04-C7F822204002}"/>
              </a:ext>
            </a:extLst>
          </p:cNvPr>
          <p:cNvSpPr/>
          <p:nvPr/>
        </p:nvSpPr>
        <p:spPr bwMode="ltGray">
          <a:xfrm>
            <a:off x="8199141" y="4323097"/>
            <a:ext cx="3247218" cy="396823"/>
          </a:xfrm>
          <a:prstGeom prst="rect">
            <a:avLst/>
          </a:prstGeom>
          <a:solidFill>
            <a:schemeClr val="bg2">
              <a:lumMod val="9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32000" rIns="396000" rtlCol="0" anchor="ctr"/>
          <a:lstStyle/>
          <a:p>
            <a:pPr>
              <a:lnSpc>
                <a:spcPct val="100000"/>
              </a:lnSpc>
              <a:spcAft>
                <a:spcPts val="1200"/>
              </a:spcAft>
            </a:pPr>
            <a:endParaRPr lang="en-US" sz="1200" b="1" dirty="0"/>
          </a:p>
        </p:txBody>
      </p:sp>
      <p:sp>
        <p:nvSpPr>
          <p:cNvPr id="62" name="TextBox 61">
            <a:extLst>
              <a:ext uri="{FF2B5EF4-FFF2-40B4-BE49-F238E27FC236}">
                <a16:creationId xmlns:a16="http://schemas.microsoft.com/office/drawing/2014/main" id="{2CBF45A5-2B54-7A4B-984E-5904AC5FADFA}"/>
              </a:ext>
            </a:extLst>
          </p:cNvPr>
          <p:cNvSpPr txBox="1"/>
          <p:nvPr/>
        </p:nvSpPr>
        <p:spPr>
          <a:xfrm>
            <a:off x="8312791" y="4410165"/>
            <a:ext cx="2869029" cy="184666"/>
          </a:xfrm>
          <a:prstGeom prst="rect">
            <a:avLst/>
          </a:prstGeom>
          <a:noFill/>
          <a:ln>
            <a:noFill/>
          </a:ln>
        </p:spPr>
        <p:txBody>
          <a:bodyPr wrap="square" lIns="0" tIns="0" rIns="0" bIns="0" rtlCol="0">
            <a:spAutoFit/>
          </a:bodyPr>
          <a:lstStyle/>
          <a:p>
            <a:pPr>
              <a:lnSpc>
                <a:spcPct val="100000"/>
              </a:lnSpc>
              <a:spcAft>
                <a:spcPts val="1200"/>
              </a:spcAft>
            </a:pPr>
            <a:r>
              <a:rPr lang="en-US" sz="1200" b="1" dirty="0"/>
              <a:t>Australian Sanctions</a:t>
            </a:r>
          </a:p>
        </p:txBody>
      </p:sp>
      <p:sp>
        <p:nvSpPr>
          <p:cNvPr id="63" name="TextBox 62">
            <a:extLst>
              <a:ext uri="{FF2B5EF4-FFF2-40B4-BE49-F238E27FC236}">
                <a16:creationId xmlns:a16="http://schemas.microsoft.com/office/drawing/2014/main" id="{F41D205F-74B3-2AE1-E5C0-655FCC76A1AF}"/>
              </a:ext>
            </a:extLst>
          </p:cNvPr>
          <p:cNvSpPr txBox="1"/>
          <p:nvPr/>
        </p:nvSpPr>
        <p:spPr>
          <a:xfrm>
            <a:off x="8312791" y="4815274"/>
            <a:ext cx="3020514" cy="923330"/>
          </a:xfrm>
          <a:prstGeom prst="rect">
            <a:avLst/>
          </a:prstGeom>
          <a:noFill/>
        </p:spPr>
        <p:txBody>
          <a:bodyPr wrap="square" lIns="0" tIns="0" rIns="0" bIns="0" rtlCol="0">
            <a:spAutoFit/>
          </a:bodyPr>
          <a:lstStyle/>
          <a:p>
            <a:r>
              <a:rPr lang="en-US" sz="1200" dirty="0"/>
              <a:t>Australia implements United Nations Security Council (UNSC) sanctions, as a member of the UN, and Australian autonomous sanctions, which are imposed as a matter of Australian foreign policy.</a:t>
            </a:r>
            <a:endParaRPr lang="en-IN" sz="1200" dirty="0"/>
          </a:p>
        </p:txBody>
      </p:sp>
    </p:spTree>
    <p:custDataLst>
      <p:custData r:id="rId2"/>
    </p:custDataLst>
    <p:extLst>
      <p:ext uri="{BB962C8B-B14F-4D97-AF65-F5344CB8AC3E}">
        <p14:creationId xmlns:p14="http://schemas.microsoft.com/office/powerpoint/2010/main" val="15749491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4DA136-1EA4-F7C5-200C-77C4257A5B8E}"/>
              </a:ext>
            </a:extLst>
          </p:cNvPr>
          <p:cNvGraphicFramePr>
            <a:graphicFrameLocks noChangeAspect="1"/>
          </p:cNvGraphicFramePr>
          <p:nvPr>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285" name="think-cell Slide" r:id="rId6" imgW="7772400" imgH="10058400" progId="TCLayout.ActiveDocument.1">
                  <p:embed/>
                </p:oleObj>
              </mc:Choice>
              <mc:Fallback>
                <p:oleObj name="think-cell Slide" r:id="rId6" imgW="7772400" imgH="10058400" progId="TCLayout.ActiveDocument.1">
                  <p:embed/>
                  <p:pic>
                    <p:nvPicPr>
                      <p:cNvPr id="10" name="Object 9" hidden="1">
                        <a:extLst>
                          <a:ext uri="{FF2B5EF4-FFF2-40B4-BE49-F238E27FC236}">
                            <a16:creationId xmlns:a16="http://schemas.microsoft.com/office/drawing/2014/main" id="{2D4DA136-1EA4-F7C5-200C-77C4257A5B8E}"/>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2F8DBAD9-2FB4-3D45-BD3C-AE82E5DD780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169" name="TextBox 168">
            <a:extLst>
              <a:ext uri="{FF2B5EF4-FFF2-40B4-BE49-F238E27FC236}">
                <a16:creationId xmlns:a16="http://schemas.microsoft.com/office/drawing/2014/main" id="{20452E5A-2247-49EF-A923-10AF3F688F10}"/>
              </a:ext>
            </a:extLst>
          </p:cNvPr>
          <p:cNvSpPr txBox="1"/>
          <p:nvPr/>
        </p:nvSpPr>
        <p:spPr>
          <a:xfrm>
            <a:off x="349820" y="318107"/>
            <a:ext cx="11380218" cy="523220"/>
          </a:xfrm>
          <a:prstGeom prst="rect">
            <a:avLst/>
          </a:prstGeom>
          <a:noFill/>
        </p:spPr>
        <p:txBody>
          <a:bodyPr wrap="square">
            <a:spAutoFit/>
          </a:bodyPr>
          <a:lstStyle/>
          <a:p>
            <a:pPr lvl="0">
              <a:defRPr/>
            </a:pPr>
            <a:r>
              <a:rPr lang="en-US" sz="2800" dirty="0">
                <a:solidFill>
                  <a:srgbClr val="000000"/>
                </a:solidFill>
                <a:latin typeface="Georgia"/>
                <a:ea typeface="Georgia"/>
                <a:cs typeface="Georgia"/>
                <a:sym typeface="Georgia"/>
              </a:rPr>
              <a:t>Financial Action Task Force (FATF)</a:t>
            </a:r>
          </a:p>
        </p:txBody>
      </p:sp>
      <p:sp>
        <p:nvSpPr>
          <p:cNvPr id="2" name="Rectangle 1">
            <a:extLst>
              <a:ext uri="{FF2B5EF4-FFF2-40B4-BE49-F238E27FC236}">
                <a16:creationId xmlns:a16="http://schemas.microsoft.com/office/drawing/2014/main" id="{D3E82E12-CB3F-8998-950F-A2D45F6DB6BF}"/>
              </a:ext>
            </a:extLst>
          </p:cNvPr>
          <p:cNvSpPr/>
          <p:nvPr/>
        </p:nvSpPr>
        <p:spPr bwMode="gray">
          <a:xfrm>
            <a:off x="0" y="0"/>
            <a:ext cx="12192000" cy="137160"/>
          </a:xfrm>
          <a:prstGeom prst="rect">
            <a:avLst/>
          </a:prstGeom>
          <a:solidFill>
            <a:schemeClr val="accent3"/>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3" name="Content Placeholder 1">
            <a:extLst>
              <a:ext uri="{FF2B5EF4-FFF2-40B4-BE49-F238E27FC236}">
                <a16:creationId xmlns:a16="http://schemas.microsoft.com/office/drawing/2014/main" id="{56656A3B-4AB2-9D0D-7915-FDED5970B2A0}"/>
              </a:ext>
            </a:extLst>
          </p:cNvPr>
          <p:cNvSpPr>
            <a:spLocks noGrp="1"/>
          </p:cNvSpPr>
          <p:nvPr>
            <p:ph sz="half" idx="1"/>
          </p:nvPr>
        </p:nvSpPr>
        <p:spPr>
          <a:xfrm>
            <a:off x="442912" y="1268823"/>
            <a:ext cx="5832476" cy="879423"/>
          </a:xfrm>
        </p:spPr>
        <p:txBody>
          <a:bodyPr/>
          <a:lstStyle/>
          <a:p>
            <a:pPr marL="0" indent="0">
              <a:buNone/>
            </a:pPr>
            <a:r>
              <a:rPr lang="en-US" sz="1400" b="0" dirty="0">
                <a:solidFill>
                  <a:schemeClr val="tx1"/>
                </a:solidFill>
              </a:rPr>
              <a:t>The Financial Action Task Force (FATF) is an inter-governmental body established in 1989 to set standards and foster international action against money laundering.</a:t>
            </a:r>
          </a:p>
        </p:txBody>
      </p:sp>
      <p:pic>
        <p:nvPicPr>
          <p:cNvPr id="12" name="Picture 2">
            <a:extLst>
              <a:ext uri="{FF2B5EF4-FFF2-40B4-BE49-F238E27FC236}">
                <a16:creationId xmlns:a16="http://schemas.microsoft.com/office/drawing/2014/main" id="{5F396E34-F82D-7765-3F2A-AEB276B80692}"/>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tretch>
            <a:fillRect/>
          </a:stretch>
        </p:blipFill>
        <p:spPr bwMode="auto">
          <a:xfrm>
            <a:off x="442912" y="3261624"/>
            <a:ext cx="5832476" cy="2910576"/>
          </a:xfrm>
          <a:prstGeom prst="rect">
            <a:avLst/>
          </a:prstGeom>
          <a:extLst>
            <a:ext uri="{909E8E84-426E-40DD-AFC4-6F175D3DCCD1}">
              <a14:hiddenFill xmlns:a14="http://schemas.microsoft.com/office/drawing/2010/main">
                <a:solidFill>
                  <a:srgbClr val="FFFFFF"/>
                </a:solidFill>
              </a14:hiddenFill>
            </a:ext>
          </a:extLst>
        </p:spPr>
      </p:pic>
      <p:sp>
        <p:nvSpPr>
          <p:cNvPr id="17" name="Content Placeholder 1">
            <a:extLst>
              <a:ext uri="{FF2B5EF4-FFF2-40B4-BE49-F238E27FC236}">
                <a16:creationId xmlns:a16="http://schemas.microsoft.com/office/drawing/2014/main" id="{48BF3223-6791-FDBC-A1BC-6315A8D87F82}"/>
              </a:ext>
            </a:extLst>
          </p:cNvPr>
          <p:cNvSpPr txBox="1">
            <a:spLocks/>
          </p:cNvSpPr>
          <p:nvPr/>
        </p:nvSpPr>
        <p:spPr>
          <a:xfrm>
            <a:off x="442912" y="2188074"/>
            <a:ext cx="5832476" cy="75390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r>
              <a:rPr lang="en-US" sz="1400" b="0" dirty="0">
                <a:solidFill>
                  <a:schemeClr val="tx1"/>
                </a:solidFill>
              </a:rPr>
              <a:t>The FATF comprises 37 member jurisdictions and 2 regional organizations (European Commission and Gulf Co-operation Council) representing most major financial centers in all parts of the globe.</a:t>
            </a:r>
          </a:p>
        </p:txBody>
      </p:sp>
      <p:grpSp>
        <p:nvGrpSpPr>
          <p:cNvPr id="24" name="Group 23">
            <a:extLst>
              <a:ext uri="{FF2B5EF4-FFF2-40B4-BE49-F238E27FC236}">
                <a16:creationId xmlns:a16="http://schemas.microsoft.com/office/drawing/2014/main" id="{E660D0B1-D0BA-AE13-1E43-379320C5293C}"/>
              </a:ext>
            </a:extLst>
          </p:cNvPr>
          <p:cNvGrpSpPr/>
          <p:nvPr/>
        </p:nvGrpSpPr>
        <p:grpSpPr>
          <a:xfrm>
            <a:off x="6604367" y="1181100"/>
            <a:ext cx="5144721" cy="377579"/>
            <a:chOff x="541387" y="2715065"/>
            <a:chExt cx="5406598" cy="491484"/>
          </a:xfrm>
        </p:grpSpPr>
        <p:sp>
          <p:nvSpPr>
            <p:cNvPr id="36" name="Rectangle 35">
              <a:extLst>
                <a:ext uri="{FF2B5EF4-FFF2-40B4-BE49-F238E27FC236}">
                  <a16:creationId xmlns:a16="http://schemas.microsoft.com/office/drawing/2014/main" id="{ABE196BE-5386-D310-FC1F-755E0F823C62}"/>
                </a:ext>
              </a:extLst>
            </p:cNvPr>
            <p:cNvSpPr/>
            <p:nvPr/>
          </p:nvSpPr>
          <p:spPr bwMode="ltGray">
            <a:xfrm>
              <a:off x="541387" y="2715065"/>
              <a:ext cx="5406598" cy="491484"/>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32000" rIns="396000" rtlCol="0" anchor="ctr"/>
            <a:lstStyle/>
            <a:p>
              <a:pPr>
                <a:lnSpc>
                  <a:spcPct val="100000"/>
                </a:lnSpc>
                <a:spcAft>
                  <a:spcPts val="1200"/>
                </a:spcAft>
              </a:pPr>
              <a:endParaRPr lang="en-US" sz="1600" b="1" dirty="0"/>
            </a:p>
          </p:txBody>
        </p:sp>
        <p:sp>
          <p:nvSpPr>
            <p:cNvPr id="37" name="TextBox 36">
              <a:extLst>
                <a:ext uri="{FF2B5EF4-FFF2-40B4-BE49-F238E27FC236}">
                  <a16:creationId xmlns:a16="http://schemas.microsoft.com/office/drawing/2014/main" id="{D000C29E-A1E4-FB3D-D7EB-8E4A9FEC3DC9}"/>
                </a:ext>
              </a:extLst>
            </p:cNvPr>
            <p:cNvSpPr txBox="1"/>
            <p:nvPr/>
          </p:nvSpPr>
          <p:spPr>
            <a:xfrm>
              <a:off x="653891" y="2800556"/>
              <a:ext cx="5001321" cy="280437"/>
            </a:xfrm>
            <a:prstGeom prst="rect">
              <a:avLst/>
            </a:prstGeom>
            <a:noFill/>
          </p:spPr>
          <p:txBody>
            <a:bodyPr wrap="square" lIns="0" tIns="0" rIns="0" bIns="0" rtlCol="0">
              <a:spAutoFit/>
            </a:bodyPr>
            <a:lstStyle/>
            <a:p>
              <a:pPr>
                <a:lnSpc>
                  <a:spcPct val="100000"/>
                </a:lnSpc>
                <a:spcAft>
                  <a:spcPts val="1200"/>
                </a:spcAft>
              </a:pPr>
              <a:r>
                <a:rPr lang="en-US" sz="1400" b="1" dirty="0">
                  <a:solidFill>
                    <a:schemeClr val="bg1"/>
                  </a:solidFill>
                </a:rPr>
                <a:t>FATF 40 Recommendations</a:t>
              </a:r>
            </a:p>
          </p:txBody>
        </p:sp>
      </p:grpSp>
      <p:graphicFrame>
        <p:nvGraphicFramePr>
          <p:cNvPr id="38" name="Table 9">
            <a:extLst>
              <a:ext uri="{FF2B5EF4-FFF2-40B4-BE49-F238E27FC236}">
                <a16:creationId xmlns:a16="http://schemas.microsoft.com/office/drawing/2014/main" id="{2790CB53-F78F-EA8E-9E8E-A9262766519E}"/>
              </a:ext>
            </a:extLst>
          </p:cNvPr>
          <p:cNvGraphicFramePr>
            <a:graphicFrameLocks noGrp="1"/>
          </p:cNvGraphicFramePr>
          <p:nvPr>
            <p:extLst>
              <p:ext uri="{D42A27DB-BD31-4B8C-83A1-F6EECF244321}">
                <p14:modId xmlns:p14="http://schemas.microsoft.com/office/powerpoint/2010/main" val="3203000916"/>
              </p:ext>
            </p:extLst>
          </p:nvPr>
        </p:nvGraphicFramePr>
        <p:xfrm>
          <a:off x="6604367" y="1633900"/>
          <a:ext cx="5144721" cy="4538301"/>
        </p:xfrm>
        <a:graphic>
          <a:graphicData uri="http://schemas.openxmlformats.org/drawingml/2006/table">
            <a:tbl>
              <a:tblPr firstRow="1" bandRow="1">
                <a:tableStyleId>{46F890A9-2807-4EBB-B81D-B2AA78EC7F39}</a:tableStyleId>
              </a:tblPr>
              <a:tblGrid>
                <a:gridCol w="747260">
                  <a:extLst>
                    <a:ext uri="{9D8B030D-6E8A-4147-A177-3AD203B41FA5}">
                      <a16:colId xmlns:a16="http://schemas.microsoft.com/office/drawing/2014/main" val="3992423675"/>
                    </a:ext>
                  </a:extLst>
                </a:gridCol>
                <a:gridCol w="4397461">
                  <a:extLst>
                    <a:ext uri="{9D8B030D-6E8A-4147-A177-3AD203B41FA5}">
                      <a16:colId xmlns:a16="http://schemas.microsoft.com/office/drawing/2014/main" val="3667640553"/>
                    </a:ext>
                  </a:extLst>
                </a:gridCol>
              </a:tblGrid>
              <a:tr h="424352">
                <a:tc>
                  <a:txBody>
                    <a:bodyPr/>
                    <a:lstStyle/>
                    <a:p>
                      <a:pPr algn="ctr"/>
                      <a:r>
                        <a:rPr lang="en-US" sz="1300" dirty="0">
                          <a:solidFill>
                            <a:schemeClr val="tx1"/>
                          </a:solidFill>
                        </a:rPr>
                        <a:t>Group</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l"/>
                      <a:r>
                        <a:rPr lang="en-US" sz="1300" dirty="0">
                          <a:solidFill>
                            <a:schemeClr val="tx1"/>
                          </a:solidFill>
                        </a:rPr>
                        <a:t>Them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466181584"/>
                  </a:ext>
                </a:extLst>
              </a:tr>
              <a:tr h="587707">
                <a:tc>
                  <a:txBody>
                    <a:bodyPr/>
                    <a:lstStyle/>
                    <a:p>
                      <a:pPr algn="ctr"/>
                      <a:r>
                        <a:rPr lang="en-US" sz="1300" dirty="0"/>
                        <a:t>I</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300" b="0" i="0" u="none" strike="noStrike" kern="1200" baseline="0" dirty="0">
                          <a:solidFill>
                            <a:schemeClr val="dk1"/>
                          </a:solidFill>
                          <a:latin typeface="+mn-lt"/>
                          <a:ea typeface="+mn-ea"/>
                          <a:cs typeface="+mn-cs"/>
                        </a:rPr>
                        <a:t>AML/CFT Policies and Coordination (1-2)</a:t>
                      </a:r>
                      <a:endParaRPr lang="en-US" sz="13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94545535"/>
                  </a:ext>
                </a:extLst>
              </a:tr>
              <a:tr h="587707">
                <a:tc>
                  <a:txBody>
                    <a:bodyPr/>
                    <a:lstStyle/>
                    <a:p>
                      <a:pPr algn="ctr"/>
                      <a:r>
                        <a:rPr lang="en-US" sz="1300" dirty="0"/>
                        <a:t>II</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300" b="0" i="0" u="none" strike="noStrike" kern="1200" baseline="0" dirty="0">
                          <a:solidFill>
                            <a:schemeClr val="dk1"/>
                          </a:solidFill>
                          <a:latin typeface="+mn-lt"/>
                          <a:ea typeface="+mn-ea"/>
                          <a:cs typeface="+mn-cs"/>
                        </a:rPr>
                        <a:t>Money Laundering and Confiscation (3-4)</a:t>
                      </a:r>
                      <a:endParaRPr lang="en-US" sz="13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7490947"/>
                  </a:ext>
                </a:extLst>
              </a:tr>
              <a:tr h="587707">
                <a:tc>
                  <a:txBody>
                    <a:bodyPr/>
                    <a:lstStyle/>
                    <a:p>
                      <a:pPr algn="ctr"/>
                      <a:r>
                        <a:rPr lang="en-US" sz="1300" dirty="0"/>
                        <a:t>III</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300" b="0" i="0" u="none" strike="noStrike" kern="1200" baseline="0" dirty="0">
                          <a:solidFill>
                            <a:schemeClr val="dk1"/>
                          </a:solidFill>
                          <a:latin typeface="+mn-lt"/>
                          <a:ea typeface="+mn-ea"/>
                          <a:cs typeface="+mn-cs"/>
                        </a:rPr>
                        <a:t>Terrorist Financing and Financing of Proliferation (5-8)</a:t>
                      </a:r>
                      <a:endParaRPr lang="en-US" sz="13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08426909"/>
                  </a:ext>
                </a:extLst>
              </a:tr>
              <a:tr h="587707">
                <a:tc>
                  <a:txBody>
                    <a:bodyPr/>
                    <a:lstStyle/>
                    <a:p>
                      <a:pPr algn="ctr"/>
                      <a:r>
                        <a:rPr lang="en-US" sz="1300" dirty="0"/>
                        <a:t>IV</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300" b="0" i="0" u="none" strike="noStrike" kern="1200" baseline="0" dirty="0">
                          <a:solidFill>
                            <a:schemeClr val="dk1"/>
                          </a:solidFill>
                          <a:latin typeface="+mn-lt"/>
                          <a:ea typeface="+mn-ea"/>
                          <a:cs typeface="+mn-cs"/>
                        </a:rPr>
                        <a:t>Financial and Non-Financial Institution Preventative</a:t>
                      </a:r>
                    </a:p>
                    <a:p>
                      <a:pPr algn="l"/>
                      <a:r>
                        <a:rPr lang="en-US" sz="1300" b="0" i="0" u="none" strike="noStrike" kern="1200" baseline="0" dirty="0">
                          <a:solidFill>
                            <a:schemeClr val="dk1"/>
                          </a:solidFill>
                          <a:latin typeface="+mn-lt"/>
                          <a:ea typeface="+mn-ea"/>
                          <a:cs typeface="+mn-cs"/>
                        </a:rPr>
                        <a:t>Measures (9-23)</a:t>
                      </a:r>
                      <a:endParaRPr lang="en-US" sz="13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24239167"/>
                  </a:ext>
                </a:extLst>
              </a:tr>
              <a:tr h="587707">
                <a:tc>
                  <a:txBody>
                    <a:bodyPr/>
                    <a:lstStyle/>
                    <a:p>
                      <a:pPr algn="ctr"/>
                      <a:r>
                        <a:rPr lang="en-US" sz="1300" dirty="0"/>
                        <a:t>V</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300" b="0" i="0" u="none" strike="noStrike" kern="1200" baseline="0" dirty="0">
                          <a:solidFill>
                            <a:schemeClr val="dk1"/>
                          </a:solidFill>
                          <a:latin typeface="+mn-lt"/>
                          <a:ea typeface="+mn-ea"/>
                          <a:cs typeface="+mn-cs"/>
                        </a:rPr>
                        <a:t>Transparency and Beneficial Ownership of Legal Persons and Arrangements (24-2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96447918"/>
                  </a:ext>
                </a:extLst>
              </a:tr>
              <a:tr h="587707">
                <a:tc>
                  <a:txBody>
                    <a:bodyPr/>
                    <a:lstStyle/>
                    <a:p>
                      <a:pPr algn="ctr"/>
                      <a:r>
                        <a:rPr lang="en-US" sz="1300" dirty="0"/>
                        <a:t>VI</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300" b="0" i="0" u="none" strike="noStrike" kern="1200" baseline="0" dirty="0">
                          <a:solidFill>
                            <a:schemeClr val="dk1"/>
                          </a:solidFill>
                          <a:latin typeface="+mn-lt"/>
                          <a:ea typeface="+mn-ea"/>
                          <a:cs typeface="+mn-cs"/>
                        </a:rPr>
                        <a:t>Powers and Responsibilities of Competent Authorities and Other Institutional Measures (26-35)</a:t>
                      </a:r>
                      <a:endParaRPr lang="en-US" sz="13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25455178"/>
                  </a:ext>
                </a:extLst>
              </a:tr>
              <a:tr h="587707">
                <a:tc>
                  <a:txBody>
                    <a:bodyPr/>
                    <a:lstStyle/>
                    <a:p>
                      <a:pPr algn="ctr"/>
                      <a:r>
                        <a:rPr lang="en-US" sz="1300" dirty="0"/>
                        <a:t>VII</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300" b="0" i="0" u="none" strike="noStrike" kern="1200" baseline="0" dirty="0">
                          <a:solidFill>
                            <a:schemeClr val="dk1"/>
                          </a:solidFill>
                          <a:latin typeface="+mn-lt"/>
                          <a:ea typeface="+mn-ea"/>
                          <a:cs typeface="+mn-cs"/>
                        </a:rPr>
                        <a:t>International Cooperation (36-40)</a:t>
                      </a:r>
                      <a:endParaRPr lang="en-US" sz="1300" b="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56928098"/>
                  </a:ext>
                </a:extLst>
              </a:tr>
            </a:tbl>
          </a:graphicData>
        </a:graphic>
      </p:graphicFrame>
      <p:sp>
        <p:nvSpPr>
          <p:cNvPr id="7" name="Rectangle 6">
            <a:extLst>
              <a:ext uri="{FF2B5EF4-FFF2-40B4-BE49-F238E27FC236}">
                <a16:creationId xmlns:a16="http://schemas.microsoft.com/office/drawing/2014/main" id="{33C52C50-442A-0ECE-32B7-18AAE14C4668}"/>
              </a:ext>
            </a:extLst>
          </p:cNvPr>
          <p:cNvSpPr/>
          <p:nvPr/>
        </p:nvSpPr>
        <p:spPr bwMode="gray">
          <a:xfrm>
            <a:off x="349820" y="3124200"/>
            <a:ext cx="6127180" cy="3048000"/>
          </a:xfrm>
          <a:prstGeom prst="rect">
            <a:avLst/>
          </a:prstGeom>
          <a:solidFill>
            <a:schemeClr val="bg1"/>
          </a:solidFill>
          <a:ln w="3175">
            <a:noFill/>
            <a:round/>
            <a:headEnd/>
            <a:tailEnd/>
          </a:ln>
        </p:spPr>
        <p:txBody>
          <a:bodyPr lIns="0" tIns="0" rIns="0" bIns="0" rtlCol="0" anchor="ctr"/>
          <a:lstStyle/>
          <a:p>
            <a:pPr algn="ctr" defTabSz="685463"/>
            <a:endParaRPr lang="en-US" sz="1200" b="1" kern="0" dirty="0">
              <a:cs typeface="Arial" charset="0"/>
            </a:endParaRPr>
          </a:p>
        </p:txBody>
      </p:sp>
      <p:pic>
        <p:nvPicPr>
          <p:cNvPr id="9" name="Picture 8" descr="A group of people sitting at a long table with laptops&#10;&#10;Description automatically generated with medium confidence">
            <a:extLst>
              <a:ext uri="{FF2B5EF4-FFF2-40B4-BE49-F238E27FC236}">
                <a16:creationId xmlns:a16="http://schemas.microsoft.com/office/drawing/2014/main" id="{87F2DDE9-6CFC-B80D-2FAC-927EEB76B84F}"/>
              </a:ext>
            </a:extLst>
          </p:cNvPr>
          <p:cNvPicPr>
            <a:picLocks noChangeAspect="1"/>
          </p:cNvPicPr>
          <p:nvPr/>
        </p:nvPicPr>
        <p:blipFill>
          <a:blip r:embed="rId9"/>
          <a:stretch>
            <a:fillRect/>
          </a:stretch>
        </p:blipFill>
        <p:spPr>
          <a:xfrm>
            <a:off x="-685800" y="2192825"/>
            <a:ext cx="7772400" cy="4235640"/>
          </a:xfrm>
          <a:prstGeom prst="rect">
            <a:avLst/>
          </a:prstGeom>
        </p:spPr>
      </p:pic>
    </p:spTree>
    <p:custDataLst>
      <p:custData r:id="rId2"/>
    </p:custDataLst>
    <p:extLst>
      <p:ext uri="{BB962C8B-B14F-4D97-AF65-F5344CB8AC3E}">
        <p14:creationId xmlns:p14="http://schemas.microsoft.com/office/powerpoint/2010/main" val="39828464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3E4F24B-242D-4563-A376-A9CA62B9A8E2}"/>
              </a:ext>
            </a:extLst>
          </p:cNvPr>
          <p:cNvSpPr>
            <a:spLocks noGrp="1"/>
          </p:cNvSpPr>
          <p:nvPr>
            <p:ph type="sldNum" sz="quarter" idx="11"/>
          </p:nvPr>
        </p:nvSpPr>
        <p:spPr/>
        <p:txBody>
          <a:bodyPr/>
          <a:lstStyle/>
          <a:p>
            <a:fld id="{7870704B-CE94-48CC-AF30-84932A1262A7}" type="slidenum">
              <a:rPr lang="en-GB" smtClean="0"/>
              <a:pPr/>
              <a:t>12</a:t>
            </a:fld>
            <a:endParaRPr lang="en-GB" dirty="0"/>
          </a:p>
        </p:txBody>
      </p:sp>
      <p:sp>
        <p:nvSpPr>
          <p:cNvPr id="5" name="Date Placeholder 4">
            <a:extLst>
              <a:ext uri="{FF2B5EF4-FFF2-40B4-BE49-F238E27FC236}">
                <a16:creationId xmlns:a16="http://schemas.microsoft.com/office/drawing/2014/main" id="{3EB0C097-2D77-4601-B6A6-6F0FF55239B2}"/>
              </a:ext>
            </a:extLst>
          </p:cNvPr>
          <p:cNvSpPr>
            <a:spLocks noGrp="1"/>
          </p:cNvSpPr>
          <p:nvPr>
            <p:ph type="dt" sz="half" idx="12"/>
          </p:nvPr>
        </p:nvSpPr>
        <p:spPr/>
        <p:txBody>
          <a:bodyPr/>
          <a:lstStyle/>
          <a:p>
            <a:r>
              <a:rPr lang="en-IN"/>
              <a:t>April 2023 </a:t>
            </a:r>
            <a:endParaRPr lang="en-US" dirty="0"/>
          </a:p>
        </p:txBody>
      </p:sp>
      <p:sp>
        <p:nvSpPr>
          <p:cNvPr id="24" name="Rectangle: Rounded Corners 23">
            <a:extLst>
              <a:ext uri="{FF2B5EF4-FFF2-40B4-BE49-F238E27FC236}">
                <a16:creationId xmlns:a16="http://schemas.microsoft.com/office/drawing/2014/main" id="{07150F80-B9F0-4127-9C5E-7003A9937BF3}"/>
              </a:ext>
            </a:extLst>
          </p:cNvPr>
          <p:cNvSpPr/>
          <p:nvPr/>
        </p:nvSpPr>
        <p:spPr>
          <a:xfrm>
            <a:off x="543942" y="2333156"/>
            <a:ext cx="4053285" cy="3699121"/>
          </a:xfrm>
          <a:prstGeom prst="round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2400" i="1" dirty="0">
                <a:solidFill>
                  <a:schemeClr val="bg1"/>
                </a:solidFill>
                <a:latin typeface="Georgia" panose="02040502050405020303" pitchFamily="18" charset="0"/>
              </a:rPr>
              <a:t>Grey-Listed Countries</a:t>
            </a:r>
          </a:p>
          <a:p>
            <a:pPr algn="ctr"/>
            <a:endParaRPr lang="en-US" sz="2400" i="1" dirty="0">
              <a:solidFill>
                <a:schemeClr val="bg1"/>
              </a:solidFill>
              <a:latin typeface="Georgia" panose="02040502050405020303" pitchFamily="18" charset="0"/>
            </a:endParaRPr>
          </a:p>
          <a:p>
            <a:pPr algn="ctr"/>
            <a:endParaRPr lang="en-US" sz="2400" i="1" dirty="0">
              <a:solidFill>
                <a:schemeClr val="bg1"/>
              </a:solidFill>
              <a:latin typeface="Georgia" panose="02040502050405020303" pitchFamily="18" charset="0"/>
            </a:endParaRPr>
          </a:p>
          <a:p>
            <a:pPr algn="ctr"/>
            <a:endParaRPr lang="en-US" sz="2400" i="1" dirty="0">
              <a:solidFill>
                <a:schemeClr val="bg1"/>
              </a:solidFill>
              <a:latin typeface="Georgia" panose="02040502050405020303" pitchFamily="18" charset="0"/>
            </a:endParaRPr>
          </a:p>
          <a:p>
            <a:pPr algn="ctr"/>
            <a:endParaRPr lang="en-US" sz="2400" i="1" dirty="0">
              <a:solidFill>
                <a:schemeClr val="bg1"/>
              </a:solidFill>
              <a:latin typeface="Georgia" panose="02040502050405020303" pitchFamily="18" charset="0"/>
            </a:endParaRPr>
          </a:p>
          <a:p>
            <a:pPr algn="ctr"/>
            <a:endParaRPr lang="en-US" sz="2400" i="1" dirty="0">
              <a:solidFill>
                <a:schemeClr val="bg1"/>
              </a:solidFill>
              <a:latin typeface="Georgia" panose="02040502050405020303" pitchFamily="18" charset="0"/>
            </a:endParaRPr>
          </a:p>
          <a:p>
            <a:pPr algn="ctr"/>
            <a:endParaRPr lang="en-US" sz="2400" i="1" dirty="0">
              <a:solidFill>
                <a:schemeClr val="bg1"/>
              </a:solidFill>
              <a:latin typeface="Georgia" panose="02040502050405020303" pitchFamily="18" charset="0"/>
            </a:endParaRPr>
          </a:p>
          <a:p>
            <a:pPr algn="ctr"/>
            <a:endParaRPr lang="en-US" sz="2400" i="1" dirty="0">
              <a:solidFill>
                <a:schemeClr val="bg1"/>
              </a:solidFill>
              <a:latin typeface="Georgia" panose="02040502050405020303" pitchFamily="18" charset="0"/>
            </a:endParaRPr>
          </a:p>
          <a:p>
            <a:pPr algn="ctr"/>
            <a:endParaRPr lang="en-US" sz="2400" i="1" dirty="0">
              <a:solidFill>
                <a:schemeClr val="bg1"/>
              </a:solidFill>
              <a:latin typeface="Georgia" panose="02040502050405020303" pitchFamily="18" charset="0"/>
            </a:endParaRPr>
          </a:p>
          <a:p>
            <a:pPr algn="ctr"/>
            <a:endParaRPr lang="en-US" sz="2400" i="1" dirty="0">
              <a:solidFill>
                <a:schemeClr val="bg1"/>
              </a:solidFill>
              <a:latin typeface="Georgia" panose="02040502050405020303" pitchFamily="18" charset="0"/>
            </a:endParaRPr>
          </a:p>
        </p:txBody>
      </p:sp>
      <p:cxnSp>
        <p:nvCxnSpPr>
          <p:cNvPr id="25" name="Straight Connector 24">
            <a:extLst>
              <a:ext uri="{FF2B5EF4-FFF2-40B4-BE49-F238E27FC236}">
                <a16:creationId xmlns:a16="http://schemas.microsoft.com/office/drawing/2014/main" id="{4E15E20C-D3F1-44F4-89D9-03124C9D7092}"/>
              </a:ext>
            </a:extLst>
          </p:cNvPr>
          <p:cNvCxnSpPr>
            <a:cxnSpLocks/>
          </p:cNvCxnSpPr>
          <p:nvPr/>
        </p:nvCxnSpPr>
        <p:spPr>
          <a:xfrm>
            <a:off x="4741746" y="4178657"/>
            <a:ext cx="1820100" cy="0"/>
          </a:xfrm>
          <a:prstGeom prst="line">
            <a:avLst/>
          </a:prstGeom>
          <a:ln>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B4A934C-CDA3-42DD-A7F9-A9E636DB0EC5}"/>
              </a:ext>
            </a:extLst>
          </p:cNvPr>
          <p:cNvCxnSpPr>
            <a:cxnSpLocks/>
          </p:cNvCxnSpPr>
          <p:nvPr/>
        </p:nvCxnSpPr>
        <p:spPr>
          <a:xfrm flipV="1">
            <a:off x="5672458" y="4148963"/>
            <a:ext cx="889388" cy="1533500"/>
          </a:xfrm>
          <a:prstGeom prst="line">
            <a:avLst/>
          </a:prstGeom>
          <a:ln>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562794D-7B31-4BA5-ABA3-F09BD8410B38}"/>
              </a:ext>
            </a:extLst>
          </p:cNvPr>
          <p:cNvCxnSpPr>
            <a:cxnSpLocks/>
            <a:stCxn id="31" idx="1"/>
            <a:endCxn id="40" idx="36"/>
          </p:cNvCxnSpPr>
          <p:nvPr/>
        </p:nvCxnSpPr>
        <p:spPr>
          <a:xfrm flipH="1">
            <a:off x="6671045" y="3169556"/>
            <a:ext cx="2726970" cy="924661"/>
          </a:xfrm>
          <a:prstGeom prst="line">
            <a:avLst/>
          </a:prstGeom>
          <a:ln>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1AE5272-2177-4FA2-93B7-75E48C753C95}"/>
              </a:ext>
            </a:extLst>
          </p:cNvPr>
          <p:cNvCxnSpPr>
            <a:cxnSpLocks/>
            <a:stCxn id="32" idx="1"/>
          </p:cNvCxnSpPr>
          <p:nvPr/>
        </p:nvCxnSpPr>
        <p:spPr>
          <a:xfrm flipH="1">
            <a:off x="6939943" y="3951022"/>
            <a:ext cx="2488210" cy="116661"/>
          </a:xfrm>
          <a:prstGeom prst="line">
            <a:avLst/>
          </a:prstGeom>
          <a:ln>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9AD0749-0033-434D-9D97-C5A25356DEF9}"/>
              </a:ext>
            </a:extLst>
          </p:cNvPr>
          <p:cNvCxnSpPr>
            <a:cxnSpLocks/>
            <a:stCxn id="33" idx="1"/>
            <a:endCxn id="40" idx="37"/>
          </p:cNvCxnSpPr>
          <p:nvPr/>
        </p:nvCxnSpPr>
        <p:spPr>
          <a:xfrm flipH="1" flipV="1">
            <a:off x="6832104" y="4147274"/>
            <a:ext cx="2249697" cy="640553"/>
          </a:xfrm>
          <a:prstGeom prst="line">
            <a:avLst/>
          </a:prstGeom>
          <a:ln>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CC92F1CB-263E-449F-BDBA-8CA1A9F010A9}"/>
              </a:ext>
            </a:extLst>
          </p:cNvPr>
          <p:cNvGrpSpPr/>
          <p:nvPr/>
        </p:nvGrpSpPr>
        <p:grpSpPr>
          <a:xfrm>
            <a:off x="5128320" y="2653202"/>
            <a:ext cx="3186253" cy="3145813"/>
            <a:chOff x="4441460" y="2038929"/>
            <a:chExt cx="3309078" cy="3252393"/>
          </a:xfrm>
        </p:grpSpPr>
        <p:sp>
          <p:nvSpPr>
            <p:cNvPr id="37" name="Oval 36">
              <a:extLst>
                <a:ext uri="{FF2B5EF4-FFF2-40B4-BE49-F238E27FC236}">
                  <a16:creationId xmlns:a16="http://schemas.microsoft.com/office/drawing/2014/main" id="{447F312B-F91C-409C-9A4E-58BDD51D09C4}"/>
                </a:ext>
              </a:extLst>
            </p:cNvPr>
            <p:cNvSpPr/>
            <p:nvPr/>
          </p:nvSpPr>
          <p:spPr>
            <a:xfrm>
              <a:off x="4441463" y="2038929"/>
              <a:ext cx="3309075" cy="3252393"/>
            </a:xfrm>
            <a:prstGeom prst="ellipse">
              <a:avLst/>
            </a:prstGeom>
            <a:gradFill flip="none" rotWithShape="1">
              <a:gsLst>
                <a:gs pos="0">
                  <a:srgbClr val="E4E4E4"/>
                </a:gs>
                <a:gs pos="100000">
                  <a:schemeClr val="bg1">
                    <a:lumMod val="95000"/>
                  </a:schemeClr>
                </a:gs>
              </a:gsLst>
              <a:lin ang="2700000" scaled="1"/>
              <a:tileRect/>
            </a:gra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IN" dirty="0"/>
            </a:p>
          </p:txBody>
        </p:sp>
        <p:grpSp>
          <p:nvGrpSpPr>
            <p:cNvPr id="38" name="Group 37">
              <a:extLst>
                <a:ext uri="{FF2B5EF4-FFF2-40B4-BE49-F238E27FC236}">
                  <a16:creationId xmlns:a16="http://schemas.microsoft.com/office/drawing/2014/main" id="{BB531FBB-68CA-4E2F-97BD-E31260967AEE}"/>
                </a:ext>
              </a:extLst>
            </p:cNvPr>
            <p:cNvGrpSpPr/>
            <p:nvPr/>
          </p:nvGrpSpPr>
          <p:grpSpPr>
            <a:xfrm>
              <a:off x="4441460" y="2572777"/>
              <a:ext cx="3280837" cy="2487018"/>
              <a:chOff x="3670301" y="2250509"/>
              <a:chExt cx="4378607" cy="3351243"/>
            </a:xfrm>
            <a:solidFill>
              <a:schemeClr val="bg1">
                <a:lumMod val="75000"/>
              </a:schemeClr>
            </a:solidFill>
          </p:grpSpPr>
          <p:sp>
            <p:nvSpPr>
              <p:cNvPr id="39" name="Freeform 72">
                <a:extLst>
                  <a:ext uri="{FF2B5EF4-FFF2-40B4-BE49-F238E27FC236}">
                    <a16:creationId xmlns:a16="http://schemas.microsoft.com/office/drawing/2014/main" id="{9FC34013-2723-45C4-9006-BA563DA966AD}"/>
                  </a:ext>
                </a:extLst>
              </p:cNvPr>
              <p:cNvSpPr>
                <a:spLocks/>
              </p:cNvSpPr>
              <p:nvPr/>
            </p:nvSpPr>
            <p:spPr bwMode="auto">
              <a:xfrm>
                <a:off x="6108626" y="2819482"/>
                <a:ext cx="743295" cy="2650353"/>
              </a:xfrm>
              <a:custGeom>
                <a:avLst/>
                <a:gdLst>
                  <a:gd name="connsiteX0" fmla="*/ 721106 w 743295"/>
                  <a:gd name="connsiteY0" fmla="*/ 2626403 h 2650353"/>
                  <a:gd name="connsiteX1" fmla="*/ 743229 w 743295"/>
                  <a:gd name="connsiteY1" fmla="*/ 2640207 h 2650353"/>
                  <a:gd name="connsiteX2" fmla="*/ 729402 w 743295"/>
                  <a:gd name="connsiteY2" fmla="*/ 2648490 h 2650353"/>
                  <a:gd name="connsiteX3" fmla="*/ 715576 w 743295"/>
                  <a:gd name="connsiteY3" fmla="*/ 2648490 h 2650353"/>
                  <a:gd name="connsiteX4" fmla="*/ 721106 w 743295"/>
                  <a:gd name="connsiteY4" fmla="*/ 2626403 h 2650353"/>
                  <a:gd name="connsiteX5" fmla="*/ 480194 w 743295"/>
                  <a:gd name="connsiteY5" fmla="*/ 1364692 h 2650353"/>
                  <a:gd name="connsiteX6" fmla="*/ 490612 w 743295"/>
                  <a:gd name="connsiteY6" fmla="*/ 1366121 h 2650353"/>
                  <a:gd name="connsiteX7" fmla="*/ 473943 w 743295"/>
                  <a:gd name="connsiteY7" fmla="*/ 1369931 h 2650353"/>
                  <a:gd name="connsiteX8" fmla="*/ 480194 w 743295"/>
                  <a:gd name="connsiteY8" fmla="*/ 1364692 h 2650353"/>
                  <a:gd name="connsiteX9" fmla="*/ 10569 w 743295"/>
                  <a:gd name="connsiteY9" fmla="*/ 894475 h 2650353"/>
                  <a:gd name="connsiteX10" fmla="*/ 35175 w 743295"/>
                  <a:gd name="connsiteY10" fmla="*/ 898444 h 2650353"/>
                  <a:gd name="connsiteX11" fmla="*/ 44744 w 743295"/>
                  <a:gd name="connsiteY11" fmla="*/ 898444 h 2650353"/>
                  <a:gd name="connsiteX12" fmla="*/ 24239 w 743295"/>
                  <a:gd name="connsiteY12" fmla="*/ 906381 h 2650353"/>
                  <a:gd name="connsiteX13" fmla="*/ 1000 w 743295"/>
                  <a:gd name="connsiteY13" fmla="*/ 899767 h 2650353"/>
                  <a:gd name="connsiteX14" fmla="*/ 10569 w 743295"/>
                  <a:gd name="connsiteY14" fmla="*/ 894475 h 2650353"/>
                  <a:gd name="connsiteX15" fmla="*/ 175973 w 743295"/>
                  <a:gd name="connsiteY15" fmla="*/ 890774 h 2650353"/>
                  <a:gd name="connsiteX16" fmla="*/ 172343 w 743295"/>
                  <a:gd name="connsiteY16" fmla="*/ 895200 h 2650353"/>
                  <a:gd name="connsiteX17" fmla="*/ 164047 w 743295"/>
                  <a:gd name="connsiteY17" fmla="*/ 907003 h 2650353"/>
                  <a:gd name="connsiteX18" fmla="*/ 141925 w 743295"/>
                  <a:gd name="connsiteY18" fmla="*/ 912248 h 2650353"/>
                  <a:gd name="connsiteX19" fmla="*/ 150221 w 743295"/>
                  <a:gd name="connsiteY19" fmla="*/ 899134 h 2650353"/>
                  <a:gd name="connsiteX20" fmla="*/ 172343 w 743295"/>
                  <a:gd name="connsiteY20" fmla="*/ 891265 h 2650353"/>
                  <a:gd name="connsiteX21" fmla="*/ 175973 w 743295"/>
                  <a:gd name="connsiteY21" fmla="*/ 890774 h 2650353"/>
                  <a:gd name="connsiteX22" fmla="*/ 414845 w 743295"/>
                  <a:gd name="connsiteY22" fmla="*/ 800 h 2650353"/>
                  <a:gd name="connsiteX23" fmla="*/ 428314 w 743295"/>
                  <a:gd name="connsiteY23" fmla="*/ 12971 h 2650353"/>
                  <a:gd name="connsiteX24" fmla="*/ 400028 w 743295"/>
                  <a:gd name="connsiteY24" fmla="*/ 19733 h 2650353"/>
                  <a:gd name="connsiteX25" fmla="*/ 414845 w 743295"/>
                  <a:gd name="connsiteY25" fmla="*/ 800 h 265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43295" h="2650353">
                    <a:moveTo>
                      <a:pt x="721106" y="2626403"/>
                    </a:moveTo>
                    <a:cubicBezTo>
                      <a:pt x="723872" y="2631925"/>
                      <a:pt x="744611" y="2630544"/>
                      <a:pt x="743229" y="2640207"/>
                    </a:cubicBezTo>
                    <a:cubicBezTo>
                      <a:pt x="741846" y="2649870"/>
                      <a:pt x="733550" y="2652631"/>
                      <a:pt x="729402" y="2648490"/>
                    </a:cubicBezTo>
                    <a:cubicBezTo>
                      <a:pt x="725254" y="2644349"/>
                      <a:pt x="722489" y="2651251"/>
                      <a:pt x="715576" y="2648490"/>
                    </a:cubicBezTo>
                    <a:cubicBezTo>
                      <a:pt x="701749" y="2640207"/>
                      <a:pt x="719724" y="2620881"/>
                      <a:pt x="721106" y="2626403"/>
                    </a:cubicBezTo>
                    <a:close/>
                    <a:moveTo>
                      <a:pt x="480194" y="1364692"/>
                    </a:moveTo>
                    <a:cubicBezTo>
                      <a:pt x="485056" y="1364216"/>
                      <a:pt x="490612" y="1364851"/>
                      <a:pt x="490612" y="1366121"/>
                    </a:cubicBezTo>
                    <a:cubicBezTo>
                      <a:pt x="489223" y="1368661"/>
                      <a:pt x="479500" y="1376281"/>
                      <a:pt x="473943" y="1369931"/>
                    </a:cubicBezTo>
                    <a:cubicBezTo>
                      <a:pt x="471165" y="1366756"/>
                      <a:pt x="475333" y="1365169"/>
                      <a:pt x="480194" y="1364692"/>
                    </a:cubicBezTo>
                    <a:close/>
                    <a:moveTo>
                      <a:pt x="10569" y="894475"/>
                    </a:moveTo>
                    <a:cubicBezTo>
                      <a:pt x="14670" y="899767"/>
                      <a:pt x="31074" y="895798"/>
                      <a:pt x="35175" y="898444"/>
                    </a:cubicBezTo>
                    <a:cubicBezTo>
                      <a:pt x="39276" y="901089"/>
                      <a:pt x="44744" y="895798"/>
                      <a:pt x="44744" y="898444"/>
                    </a:cubicBezTo>
                    <a:cubicBezTo>
                      <a:pt x="46111" y="902412"/>
                      <a:pt x="32441" y="906381"/>
                      <a:pt x="24239" y="906381"/>
                    </a:cubicBezTo>
                    <a:cubicBezTo>
                      <a:pt x="14670" y="906381"/>
                      <a:pt x="6468" y="901089"/>
                      <a:pt x="1000" y="899767"/>
                    </a:cubicBezTo>
                    <a:cubicBezTo>
                      <a:pt x="-3101" y="898444"/>
                      <a:pt x="6468" y="890506"/>
                      <a:pt x="10569" y="894475"/>
                    </a:cubicBezTo>
                    <a:close/>
                    <a:moveTo>
                      <a:pt x="175973" y="890774"/>
                    </a:moveTo>
                    <a:cubicBezTo>
                      <a:pt x="176146" y="891921"/>
                      <a:pt x="175109" y="893888"/>
                      <a:pt x="172343" y="895200"/>
                    </a:cubicBezTo>
                    <a:cubicBezTo>
                      <a:pt x="166813" y="897823"/>
                      <a:pt x="164047" y="903068"/>
                      <a:pt x="164047" y="907003"/>
                    </a:cubicBezTo>
                    <a:cubicBezTo>
                      <a:pt x="164047" y="909626"/>
                      <a:pt x="150221" y="917494"/>
                      <a:pt x="141925" y="912248"/>
                    </a:cubicBezTo>
                    <a:cubicBezTo>
                      <a:pt x="135012" y="908314"/>
                      <a:pt x="139160" y="899134"/>
                      <a:pt x="150221" y="899134"/>
                    </a:cubicBezTo>
                    <a:cubicBezTo>
                      <a:pt x="159899" y="899134"/>
                      <a:pt x="168195" y="895200"/>
                      <a:pt x="172343" y="891265"/>
                    </a:cubicBezTo>
                    <a:cubicBezTo>
                      <a:pt x="174417" y="889298"/>
                      <a:pt x="175800" y="889626"/>
                      <a:pt x="175973" y="890774"/>
                    </a:cubicBezTo>
                    <a:close/>
                    <a:moveTo>
                      <a:pt x="414845" y="800"/>
                    </a:moveTo>
                    <a:cubicBezTo>
                      <a:pt x="425620" y="3505"/>
                      <a:pt x="435049" y="11619"/>
                      <a:pt x="428314" y="12971"/>
                    </a:cubicBezTo>
                    <a:cubicBezTo>
                      <a:pt x="422927" y="14323"/>
                      <a:pt x="412151" y="33256"/>
                      <a:pt x="400028" y="19733"/>
                    </a:cubicBezTo>
                    <a:cubicBezTo>
                      <a:pt x="390599" y="8914"/>
                      <a:pt x="405416" y="-3257"/>
                      <a:pt x="414845" y="800"/>
                    </a:cubicBezTo>
                    <a:close/>
                  </a:path>
                </a:pathLst>
              </a:custGeom>
              <a:grpFill/>
              <a:ln w="9525">
                <a:solidFill>
                  <a:schemeClr val="bg2"/>
                </a:solidFill>
                <a:round/>
                <a:headEnd/>
                <a:tailEnd/>
              </a:ln>
            </p:spPr>
            <p:txBody>
              <a:bodyPr vert="horz" wrap="square" lIns="91440" tIns="45720" rIns="91440" bIns="45720" numCol="1" anchor="t" anchorCtr="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IN" dirty="0"/>
              </a:p>
            </p:txBody>
          </p:sp>
          <p:sp>
            <p:nvSpPr>
              <p:cNvPr id="40" name="Freeform 100">
                <a:extLst>
                  <a:ext uri="{FF2B5EF4-FFF2-40B4-BE49-F238E27FC236}">
                    <a16:creationId xmlns:a16="http://schemas.microsoft.com/office/drawing/2014/main" id="{45C03B19-A3AE-4F01-926D-1956B2B98252}"/>
                  </a:ext>
                </a:extLst>
              </p:cNvPr>
              <p:cNvSpPr>
                <a:spLocks noEditPoints="1"/>
              </p:cNvSpPr>
              <p:nvPr/>
            </p:nvSpPr>
            <p:spPr bwMode="auto">
              <a:xfrm>
                <a:off x="5468938" y="2516188"/>
                <a:ext cx="2533650" cy="2603500"/>
              </a:xfrm>
              <a:custGeom>
                <a:avLst/>
                <a:gdLst>
                  <a:gd name="T0" fmla="*/ 1368 w 1850"/>
                  <a:gd name="T1" fmla="*/ 1312 h 1902"/>
                  <a:gd name="T2" fmla="*/ 1412 w 1850"/>
                  <a:gd name="T3" fmla="*/ 1265 h 1902"/>
                  <a:gd name="T4" fmla="*/ 1461 w 1850"/>
                  <a:gd name="T5" fmla="*/ 1103 h 1902"/>
                  <a:gd name="T6" fmla="*/ 1589 w 1850"/>
                  <a:gd name="T7" fmla="*/ 962 h 1902"/>
                  <a:gd name="T8" fmla="*/ 1552 w 1850"/>
                  <a:gd name="T9" fmla="*/ 838 h 1902"/>
                  <a:gd name="T10" fmla="*/ 1651 w 1850"/>
                  <a:gd name="T11" fmla="*/ 896 h 1902"/>
                  <a:gd name="T12" fmla="*/ 1817 w 1850"/>
                  <a:gd name="T13" fmla="*/ 620 h 1902"/>
                  <a:gd name="T14" fmla="*/ 1783 w 1850"/>
                  <a:gd name="T15" fmla="*/ 519 h 1902"/>
                  <a:gd name="T16" fmla="*/ 1671 w 1850"/>
                  <a:gd name="T17" fmla="*/ 122 h 1902"/>
                  <a:gd name="T18" fmla="*/ 1482 w 1850"/>
                  <a:gd name="T19" fmla="*/ 113 h 1902"/>
                  <a:gd name="T20" fmla="*/ 1493 w 1850"/>
                  <a:gd name="T21" fmla="*/ 45 h 1902"/>
                  <a:gd name="T22" fmla="*/ 1350 w 1850"/>
                  <a:gd name="T23" fmla="*/ 36 h 1902"/>
                  <a:gd name="T24" fmla="*/ 1204 w 1850"/>
                  <a:gd name="T25" fmla="*/ 82 h 1902"/>
                  <a:gd name="T26" fmla="*/ 1113 w 1850"/>
                  <a:gd name="T27" fmla="*/ 149 h 1902"/>
                  <a:gd name="T28" fmla="*/ 1057 w 1850"/>
                  <a:gd name="T29" fmla="*/ 218 h 1902"/>
                  <a:gd name="T30" fmla="*/ 1008 w 1850"/>
                  <a:gd name="T31" fmla="*/ 295 h 1902"/>
                  <a:gd name="T32" fmla="*/ 1046 w 1850"/>
                  <a:gd name="T33" fmla="*/ 142 h 1902"/>
                  <a:gd name="T34" fmla="*/ 896 w 1850"/>
                  <a:gd name="T35" fmla="*/ 206 h 1902"/>
                  <a:gd name="T36" fmla="*/ 803 w 1850"/>
                  <a:gd name="T37" fmla="*/ 245 h 1902"/>
                  <a:gd name="T38" fmla="*/ 700 w 1850"/>
                  <a:gd name="T39" fmla="*/ 295 h 1902"/>
                  <a:gd name="T40" fmla="*/ 599 w 1850"/>
                  <a:gd name="T41" fmla="*/ 305 h 1902"/>
                  <a:gd name="T42" fmla="*/ 581 w 1850"/>
                  <a:gd name="T43" fmla="*/ 215 h 1902"/>
                  <a:gd name="T44" fmla="*/ 507 w 1850"/>
                  <a:gd name="T45" fmla="*/ 185 h 1902"/>
                  <a:gd name="T46" fmla="*/ 445 w 1850"/>
                  <a:gd name="T47" fmla="*/ 201 h 1902"/>
                  <a:gd name="T48" fmla="*/ 390 w 1850"/>
                  <a:gd name="T49" fmla="*/ 234 h 1902"/>
                  <a:gd name="T50" fmla="*/ 347 w 1850"/>
                  <a:gd name="T51" fmla="*/ 301 h 1902"/>
                  <a:gd name="T52" fmla="*/ 264 w 1850"/>
                  <a:gd name="T53" fmla="*/ 405 h 1902"/>
                  <a:gd name="T54" fmla="*/ 325 w 1850"/>
                  <a:gd name="T55" fmla="*/ 444 h 1902"/>
                  <a:gd name="T56" fmla="*/ 401 w 1850"/>
                  <a:gd name="T57" fmla="*/ 460 h 1902"/>
                  <a:gd name="T58" fmla="*/ 481 w 1850"/>
                  <a:gd name="T59" fmla="*/ 333 h 1902"/>
                  <a:gd name="T60" fmla="*/ 537 w 1850"/>
                  <a:gd name="T61" fmla="*/ 435 h 1902"/>
                  <a:gd name="T62" fmla="*/ 442 w 1850"/>
                  <a:gd name="T63" fmla="*/ 533 h 1902"/>
                  <a:gd name="T64" fmla="*/ 318 w 1850"/>
                  <a:gd name="T65" fmla="*/ 535 h 1902"/>
                  <a:gd name="T66" fmla="*/ 294 w 1850"/>
                  <a:gd name="T67" fmla="*/ 562 h 1902"/>
                  <a:gd name="T68" fmla="*/ 165 w 1850"/>
                  <a:gd name="T69" fmla="*/ 652 h 1902"/>
                  <a:gd name="T70" fmla="*/ 97 w 1850"/>
                  <a:gd name="T71" fmla="*/ 827 h 1902"/>
                  <a:gd name="T72" fmla="*/ 248 w 1850"/>
                  <a:gd name="T73" fmla="*/ 747 h 1902"/>
                  <a:gd name="T74" fmla="*/ 411 w 1850"/>
                  <a:gd name="T75" fmla="*/ 801 h 1902"/>
                  <a:gd name="T76" fmla="*/ 430 w 1850"/>
                  <a:gd name="T77" fmla="*/ 811 h 1902"/>
                  <a:gd name="T78" fmla="*/ 474 w 1850"/>
                  <a:gd name="T79" fmla="*/ 789 h 1902"/>
                  <a:gd name="T80" fmla="*/ 568 w 1850"/>
                  <a:gd name="T81" fmla="*/ 697 h 1902"/>
                  <a:gd name="T82" fmla="*/ 653 w 1850"/>
                  <a:gd name="T83" fmla="*/ 744 h 1902"/>
                  <a:gd name="T84" fmla="*/ 520 w 1850"/>
                  <a:gd name="T85" fmla="*/ 852 h 1902"/>
                  <a:gd name="T86" fmla="*/ 562 w 1850"/>
                  <a:gd name="T87" fmla="*/ 940 h 1902"/>
                  <a:gd name="T88" fmla="*/ 327 w 1850"/>
                  <a:gd name="T89" fmla="*/ 872 h 1902"/>
                  <a:gd name="T90" fmla="*/ 88 w 1850"/>
                  <a:gd name="T91" fmla="*/ 957 h 1902"/>
                  <a:gd name="T92" fmla="*/ 26 w 1850"/>
                  <a:gd name="T93" fmla="*/ 1240 h 1902"/>
                  <a:gd name="T94" fmla="*/ 266 w 1850"/>
                  <a:gd name="T95" fmla="*/ 1322 h 1902"/>
                  <a:gd name="T96" fmla="*/ 331 w 1850"/>
                  <a:gd name="T97" fmla="*/ 1450 h 1902"/>
                  <a:gd name="T98" fmla="*/ 406 w 1850"/>
                  <a:gd name="T99" fmla="*/ 1854 h 1902"/>
                  <a:gd name="T100" fmla="*/ 600 w 1850"/>
                  <a:gd name="T101" fmla="*/ 1740 h 1902"/>
                  <a:gd name="T102" fmla="*/ 666 w 1850"/>
                  <a:gd name="T103" fmla="*/ 1423 h 1902"/>
                  <a:gd name="T104" fmla="*/ 693 w 1850"/>
                  <a:gd name="T105" fmla="*/ 1218 h 1902"/>
                  <a:gd name="T106" fmla="*/ 596 w 1850"/>
                  <a:gd name="T107" fmla="*/ 975 h 1902"/>
                  <a:gd name="T108" fmla="*/ 765 w 1850"/>
                  <a:gd name="T109" fmla="*/ 1189 h 1902"/>
                  <a:gd name="T110" fmla="*/ 798 w 1850"/>
                  <a:gd name="T111" fmla="*/ 1055 h 1902"/>
                  <a:gd name="T112" fmla="*/ 832 w 1850"/>
                  <a:gd name="T113" fmla="*/ 1015 h 1902"/>
                  <a:gd name="T114" fmla="*/ 1040 w 1850"/>
                  <a:gd name="T115" fmla="*/ 1109 h 1902"/>
                  <a:gd name="T116" fmla="*/ 1221 w 1850"/>
                  <a:gd name="T117" fmla="*/ 1088 h 1902"/>
                  <a:gd name="T118" fmla="*/ 767 w 1850"/>
                  <a:gd name="T119" fmla="*/ 703 h 1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50" h="1902">
                    <a:moveTo>
                      <a:pt x="1294" y="1169"/>
                    </a:moveTo>
                    <a:cubicBezTo>
                      <a:pt x="1297" y="1164"/>
                      <a:pt x="1303" y="1161"/>
                      <a:pt x="1304" y="1155"/>
                    </a:cubicBezTo>
                    <a:cubicBezTo>
                      <a:pt x="1305" y="1149"/>
                      <a:pt x="1308" y="1158"/>
                      <a:pt x="1310" y="1161"/>
                    </a:cubicBezTo>
                    <a:cubicBezTo>
                      <a:pt x="1312" y="1163"/>
                      <a:pt x="1314" y="1169"/>
                      <a:pt x="1315" y="1176"/>
                    </a:cubicBezTo>
                    <a:cubicBezTo>
                      <a:pt x="1315" y="1183"/>
                      <a:pt x="1316" y="1200"/>
                      <a:pt x="1321" y="1206"/>
                    </a:cubicBezTo>
                    <a:cubicBezTo>
                      <a:pt x="1325" y="1211"/>
                      <a:pt x="1326" y="1223"/>
                      <a:pt x="1325" y="1228"/>
                    </a:cubicBezTo>
                    <a:cubicBezTo>
                      <a:pt x="1324" y="1232"/>
                      <a:pt x="1328" y="1239"/>
                      <a:pt x="1327" y="1244"/>
                    </a:cubicBezTo>
                    <a:cubicBezTo>
                      <a:pt x="1326" y="1245"/>
                      <a:pt x="1326" y="1246"/>
                      <a:pt x="1326" y="1248"/>
                    </a:cubicBezTo>
                    <a:cubicBezTo>
                      <a:pt x="1325" y="1254"/>
                      <a:pt x="1324" y="1263"/>
                      <a:pt x="1323" y="1268"/>
                    </a:cubicBezTo>
                    <a:cubicBezTo>
                      <a:pt x="1321" y="1275"/>
                      <a:pt x="1320" y="1280"/>
                      <a:pt x="1323" y="1281"/>
                    </a:cubicBezTo>
                    <a:cubicBezTo>
                      <a:pt x="1326" y="1281"/>
                      <a:pt x="1333" y="1289"/>
                      <a:pt x="1338" y="1298"/>
                    </a:cubicBezTo>
                    <a:cubicBezTo>
                      <a:pt x="1340" y="1301"/>
                      <a:pt x="1341" y="1303"/>
                      <a:pt x="1342" y="1305"/>
                    </a:cubicBezTo>
                    <a:cubicBezTo>
                      <a:pt x="1345" y="1312"/>
                      <a:pt x="1345" y="1320"/>
                      <a:pt x="1345" y="1326"/>
                    </a:cubicBezTo>
                    <a:cubicBezTo>
                      <a:pt x="1345" y="1335"/>
                      <a:pt x="1355" y="1348"/>
                      <a:pt x="1357" y="1353"/>
                    </a:cubicBezTo>
                    <a:cubicBezTo>
                      <a:pt x="1358" y="1358"/>
                      <a:pt x="1361" y="1360"/>
                      <a:pt x="1368" y="1366"/>
                    </a:cubicBezTo>
                    <a:cubicBezTo>
                      <a:pt x="1375" y="1371"/>
                      <a:pt x="1388" y="1381"/>
                      <a:pt x="1390" y="1379"/>
                    </a:cubicBezTo>
                    <a:cubicBezTo>
                      <a:pt x="1393" y="1378"/>
                      <a:pt x="1386" y="1364"/>
                      <a:pt x="1383" y="1360"/>
                    </a:cubicBezTo>
                    <a:cubicBezTo>
                      <a:pt x="1379" y="1355"/>
                      <a:pt x="1382" y="1342"/>
                      <a:pt x="1382" y="1333"/>
                    </a:cubicBezTo>
                    <a:cubicBezTo>
                      <a:pt x="1383" y="1324"/>
                      <a:pt x="1375" y="1325"/>
                      <a:pt x="1374" y="1318"/>
                    </a:cubicBezTo>
                    <a:cubicBezTo>
                      <a:pt x="1372" y="1312"/>
                      <a:pt x="1369" y="1316"/>
                      <a:pt x="1368" y="1312"/>
                    </a:cubicBezTo>
                    <a:cubicBezTo>
                      <a:pt x="1368" y="1311"/>
                      <a:pt x="1367" y="1310"/>
                      <a:pt x="1367" y="1310"/>
                    </a:cubicBezTo>
                    <a:cubicBezTo>
                      <a:pt x="1365" y="1306"/>
                      <a:pt x="1359" y="1301"/>
                      <a:pt x="1354" y="1300"/>
                    </a:cubicBezTo>
                    <a:cubicBezTo>
                      <a:pt x="1348" y="1300"/>
                      <a:pt x="1345" y="1289"/>
                      <a:pt x="1346" y="1285"/>
                    </a:cubicBezTo>
                    <a:cubicBezTo>
                      <a:pt x="1346" y="1280"/>
                      <a:pt x="1341" y="1276"/>
                      <a:pt x="1341" y="1272"/>
                    </a:cubicBezTo>
                    <a:cubicBezTo>
                      <a:pt x="1341" y="1268"/>
                      <a:pt x="1338" y="1267"/>
                      <a:pt x="1334" y="1265"/>
                    </a:cubicBezTo>
                    <a:cubicBezTo>
                      <a:pt x="1330" y="1263"/>
                      <a:pt x="1335" y="1249"/>
                      <a:pt x="1335" y="1243"/>
                    </a:cubicBezTo>
                    <a:cubicBezTo>
                      <a:pt x="1336" y="1237"/>
                      <a:pt x="1344" y="1220"/>
                      <a:pt x="1342" y="1215"/>
                    </a:cubicBezTo>
                    <a:cubicBezTo>
                      <a:pt x="1339" y="1209"/>
                      <a:pt x="1350" y="1205"/>
                      <a:pt x="1351" y="1211"/>
                    </a:cubicBezTo>
                    <a:cubicBezTo>
                      <a:pt x="1353" y="1217"/>
                      <a:pt x="1353" y="1220"/>
                      <a:pt x="1360" y="1220"/>
                    </a:cubicBezTo>
                    <a:cubicBezTo>
                      <a:pt x="1367" y="1219"/>
                      <a:pt x="1367" y="1226"/>
                      <a:pt x="1372" y="1227"/>
                    </a:cubicBezTo>
                    <a:cubicBezTo>
                      <a:pt x="1373" y="1228"/>
                      <a:pt x="1373" y="1228"/>
                      <a:pt x="1373" y="1228"/>
                    </a:cubicBezTo>
                    <a:cubicBezTo>
                      <a:pt x="1378" y="1230"/>
                      <a:pt x="1376" y="1237"/>
                      <a:pt x="1376" y="1240"/>
                    </a:cubicBezTo>
                    <a:cubicBezTo>
                      <a:pt x="1377" y="1244"/>
                      <a:pt x="1381" y="1242"/>
                      <a:pt x="1384" y="1242"/>
                    </a:cubicBezTo>
                    <a:cubicBezTo>
                      <a:pt x="1386" y="1242"/>
                      <a:pt x="1382" y="1246"/>
                      <a:pt x="1384" y="1249"/>
                    </a:cubicBezTo>
                    <a:cubicBezTo>
                      <a:pt x="1386" y="1252"/>
                      <a:pt x="1392" y="1247"/>
                      <a:pt x="1393" y="1250"/>
                    </a:cubicBezTo>
                    <a:cubicBezTo>
                      <a:pt x="1394" y="1251"/>
                      <a:pt x="1394" y="1252"/>
                      <a:pt x="1394" y="1252"/>
                    </a:cubicBezTo>
                    <a:cubicBezTo>
                      <a:pt x="1396" y="1254"/>
                      <a:pt x="1397" y="1255"/>
                      <a:pt x="1399" y="1257"/>
                    </a:cubicBezTo>
                    <a:cubicBezTo>
                      <a:pt x="1402" y="1259"/>
                      <a:pt x="1396" y="1263"/>
                      <a:pt x="1396" y="1269"/>
                    </a:cubicBezTo>
                    <a:cubicBezTo>
                      <a:pt x="1396" y="1276"/>
                      <a:pt x="1401" y="1277"/>
                      <a:pt x="1402" y="1275"/>
                    </a:cubicBezTo>
                    <a:cubicBezTo>
                      <a:pt x="1404" y="1272"/>
                      <a:pt x="1410" y="1266"/>
                      <a:pt x="1412" y="1265"/>
                    </a:cubicBezTo>
                    <a:cubicBezTo>
                      <a:pt x="1415" y="1264"/>
                      <a:pt x="1412" y="1259"/>
                      <a:pt x="1415" y="1260"/>
                    </a:cubicBezTo>
                    <a:cubicBezTo>
                      <a:pt x="1418" y="1260"/>
                      <a:pt x="1417" y="1255"/>
                      <a:pt x="1418" y="1252"/>
                    </a:cubicBezTo>
                    <a:cubicBezTo>
                      <a:pt x="1420" y="1250"/>
                      <a:pt x="1421" y="1251"/>
                      <a:pt x="1425" y="1251"/>
                    </a:cubicBezTo>
                    <a:cubicBezTo>
                      <a:pt x="1430" y="1251"/>
                      <a:pt x="1435" y="1246"/>
                      <a:pt x="1441" y="1242"/>
                    </a:cubicBezTo>
                    <a:cubicBezTo>
                      <a:pt x="1447" y="1237"/>
                      <a:pt x="1448" y="1236"/>
                      <a:pt x="1450" y="1223"/>
                    </a:cubicBezTo>
                    <a:cubicBezTo>
                      <a:pt x="1452" y="1210"/>
                      <a:pt x="1448" y="1195"/>
                      <a:pt x="1448" y="1191"/>
                    </a:cubicBezTo>
                    <a:cubicBezTo>
                      <a:pt x="1447" y="1187"/>
                      <a:pt x="1439" y="1169"/>
                      <a:pt x="1437" y="1170"/>
                    </a:cubicBezTo>
                    <a:cubicBezTo>
                      <a:pt x="1434" y="1170"/>
                      <a:pt x="1420" y="1153"/>
                      <a:pt x="1418" y="1151"/>
                    </a:cubicBezTo>
                    <a:cubicBezTo>
                      <a:pt x="1416" y="1148"/>
                      <a:pt x="1416" y="1144"/>
                      <a:pt x="1413" y="1140"/>
                    </a:cubicBezTo>
                    <a:cubicBezTo>
                      <a:pt x="1409" y="1137"/>
                      <a:pt x="1409" y="1128"/>
                      <a:pt x="1410" y="1121"/>
                    </a:cubicBezTo>
                    <a:cubicBezTo>
                      <a:pt x="1411" y="1115"/>
                      <a:pt x="1418" y="1113"/>
                      <a:pt x="1418" y="1109"/>
                    </a:cubicBezTo>
                    <a:cubicBezTo>
                      <a:pt x="1418" y="1105"/>
                      <a:pt x="1419" y="1101"/>
                      <a:pt x="1423" y="1101"/>
                    </a:cubicBezTo>
                    <a:cubicBezTo>
                      <a:pt x="1426" y="1101"/>
                      <a:pt x="1430" y="1097"/>
                      <a:pt x="1432" y="1094"/>
                    </a:cubicBezTo>
                    <a:cubicBezTo>
                      <a:pt x="1432" y="1093"/>
                      <a:pt x="1432" y="1093"/>
                      <a:pt x="1433" y="1093"/>
                    </a:cubicBezTo>
                    <a:cubicBezTo>
                      <a:pt x="1435" y="1091"/>
                      <a:pt x="1439" y="1094"/>
                      <a:pt x="1440" y="1090"/>
                    </a:cubicBezTo>
                    <a:cubicBezTo>
                      <a:pt x="1441" y="1087"/>
                      <a:pt x="1444" y="1088"/>
                      <a:pt x="1446" y="1091"/>
                    </a:cubicBezTo>
                    <a:cubicBezTo>
                      <a:pt x="1448" y="1094"/>
                      <a:pt x="1449" y="1095"/>
                      <a:pt x="1453" y="1091"/>
                    </a:cubicBezTo>
                    <a:cubicBezTo>
                      <a:pt x="1456" y="1087"/>
                      <a:pt x="1458" y="1095"/>
                      <a:pt x="1456" y="1097"/>
                    </a:cubicBezTo>
                    <a:cubicBezTo>
                      <a:pt x="1454" y="1099"/>
                      <a:pt x="1455" y="1105"/>
                      <a:pt x="1458" y="1109"/>
                    </a:cubicBezTo>
                    <a:cubicBezTo>
                      <a:pt x="1462" y="1112"/>
                      <a:pt x="1462" y="1106"/>
                      <a:pt x="1461" y="1103"/>
                    </a:cubicBezTo>
                    <a:cubicBezTo>
                      <a:pt x="1461" y="1099"/>
                      <a:pt x="1467" y="1095"/>
                      <a:pt x="1478" y="1091"/>
                    </a:cubicBezTo>
                    <a:cubicBezTo>
                      <a:pt x="1488" y="1087"/>
                      <a:pt x="1500" y="1077"/>
                      <a:pt x="1500" y="1075"/>
                    </a:cubicBezTo>
                    <a:cubicBezTo>
                      <a:pt x="1500" y="1073"/>
                      <a:pt x="1508" y="1079"/>
                      <a:pt x="1511" y="1076"/>
                    </a:cubicBezTo>
                    <a:cubicBezTo>
                      <a:pt x="1515" y="1072"/>
                      <a:pt x="1528" y="1072"/>
                      <a:pt x="1531" y="1072"/>
                    </a:cubicBezTo>
                    <a:cubicBezTo>
                      <a:pt x="1535" y="1072"/>
                      <a:pt x="1535" y="1068"/>
                      <a:pt x="1538" y="1065"/>
                    </a:cubicBezTo>
                    <a:cubicBezTo>
                      <a:pt x="1542" y="1061"/>
                      <a:pt x="1541" y="1060"/>
                      <a:pt x="1545" y="1058"/>
                    </a:cubicBezTo>
                    <a:cubicBezTo>
                      <a:pt x="1549" y="1057"/>
                      <a:pt x="1552" y="1052"/>
                      <a:pt x="1552" y="1050"/>
                    </a:cubicBezTo>
                    <a:cubicBezTo>
                      <a:pt x="1552" y="1047"/>
                      <a:pt x="1559" y="1046"/>
                      <a:pt x="1560" y="1044"/>
                    </a:cubicBezTo>
                    <a:cubicBezTo>
                      <a:pt x="1560" y="1041"/>
                      <a:pt x="1565" y="1040"/>
                      <a:pt x="1565" y="1037"/>
                    </a:cubicBezTo>
                    <a:cubicBezTo>
                      <a:pt x="1565" y="1034"/>
                      <a:pt x="1569" y="1034"/>
                      <a:pt x="1570" y="1032"/>
                    </a:cubicBezTo>
                    <a:cubicBezTo>
                      <a:pt x="1572" y="1029"/>
                      <a:pt x="1569" y="1022"/>
                      <a:pt x="1572" y="1021"/>
                    </a:cubicBezTo>
                    <a:cubicBezTo>
                      <a:pt x="1575" y="1020"/>
                      <a:pt x="1571" y="1016"/>
                      <a:pt x="1570" y="1014"/>
                    </a:cubicBezTo>
                    <a:cubicBezTo>
                      <a:pt x="1570" y="1013"/>
                      <a:pt x="1576" y="1012"/>
                      <a:pt x="1578" y="1010"/>
                    </a:cubicBezTo>
                    <a:cubicBezTo>
                      <a:pt x="1581" y="1008"/>
                      <a:pt x="1583" y="1004"/>
                      <a:pt x="1584" y="1000"/>
                    </a:cubicBezTo>
                    <a:cubicBezTo>
                      <a:pt x="1584" y="996"/>
                      <a:pt x="1589" y="993"/>
                      <a:pt x="1591" y="992"/>
                    </a:cubicBezTo>
                    <a:cubicBezTo>
                      <a:pt x="1593" y="991"/>
                      <a:pt x="1594" y="985"/>
                      <a:pt x="1594" y="981"/>
                    </a:cubicBezTo>
                    <a:cubicBezTo>
                      <a:pt x="1593" y="976"/>
                      <a:pt x="1598" y="977"/>
                      <a:pt x="1596" y="975"/>
                    </a:cubicBezTo>
                    <a:cubicBezTo>
                      <a:pt x="1593" y="974"/>
                      <a:pt x="1596" y="968"/>
                      <a:pt x="1600" y="967"/>
                    </a:cubicBezTo>
                    <a:cubicBezTo>
                      <a:pt x="1605" y="966"/>
                      <a:pt x="1598" y="963"/>
                      <a:pt x="1596" y="965"/>
                    </a:cubicBezTo>
                    <a:cubicBezTo>
                      <a:pt x="1593" y="967"/>
                      <a:pt x="1591" y="959"/>
                      <a:pt x="1589" y="962"/>
                    </a:cubicBezTo>
                    <a:cubicBezTo>
                      <a:pt x="1587" y="966"/>
                      <a:pt x="1581" y="961"/>
                      <a:pt x="1585" y="960"/>
                    </a:cubicBezTo>
                    <a:cubicBezTo>
                      <a:pt x="1589" y="959"/>
                      <a:pt x="1595" y="953"/>
                      <a:pt x="1597" y="952"/>
                    </a:cubicBezTo>
                    <a:cubicBezTo>
                      <a:pt x="1600" y="951"/>
                      <a:pt x="1593" y="945"/>
                      <a:pt x="1590" y="945"/>
                    </a:cubicBezTo>
                    <a:cubicBezTo>
                      <a:pt x="1587" y="945"/>
                      <a:pt x="1583" y="936"/>
                      <a:pt x="1580" y="936"/>
                    </a:cubicBezTo>
                    <a:cubicBezTo>
                      <a:pt x="1576" y="936"/>
                      <a:pt x="1582" y="933"/>
                      <a:pt x="1586" y="935"/>
                    </a:cubicBezTo>
                    <a:cubicBezTo>
                      <a:pt x="1590" y="938"/>
                      <a:pt x="1595" y="940"/>
                      <a:pt x="1597" y="938"/>
                    </a:cubicBezTo>
                    <a:cubicBezTo>
                      <a:pt x="1598" y="936"/>
                      <a:pt x="1590" y="928"/>
                      <a:pt x="1587" y="925"/>
                    </a:cubicBezTo>
                    <a:cubicBezTo>
                      <a:pt x="1584" y="922"/>
                      <a:pt x="1587" y="918"/>
                      <a:pt x="1585" y="916"/>
                    </a:cubicBezTo>
                    <a:cubicBezTo>
                      <a:pt x="1583" y="915"/>
                      <a:pt x="1579" y="904"/>
                      <a:pt x="1577" y="900"/>
                    </a:cubicBezTo>
                    <a:cubicBezTo>
                      <a:pt x="1576" y="895"/>
                      <a:pt x="1569" y="894"/>
                      <a:pt x="1567" y="891"/>
                    </a:cubicBezTo>
                    <a:cubicBezTo>
                      <a:pt x="1565" y="888"/>
                      <a:pt x="1567" y="881"/>
                      <a:pt x="1573" y="878"/>
                    </a:cubicBezTo>
                    <a:cubicBezTo>
                      <a:pt x="1578" y="875"/>
                      <a:pt x="1576" y="870"/>
                      <a:pt x="1578" y="871"/>
                    </a:cubicBezTo>
                    <a:cubicBezTo>
                      <a:pt x="1580" y="871"/>
                      <a:pt x="1583" y="870"/>
                      <a:pt x="1584" y="865"/>
                    </a:cubicBezTo>
                    <a:cubicBezTo>
                      <a:pt x="1586" y="861"/>
                      <a:pt x="1590" y="864"/>
                      <a:pt x="1591" y="861"/>
                    </a:cubicBezTo>
                    <a:cubicBezTo>
                      <a:pt x="1593" y="859"/>
                      <a:pt x="1602" y="859"/>
                      <a:pt x="1605" y="856"/>
                    </a:cubicBezTo>
                    <a:cubicBezTo>
                      <a:pt x="1607" y="854"/>
                      <a:pt x="1602" y="846"/>
                      <a:pt x="1598" y="848"/>
                    </a:cubicBezTo>
                    <a:cubicBezTo>
                      <a:pt x="1594" y="849"/>
                      <a:pt x="1589" y="847"/>
                      <a:pt x="1587" y="842"/>
                    </a:cubicBezTo>
                    <a:cubicBezTo>
                      <a:pt x="1584" y="837"/>
                      <a:pt x="1577" y="851"/>
                      <a:pt x="1571" y="854"/>
                    </a:cubicBezTo>
                    <a:cubicBezTo>
                      <a:pt x="1566" y="857"/>
                      <a:pt x="1562" y="849"/>
                      <a:pt x="1564" y="843"/>
                    </a:cubicBezTo>
                    <a:cubicBezTo>
                      <a:pt x="1566" y="838"/>
                      <a:pt x="1560" y="838"/>
                      <a:pt x="1552" y="838"/>
                    </a:cubicBezTo>
                    <a:cubicBezTo>
                      <a:pt x="1544" y="839"/>
                      <a:pt x="1547" y="822"/>
                      <a:pt x="1552" y="821"/>
                    </a:cubicBezTo>
                    <a:cubicBezTo>
                      <a:pt x="1557" y="820"/>
                      <a:pt x="1563" y="826"/>
                      <a:pt x="1566" y="816"/>
                    </a:cubicBezTo>
                    <a:cubicBezTo>
                      <a:pt x="1569" y="806"/>
                      <a:pt x="1573" y="814"/>
                      <a:pt x="1580" y="805"/>
                    </a:cubicBezTo>
                    <a:cubicBezTo>
                      <a:pt x="1586" y="796"/>
                      <a:pt x="1594" y="790"/>
                      <a:pt x="1599" y="795"/>
                    </a:cubicBezTo>
                    <a:cubicBezTo>
                      <a:pt x="1605" y="801"/>
                      <a:pt x="1593" y="809"/>
                      <a:pt x="1592" y="814"/>
                    </a:cubicBezTo>
                    <a:cubicBezTo>
                      <a:pt x="1590" y="819"/>
                      <a:pt x="1593" y="821"/>
                      <a:pt x="1590" y="825"/>
                    </a:cubicBezTo>
                    <a:cubicBezTo>
                      <a:pt x="1586" y="829"/>
                      <a:pt x="1591" y="830"/>
                      <a:pt x="1598" y="825"/>
                    </a:cubicBezTo>
                    <a:cubicBezTo>
                      <a:pt x="1605" y="820"/>
                      <a:pt x="1613" y="813"/>
                      <a:pt x="1619" y="810"/>
                    </a:cubicBezTo>
                    <a:cubicBezTo>
                      <a:pt x="1621" y="809"/>
                      <a:pt x="1623" y="809"/>
                      <a:pt x="1625" y="809"/>
                    </a:cubicBezTo>
                    <a:cubicBezTo>
                      <a:pt x="1630" y="810"/>
                      <a:pt x="1636" y="814"/>
                      <a:pt x="1638" y="817"/>
                    </a:cubicBezTo>
                    <a:cubicBezTo>
                      <a:pt x="1641" y="822"/>
                      <a:pt x="1634" y="828"/>
                      <a:pt x="1631" y="832"/>
                    </a:cubicBezTo>
                    <a:cubicBezTo>
                      <a:pt x="1628" y="837"/>
                      <a:pt x="1633" y="837"/>
                      <a:pt x="1633" y="841"/>
                    </a:cubicBezTo>
                    <a:cubicBezTo>
                      <a:pt x="1633" y="844"/>
                      <a:pt x="1638" y="847"/>
                      <a:pt x="1639" y="844"/>
                    </a:cubicBezTo>
                    <a:cubicBezTo>
                      <a:pt x="1641" y="841"/>
                      <a:pt x="1643" y="842"/>
                      <a:pt x="1648" y="842"/>
                    </a:cubicBezTo>
                    <a:cubicBezTo>
                      <a:pt x="1649" y="842"/>
                      <a:pt x="1650" y="843"/>
                      <a:pt x="1651" y="844"/>
                    </a:cubicBezTo>
                    <a:cubicBezTo>
                      <a:pt x="1652" y="847"/>
                      <a:pt x="1652" y="851"/>
                      <a:pt x="1654" y="851"/>
                    </a:cubicBezTo>
                    <a:cubicBezTo>
                      <a:pt x="1658" y="852"/>
                      <a:pt x="1658" y="858"/>
                      <a:pt x="1654" y="857"/>
                    </a:cubicBezTo>
                    <a:cubicBezTo>
                      <a:pt x="1650" y="856"/>
                      <a:pt x="1650" y="864"/>
                      <a:pt x="1653" y="870"/>
                    </a:cubicBezTo>
                    <a:cubicBezTo>
                      <a:pt x="1657" y="876"/>
                      <a:pt x="1647" y="883"/>
                      <a:pt x="1649" y="887"/>
                    </a:cubicBezTo>
                    <a:cubicBezTo>
                      <a:pt x="1652" y="890"/>
                      <a:pt x="1650" y="894"/>
                      <a:pt x="1651" y="896"/>
                    </a:cubicBezTo>
                    <a:cubicBezTo>
                      <a:pt x="1652" y="898"/>
                      <a:pt x="1667" y="895"/>
                      <a:pt x="1673" y="887"/>
                    </a:cubicBezTo>
                    <a:cubicBezTo>
                      <a:pt x="1679" y="880"/>
                      <a:pt x="1681" y="881"/>
                      <a:pt x="1684" y="882"/>
                    </a:cubicBezTo>
                    <a:cubicBezTo>
                      <a:pt x="1688" y="883"/>
                      <a:pt x="1691" y="879"/>
                      <a:pt x="1689" y="876"/>
                    </a:cubicBezTo>
                    <a:cubicBezTo>
                      <a:pt x="1687" y="873"/>
                      <a:pt x="1686" y="865"/>
                      <a:pt x="1686" y="856"/>
                    </a:cubicBezTo>
                    <a:cubicBezTo>
                      <a:pt x="1686" y="850"/>
                      <a:pt x="1680" y="840"/>
                      <a:pt x="1674" y="832"/>
                    </a:cubicBezTo>
                    <a:cubicBezTo>
                      <a:pt x="1670" y="827"/>
                      <a:pt x="1666" y="822"/>
                      <a:pt x="1664" y="821"/>
                    </a:cubicBezTo>
                    <a:cubicBezTo>
                      <a:pt x="1660" y="818"/>
                      <a:pt x="1662" y="810"/>
                      <a:pt x="1667" y="808"/>
                    </a:cubicBezTo>
                    <a:cubicBezTo>
                      <a:pt x="1672" y="807"/>
                      <a:pt x="1684" y="796"/>
                      <a:pt x="1687" y="794"/>
                    </a:cubicBezTo>
                    <a:cubicBezTo>
                      <a:pt x="1691" y="791"/>
                      <a:pt x="1689" y="783"/>
                      <a:pt x="1691" y="777"/>
                    </a:cubicBezTo>
                    <a:cubicBezTo>
                      <a:pt x="1693" y="774"/>
                      <a:pt x="1699" y="767"/>
                      <a:pt x="1704" y="762"/>
                    </a:cubicBezTo>
                    <a:cubicBezTo>
                      <a:pt x="1705" y="761"/>
                      <a:pt x="1706" y="760"/>
                      <a:pt x="1707" y="759"/>
                    </a:cubicBezTo>
                    <a:cubicBezTo>
                      <a:pt x="1707" y="759"/>
                      <a:pt x="1707" y="759"/>
                      <a:pt x="1707" y="759"/>
                    </a:cubicBezTo>
                    <a:cubicBezTo>
                      <a:pt x="1711" y="756"/>
                      <a:pt x="1715" y="753"/>
                      <a:pt x="1717" y="753"/>
                    </a:cubicBezTo>
                    <a:cubicBezTo>
                      <a:pt x="1721" y="753"/>
                      <a:pt x="1725" y="762"/>
                      <a:pt x="1730" y="762"/>
                    </a:cubicBezTo>
                    <a:cubicBezTo>
                      <a:pt x="1735" y="762"/>
                      <a:pt x="1757" y="745"/>
                      <a:pt x="1757" y="742"/>
                    </a:cubicBezTo>
                    <a:cubicBezTo>
                      <a:pt x="1757" y="739"/>
                      <a:pt x="1770" y="725"/>
                      <a:pt x="1775" y="717"/>
                    </a:cubicBezTo>
                    <a:cubicBezTo>
                      <a:pt x="1781" y="710"/>
                      <a:pt x="1789" y="698"/>
                      <a:pt x="1792" y="690"/>
                    </a:cubicBezTo>
                    <a:cubicBezTo>
                      <a:pt x="1794" y="685"/>
                      <a:pt x="1803" y="674"/>
                      <a:pt x="1805" y="670"/>
                    </a:cubicBezTo>
                    <a:cubicBezTo>
                      <a:pt x="1807" y="666"/>
                      <a:pt x="1808" y="666"/>
                      <a:pt x="1812" y="656"/>
                    </a:cubicBezTo>
                    <a:cubicBezTo>
                      <a:pt x="1816" y="646"/>
                      <a:pt x="1816" y="621"/>
                      <a:pt x="1817" y="620"/>
                    </a:cubicBezTo>
                    <a:cubicBezTo>
                      <a:pt x="1818" y="618"/>
                      <a:pt x="1817" y="614"/>
                      <a:pt x="1819" y="611"/>
                    </a:cubicBezTo>
                    <a:cubicBezTo>
                      <a:pt x="1821" y="608"/>
                      <a:pt x="1820" y="605"/>
                      <a:pt x="1823" y="601"/>
                    </a:cubicBezTo>
                    <a:cubicBezTo>
                      <a:pt x="1827" y="598"/>
                      <a:pt x="1826" y="595"/>
                      <a:pt x="1825" y="592"/>
                    </a:cubicBezTo>
                    <a:cubicBezTo>
                      <a:pt x="1824" y="589"/>
                      <a:pt x="1825" y="583"/>
                      <a:pt x="1825" y="582"/>
                    </a:cubicBezTo>
                    <a:cubicBezTo>
                      <a:pt x="1824" y="580"/>
                      <a:pt x="1824" y="579"/>
                      <a:pt x="1826" y="577"/>
                    </a:cubicBezTo>
                    <a:cubicBezTo>
                      <a:pt x="1828" y="576"/>
                      <a:pt x="1825" y="572"/>
                      <a:pt x="1822" y="571"/>
                    </a:cubicBezTo>
                    <a:cubicBezTo>
                      <a:pt x="1819" y="569"/>
                      <a:pt x="1815" y="568"/>
                      <a:pt x="1815" y="564"/>
                    </a:cubicBezTo>
                    <a:cubicBezTo>
                      <a:pt x="1814" y="560"/>
                      <a:pt x="1809" y="555"/>
                      <a:pt x="1806" y="556"/>
                    </a:cubicBezTo>
                    <a:cubicBezTo>
                      <a:pt x="1802" y="556"/>
                      <a:pt x="1795" y="553"/>
                      <a:pt x="1796" y="556"/>
                    </a:cubicBezTo>
                    <a:cubicBezTo>
                      <a:pt x="1797" y="559"/>
                      <a:pt x="1795" y="561"/>
                      <a:pt x="1793" y="561"/>
                    </a:cubicBezTo>
                    <a:cubicBezTo>
                      <a:pt x="1792" y="560"/>
                      <a:pt x="1791" y="562"/>
                      <a:pt x="1788" y="566"/>
                    </a:cubicBezTo>
                    <a:cubicBezTo>
                      <a:pt x="1786" y="570"/>
                      <a:pt x="1778" y="570"/>
                      <a:pt x="1782" y="567"/>
                    </a:cubicBezTo>
                    <a:cubicBezTo>
                      <a:pt x="1786" y="563"/>
                      <a:pt x="1781" y="562"/>
                      <a:pt x="1781" y="558"/>
                    </a:cubicBezTo>
                    <a:cubicBezTo>
                      <a:pt x="1782" y="554"/>
                      <a:pt x="1785" y="550"/>
                      <a:pt x="1781" y="553"/>
                    </a:cubicBezTo>
                    <a:cubicBezTo>
                      <a:pt x="1777" y="556"/>
                      <a:pt x="1777" y="562"/>
                      <a:pt x="1774" y="563"/>
                    </a:cubicBezTo>
                    <a:cubicBezTo>
                      <a:pt x="1771" y="564"/>
                      <a:pt x="1772" y="552"/>
                      <a:pt x="1773" y="549"/>
                    </a:cubicBezTo>
                    <a:cubicBezTo>
                      <a:pt x="1773" y="545"/>
                      <a:pt x="1767" y="549"/>
                      <a:pt x="1759" y="548"/>
                    </a:cubicBezTo>
                    <a:cubicBezTo>
                      <a:pt x="1752" y="548"/>
                      <a:pt x="1754" y="542"/>
                      <a:pt x="1760" y="538"/>
                    </a:cubicBezTo>
                    <a:cubicBezTo>
                      <a:pt x="1766" y="534"/>
                      <a:pt x="1765" y="531"/>
                      <a:pt x="1768" y="529"/>
                    </a:cubicBezTo>
                    <a:cubicBezTo>
                      <a:pt x="1771" y="528"/>
                      <a:pt x="1778" y="522"/>
                      <a:pt x="1783" y="519"/>
                    </a:cubicBezTo>
                    <a:cubicBezTo>
                      <a:pt x="1787" y="516"/>
                      <a:pt x="1788" y="512"/>
                      <a:pt x="1789" y="509"/>
                    </a:cubicBezTo>
                    <a:cubicBezTo>
                      <a:pt x="1790" y="505"/>
                      <a:pt x="1798" y="501"/>
                      <a:pt x="1805" y="494"/>
                    </a:cubicBezTo>
                    <a:cubicBezTo>
                      <a:pt x="1813" y="487"/>
                      <a:pt x="1816" y="483"/>
                      <a:pt x="1818" y="478"/>
                    </a:cubicBezTo>
                    <a:cubicBezTo>
                      <a:pt x="1820" y="474"/>
                      <a:pt x="1831" y="469"/>
                      <a:pt x="1831" y="465"/>
                    </a:cubicBezTo>
                    <a:cubicBezTo>
                      <a:pt x="1831" y="462"/>
                      <a:pt x="1842" y="455"/>
                      <a:pt x="1850" y="453"/>
                    </a:cubicBezTo>
                    <a:cubicBezTo>
                      <a:pt x="1823" y="356"/>
                      <a:pt x="1788" y="264"/>
                      <a:pt x="1744" y="176"/>
                    </a:cubicBezTo>
                    <a:cubicBezTo>
                      <a:pt x="1738" y="175"/>
                      <a:pt x="1731" y="171"/>
                      <a:pt x="1729" y="168"/>
                    </a:cubicBezTo>
                    <a:cubicBezTo>
                      <a:pt x="1726" y="164"/>
                      <a:pt x="1725" y="162"/>
                      <a:pt x="1722" y="167"/>
                    </a:cubicBezTo>
                    <a:cubicBezTo>
                      <a:pt x="1719" y="172"/>
                      <a:pt x="1719" y="181"/>
                      <a:pt x="1716" y="181"/>
                    </a:cubicBezTo>
                    <a:cubicBezTo>
                      <a:pt x="1713" y="182"/>
                      <a:pt x="1712" y="190"/>
                      <a:pt x="1709" y="192"/>
                    </a:cubicBezTo>
                    <a:cubicBezTo>
                      <a:pt x="1705" y="194"/>
                      <a:pt x="1705" y="189"/>
                      <a:pt x="1701" y="189"/>
                    </a:cubicBezTo>
                    <a:cubicBezTo>
                      <a:pt x="1697" y="190"/>
                      <a:pt x="1685" y="175"/>
                      <a:pt x="1684" y="171"/>
                    </a:cubicBezTo>
                    <a:cubicBezTo>
                      <a:pt x="1683" y="166"/>
                      <a:pt x="1676" y="158"/>
                      <a:pt x="1673" y="157"/>
                    </a:cubicBezTo>
                    <a:cubicBezTo>
                      <a:pt x="1671" y="155"/>
                      <a:pt x="1676" y="154"/>
                      <a:pt x="1678" y="157"/>
                    </a:cubicBezTo>
                    <a:cubicBezTo>
                      <a:pt x="1681" y="159"/>
                      <a:pt x="1684" y="159"/>
                      <a:pt x="1686" y="158"/>
                    </a:cubicBezTo>
                    <a:cubicBezTo>
                      <a:pt x="1689" y="156"/>
                      <a:pt x="1689" y="149"/>
                      <a:pt x="1684" y="148"/>
                    </a:cubicBezTo>
                    <a:cubicBezTo>
                      <a:pt x="1680" y="148"/>
                      <a:pt x="1681" y="144"/>
                      <a:pt x="1684" y="143"/>
                    </a:cubicBezTo>
                    <a:cubicBezTo>
                      <a:pt x="1686" y="142"/>
                      <a:pt x="1679" y="134"/>
                      <a:pt x="1681" y="133"/>
                    </a:cubicBezTo>
                    <a:cubicBezTo>
                      <a:pt x="1684" y="132"/>
                      <a:pt x="1683" y="129"/>
                      <a:pt x="1679" y="128"/>
                    </a:cubicBezTo>
                    <a:cubicBezTo>
                      <a:pt x="1675" y="128"/>
                      <a:pt x="1671" y="124"/>
                      <a:pt x="1671" y="122"/>
                    </a:cubicBezTo>
                    <a:cubicBezTo>
                      <a:pt x="1671" y="119"/>
                      <a:pt x="1655" y="119"/>
                      <a:pt x="1656" y="122"/>
                    </a:cubicBezTo>
                    <a:cubicBezTo>
                      <a:pt x="1657" y="125"/>
                      <a:pt x="1651" y="124"/>
                      <a:pt x="1652" y="122"/>
                    </a:cubicBezTo>
                    <a:cubicBezTo>
                      <a:pt x="1652" y="119"/>
                      <a:pt x="1646" y="120"/>
                      <a:pt x="1638" y="117"/>
                    </a:cubicBezTo>
                    <a:cubicBezTo>
                      <a:pt x="1631" y="115"/>
                      <a:pt x="1631" y="108"/>
                      <a:pt x="1628" y="108"/>
                    </a:cubicBezTo>
                    <a:cubicBezTo>
                      <a:pt x="1626" y="108"/>
                      <a:pt x="1626" y="117"/>
                      <a:pt x="1623" y="115"/>
                    </a:cubicBezTo>
                    <a:cubicBezTo>
                      <a:pt x="1619" y="113"/>
                      <a:pt x="1615" y="117"/>
                      <a:pt x="1617" y="122"/>
                    </a:cubicBezTo>
                    <a:cubicBezTo>
                      <a:pt x="1619" y="127"/>
                      <a:pt x="1617" y="128"/>
                      <a:pt x="1617" y="132"/>
                    </a:cubicBezTo>
                    <a:cubicBezTo>
                      <a:pt x="1616" y="137"/>
                      <a:pt x="1614" y="135"/>
                      <a:pt x="1610" y="133"/>
                    </a:cubicBezTo>
                    <a:cubicBezTo>
                      <a:pt x="1605" y="131"/>
                      <a:pt x="1605" y="138"/>
                      <a:pt x="1596" y="135"/>
                    </a:cubicBezTo>
                    <a:cubicBezTo>
                      <a:pt x="1586" y="132"/>
                      <a:pt x="1582" y="135"/>
                      <a:pt x="1580" y="131"/>
                    </a:cubicBezTo>
                    <a:cubicBezTo>
                      <a:pt x="1579" y="127"/>
                      <a:pt x="1576" y="127"/>
                      <a:pt x="1575" y="130"/>
                    </a:cubicBezTo>
                    <a:cubicBezTo>
                      <a:pt x="1575" y="133"/>
                      <a:pt x="1560" y="132"/>
                      <a:pt x="1559" y="127"/>
                    </a:cubicBezTo>
                    <a:cubicBezTo>
                      <a:pt x="1558" y="123"/>
                      <a:pt x="1562" y="122"/>
                      <a:pt x="1564" y="121"/>
                    </a:cubicBezTo>
                    <a:cubicBezTo>
                      <a:pt x="1566" y="120"/>
                      <a:pt x="1562" y="118"/>
                      <a:pt x="1553" y="118"/>
                    </a:cubicBezTo>
                    <a:cubicBezTo>
                      <a:pt x="1545" y="119"/>
                      <a:pt x="1540" y="114"/>
                      <a:pt x="1532" y="115"/>
                    </a:cubicBezTo>
                    <a:cubicBezTo>
                      <a:pt x="1524" y="116"/>
                      <a:pt x="1506" y="118"/>
                      <a:pt x="1503" y="119"/>
                    </a:cubicBezTo>
                    <a:cubicBezTo>
                      <a:pt x="1501" y="121"/>
                      <a:pt x="1505" y="126"/>
                      <a:pt x="1502" y="126"/>
                    </a:cubicBezTo>
                    <a:cubicBezTo>
                      <a:pt x="1498" y="127"/>
                      <a:pt x="1500" y="117"/>
                      <a:pt x="1500" y="113"/>
                    </a:cubicBezTo>
                    <a:cubicBezTo>
                      <a:pt x="1499" y="108"/>
                      <a:pt x="1493" y="108"/>
                      <a:pt x="1494" y="111"/>
                    </a:cubicBezTo>
                    <a:cubicBezTo>
                      <a:pt x="1495" y="115"/>
                      <a:pt x="1484" y="116"/>
                      <a:pt x="1482" y="113"/>
                    </a:cubicBezTo>
                    <a:cubicBezTo>
                      <a:pt x="1479" y="111"/>
                      <a:pt x="1475" y="107"/>
                      <a:pt x="1469" y="105"/>
                    </a:cubicBezTo>
                    <a:cubicBezTo>
                      <a:pt x="1462" y="103"/>
                      <a:pt x="1454" y="112"/>
                      <a:pt x="1456" y="114"/>
                    </a:cubicBezTo>
                    <a:cubicBezTo>
                      <a:pt x="1457" y="117"/>
                      <a:pt x="1462" y="115"/>
                      <a:pt x="1463" y="116"/>
                    </a:cubicBezTo>
                    <a:cubicBezTo>
                      <a:pt x="1463" y="120"/>
                      <a:pt x="1448" y="118"/>
                      <a:pt x="1448" y="121"/>
                    </a:cubicBezTo>
                    <a:cubicBezTo>
                      <a:pt x="1448" y="124"/>
                      <a:pt x="1435" y="128"/>
                      <a:pt x="1431" y="129"/>
                    </a:cubicBezTo>
                    <a:cubicBezTo>
                      <a:pt x="1420" y="130"/>
                      <a:pt x="1417" y="130"/>
                      <a:pt x="1412" y="136"/>
                    </a:cubicBezTo>
                    <a:cubicBezTo>
                      <a:pt x="1407" y="141"/>
                      <a:pt x="1411" y="131"/>
                      <a:pt x="1415" y="126"/>
                    </a:cubicBezTo>
                    <a:cubicBezTo>
                      <a:pt x="1419" y="121"/>
                      <a:pt x="1423" y="123"/>
                      <a:pt x="1425" y="119"/>
                    </a:cubicBezTo>
                    <a:cubicBezTo>
                      <a:pt x="1428" y="115"/>
                      <a:pt x="1432" y="116"/>
                      <a:pt x="1438" y="115"/>
                    </a:cubicBezTo>
                    <a:cubicBezTo>
                      <a:pt x="1445" y="113"/>
                      <a:pt x="1444" y="109"/>
                      <a:pt x="1447" y="107"/>
                    </a:cubicBezTo>
                    <a:cubicBezTo>
                      <a:pt x="1450" y="106"/>
                      <a:pt x="1458" y="102"/>
                      <a:pt x="1459" y="98"/>
                    </a:cubicBezTo>
                    <a:cubicBezTo>
                      <a:pt x="1461" y="95"/>
                      <a:pt x="1476" y="89"/>
                      <a:pt x="1479" y="89"/>
                    </a:cubicBezTo>
                    <a:cubicBezTo>
                      <a:pt x="1482" y="89"/>
                      <a:pt x="1483" y="81"/>
                      <a:pt x="1485" y="81"/>
                    </a:cubicBezTo>
                    <a:cubicBezTo>
                      <a:pt x="1486" y="81"/>
                      <a:pt x="1495" y="77"/>
                      <a:pt x="1499" y="75"/>
                    </a:cubicBezTo>
                    <a:cubicBezTo>
                      <a:pt x="1502" y="73"/>
                      <a:pt x="1504" y="69"/>
                      <a:pt x="1504" y="66"/>
                    </a:cubicBezTo>
                    <a:cubicBezTo>
                      <a:pt x="1504" y="64"/>
                      <a:pt x="1499" y="64"/>
                      <a:pt x="1499" y="62"/>
                    </a:cubicBezTo>
                    <a:cubicBezTo>
                      <a:pt x="1498" y="59"/>
                      <a:pt x="1501" y="61"/>
                      <a:pt x="1505" y="59"/>
                    </a:cubicBezTo>
                    <a:cubicBezTo>
                      <a:pt x="1508" y="58"/>
                      <a:pt x="1505" y="52"/>
                      <a:pt x="1502" y="53"/>
                    </a:cubicBezTo>
                    <a:cubicBezTo>
                      <a:pt x="1499" y="54"/>
                      <a:pt x="1503" y="50"/>
                      <a:pt x="1501" y="46"/>
                    </a:cubicBezTo>
                    <a:cubicBezTo>
                      <a:pt x="1498" y="42"/>
                      <a:pt x="1493" y="48"/>
                      <a:pt x="1493" y="45"/>
                    </a:cubicBezTo>
                    <a:cubicBezTo>
                      <a:pt x="1493" y="41"/>
                      <a:pt x="1493" y="36"/>
                      <a:pt x="1491" y="33"/>
                    </a:cubicBezTo>
                    <a:cubicBezTo>
                      <a:pt x="1489" y="31"/>
                      <a:pt x="1485" y="38"/>
                      <a:pt x="1481" y="34"/>
                    </a:cubicBezTo>
                    <a:cubicBezTo>
                      <a:pt x="1476" y="30"/>
                      <a:pt x="1464" y="27"/>
                      <a:pt x="1464" y="29"/>
                    </a:cubicBezTo>
                    <a:cubicBezTo>
                      <a:pt x="1464" y="31"/>
                      <a:pt x="1458" y="27"/>
                      <a:pt x="1457" y="28"/>
                    </a:cubicBezTo>
                    <a:cubicBezTo>
                      <a:pt x="1456" y="30"/>
                      <a:pt x="1446" y="30"/>
                      <a:pt x="1443" y="29"/>
                    </a:cubicBezTo>
                    <a:cubicBezTo>
                      <a:pt x="1439" y="28"/>
                      <a:pt x="1435" y="30"/>
                      <a:pt x="1435" y="34"/>
                    </a:cubicBezTo>
                    <a:cubicBezTo>
                      <a:pt x="1435" y="37"/>
                      <a:pt x="1423" y="36"/>
                      <a:pt x="1421" y="35"/>
                    </a:cubicBezTo>
                    <a:cubicBezTo>
                      <a:pt x="1418" y="35"/>
                      <a:pt x="1429" y="24"/>
                      <a:pt x="1429" y="22"/>
                    </a:cubicBezTo>
                    <a:cubicBezTo>
                      <a:pt x="1429" y="21"/>
                      <a:pt x="1411" y="23"/>
                      <a:pt x="1410" y="21"/>
                    </a:cubicBezTo>
                    <a:cubicBezTo>
                      <a:pt x="1409" y="19"/>
                      <a:pt x="1400" y="18"/>
                      <a:pt x="1396" y="18"/>
                    </a:cubicBezTo>
                    <a:cubicBezTo>
                      <a:pt x="1392" y="19"/>
                      <a:pt x="1396" y="17"/>
                      <a:pt x="1400" y="17"/>
                    </a:cubicBezTo>
                    <a:cubicBezTo>
                      <a:pt x="1403" y="16"/>
                      <a:pt x="1407" y="13"/>
                      <a:pt x="1410" y="12"/>
                    </a:cubicBezTo>
                    <a:cubicBezTo>
                      <a:pt x="1414" y="11"/>
                      <a:pt x="1414" y="9"/>
                      <a:pt x="1412" y="6"/>
                    </a:cubicBezTo>
                    <a:cubicBezTo>
                      <a:pt x="1410" y="4"/>
                      <a:pt x="1406" y="5"/>
                      <a:pt x="1402" y="4"/>
                    </a:cubicBezTo>
                    <a:cubicBezTo>
                      <a:pt x="1398" y="2"/>
                      <a:pt x="1393" y="0"/>
                      <a:pt x="1390" y="0"/>
                    </a:cubicBezTo>
                    <a:cubicBezTo>
                      <a:pt x="1387" y="0"/>
                      <a:pt x="1383" y="2"/>
                      <a:pt x="1375" y="4"/>
                    </a:cubicBezTo>
                    <a:cubicBezTo>
                      <a:pt x="1367" y="6"/>
                      <a:pt x="1366" y="13"/>
                      <a:pt x="1362" y="15"/>
                    </a:cubicBezTo>
                    <a:cubicBezTo>
                      <a:pt x="1358" y="18"/>
                      <a:pt x="1351" y="27"/>
                      <a:pt x="1354" y="27"/>
                    </a:cubicBezTo>
                    <a:cubicBezTo>
                      <a:pt x="1357" y="28"/>
                      <a:pt x="1356" y="31"/>
                      <a:pt x="1356" y="33"/>
                    </a:cubicBezTo>
                    <a:cubicBezTo>
                      <a:pt x="1357" y="36"/>
                      <a:pt x="1354" y="37"/>
                      <a:pt x="1350" y="36"/>
                    </a:cubicBezTo>
                    <a:cubicBezTo>
                      <a:pt x="1346" y="35"/>
                      <a:pt x="1332" y="35"/>
                      <a:pt x="1332" y="39"/>
                    </a:cubicBezTo>
                    <a:cubicBezTo>
                      <a:pt x="1332" y="42"/>
                      <a:pt x="1340" y="44"/>
                      <a:pt x="1340" y="46"/>
                    </a:cubicBezTo>
                    <a:cubicBezTo>
                      <a:pt x="1339" y="47"/>
                      <a:pt x="1334" y="45"/>
                      <a:pt x="1331" y="44"/>
                    </a:cubicBezTo>
                    <a:cubicBezTo>
                      <a:pt x="1328" y="42"/>
                      <a:pt x="1322" y="43"/>
                      <a:pt x="1321" y="46"/>
                    </a:cubicBezTo>
                    <a:cubicBezTo>
                      <a:pt x="1320" y="50"/>
                      <a:pt x="1315" y="49"/>
                      <a:pt x="1313" y="48"/>
                    </a:cubicBezTo>
                    <a:cubicBezTo>
                      <a:pt x="1312" y="47"/>
                      <a:pt x="1308" y="50"/>
                      <a:pt x="1306" y="49"/>
                    </a:cubicBezTo>
                    <a:cubicBezTo>
                      <a:pt x="1303" y="48"/>
                      <a:pt x="1311" y="43"/>
                      <a:pt x="1309" y="41"/>
                    </a:cubicBezTo>
                    <a:cubicBezTo>
                      <a:pt x="1307" y="39"/>
                      <a:pt x="1299" y="41"/>
                      <a:pt x="1298" y="44"/>
                    </a:cubicBezTo>
                    <a:cubicBezTo>
                      <a:pt x="1297" y="48"/>
                      <a:pt x="1292" y="42"/>
                      <a:pt x="1290" y="43"/>
                    </a:cubicBezTo>
                    <a:cubicBezTo>
                      <a:pt x="1289" y="44"/>
                      <a:pt x="1287" y="46"/>
                      <a:pt x="1283" y="47"/>
                    </a:cubicBezTo>
                    <a:cubicBezTo>
                      <a:pt x="1279" y="49"/>
                      <a:pt x="1273" y="45"/>
                      <a:pt x="1272" y="49"/>
                    </a:cubicBezTo>
                    <a:cubicBezTo>
                      <a:pt x="1270" y="52"/>
                      <a:pt x="1279" y="53"/>
                      <a:pt x="1279" y="54"/>
                    </a:cubicBezTo>
                    <a:cubicBezTo>
                      <a:pt x="1279" y="56"/>
                      <a:pt x="1260" y="56"/>
                      <a:pt x="1260" y="58"/>
                    </a:cubicBezTo>
                    <a:cubicBezTo>
                      <a:pt x="1259" y="60"/>
                      <a:pt x="1253" y="60"/>
                      <a:pt x="1245" y="60"/>
                    </a:cubicBezTo>
                    <a:cubicBezTo>
                      <a:pt x="1237" y="61"/>
                      <a:pt x="1241" y="65"/>
                      <a:pt x="1234" y="66"/>
                    </a:cubicBezTo>
                    <a:cubicBezTo>
                      <a:pt x="1228" y="68"/>
                      <a:pt x="1226" y="68"/>
                      <a:pt x="1223" y="72"/>
                    </a:cubicBezTo>
                    <a:cubicBezTo>
                      <a:pt x="1221" y="75"/>
                      <a:pt x="1217" y="76"/>
                      <a:pt x="1215" y="73"/>
                    </a:cubicBezTo>
                    <a:cubicBezTo>
                      <a:pt x="1213" y="70"/>
                      <a:pt x="1207" y="75"/>
                      <a:pt x="1210" y="75"/>
                    </a:cubicBezTo>
                    <a:cubicBezTo>
                      <a:pt x="1213" y="75"/>
                      <a:pt x="1210" y="79"/>
                      <a:pt x="1208" y="78"/>
                    </a:cubicBezTo>
                    <a:cubicBezTo>
                      <a:pt x="1206" y="78"/>
                      <a:pt x="1201" y="82"/>
                      <a:pt x="1204" y="82"/>
                    </a:cubicBezTo>
                    <a:cubicBezTo>
                      <a:pt x="1207" y="81"/>
                      <a:pt x="1209" y="84"/>
                      <a:pt x="1207" y="87"/>
                    </a:cubicBezTo>
                    <a:cubicBezTo>
                      <a:pt x="1206" y="89"/>
                      <a:pt x="1199" y="84"/>
                      <a:pt x="1197" y="86"/>
                    </a:cubicBezTo>
                    <a:cubicBezTo>
                      <a:pt x="1195" y="88"/>
                      <a:pt x="1200" y="91"/>
                      <a:pt x="1203" y="90"/>
                    </a:cubicBezTo>
                    <a:cubicBezTo>
                      <a:pt x="1207" y="90"/>
                      <a:pt x="1208" y="92"/>
                      <a:pt x="1209" y="95"/>
                    </a:cubicBezTo>
                    <a:cubicBezTo>
                      <a:pt x="1209" y="98"/>
                      <a:pt x="1201" y="93"/>
                      <a:pt x="1200" y="96"/>
                    </a:cubicBezTo>
                    <a:cubicBezTo>
                      <a:pt x="1198" y="98"/>
                      <a:pt x="1201" y="99"/>
                      <a:pt x="1204" y="99"/>
                    </a:cubicBezTo>
                    <a:cubicBezTo>
                      <a:pt x="1208" y="100"/>
                      <a:pt x="1205" y="101"/>
                      <a:pt x="1208" y="104"/>
                    </a:cubicBezTo>
                    <a:cubicBezTo>
                      <a:pt x="1208" y="105"/>
                      <a:pt x="1208" y="105"/>
                      <a:pt x="1209" y="105"/>
                    </a:cubicBezTo>
                    <a:cubicBezTo>
                      <a:pt x="1210" y="108"/>
                      <a:pt x="1207" y="108"/>
                      <a:pt x="1207" y="111"/>
                    </a:cubicBezTo>
                    <a:cubicBezTo>
                      <a:pt x="1208" y="114"/>
                      <a:pt x="1204" y="115"/>
                      <a:pt x="1204" y="112"/>
                    </a:cubicBezTo>
                    <a:cubicBezTo>
                      <a:pt x="1204" y="110"/>
                      <a:pt x="1195" y="109"/>
                      <a:pt x="1193" y="111"/>
                    </a:cubicBezTo>
                    <a:cubicBezTo>
                      <a:pt x="1191" y="114"/>
                      <a:pt x="1190" y="116"/>
                      <a:pt x="1188" y="114"/>
                    </a:cubicBezTo>
                    <a:cubicBezTo>
                      <a:pt x="1186" y="111"/>
                      <a:pt x="1179" y="114"/>
                      <a:pt x="1171" y="115"/>
                    </a:cubicBezTo>
                    <a:cubicBezTo>
                      <a:pt x="1162" y="115"/>
                      <a:pt x="1145" y="116"/>
                      <a:pt x="1141" y="118"/>
                    </a:cubicBezTo>
                    <a:cubicBezTo>
                      <a:pt x="1136" y="120"/>
                      <a:pt x="1133" y="127"/>
                      <a:pt x="1137" y="132"/>
                    </a:cubicBezTo>
                    <a:cubicBezTo>
                      <a:pt x="1141" y="136"/>
                      <a:pt x="1137" y="138"/>
                      <a:pt x="1137" y="141"/>
                    </a:cubicBezTo>
                    <a:cubicBezTo>
                      <a:pt x="1137" y="144"/>
                      <a:pt x="1147" y="151"/>
                      <a:pt x="1153" y="151"/>
                    </a:cubicBezTo>
                    <a:cubicBezTo>
                      <a:pt x="1158" y="152"/>
                      <a:pt x="1163" y="160"/>
                      <a:pt x="1159" y="165"/>
                    </a:cubicBezTo>
                    <a:cubicBezTo>
                      <a:pt x="1156" y="170"/>
                      <a:pt x="1146" y="164"/>
                      <a:pt x="1140" y="157"/>
                    </a:cubicBezTo>
                    <a:cubicBezTo>
                      <a:pt x="1133" y="151"/>
                      <a:pt x="1118" y="149"/>
                      <a:pt x="1113" y="149"/>
                    </a:cubicBezTo>
                    <a:cubicBezTo>
                      <a:pt x="1108" y="150"/>
                      <a:pt x="1111" y="144"/>
                      <a:pt x="1105" y="144"/>
                    </a:cubicBezTo>
                    <a:cubicBezTo>
                      <a:pt x="1099" y="144"/>
                      <a:pt x="1093" y="151"/>
                      <a:pt x="1098" y="151"/>
                    </a:cubicBezTo>
                    <a:cubicBezTo>
                      <a:pt x="1102" y="151"/>
                      <a:pt x="1105" y="151"/>
                      <a:pt x="1102" y="153"/>
                    </a:cubicBezTo>
                    <a:cubicBezTo>
                      <a:pt x="1100" y="156"/>
                      <a:pt x="1103" y="155"/>
                      <a:pt x="1109" y="158"/>
                    </a:cubicBezTo>
                    <a:cubicBezTo>
                      <a:pt x="1114" y="160"/>
                      <a:pt x="1104" y="164"/>
                      <a:pt x="1099" y="160"/>
                    </a:cubicBezTo>
                    <a:cubicBezTo>
                      <a:pt x="1094" y="155"/>
                      <a:pt x="1088" y="159"/>
                      <a:pt x="1087" y="163"/>
                    </a:cubicBezTo>
                    <a:cubicBezTo>
                      <a:pt x="1085" y="166"/>
                      <a:pt x="1093" y="175"/>
                      <a:pt x="1102" y="177"/>
                    </a:cubicBezTo>
                    <a:cubicBezTo>
                      <a:pt x="1111" y="179"/>
                      <a:pt x="1108" y="182"/>
                      <a:pt x="1112" y="184"/>
                    </a:cubicBezTo>
                    <a:cubicBezTo>
                      <a:pt x="1117" y="186"/>
                      <a:pt x="1114" y="188"/>
                      <a:pt x="1111" y="188"/>
                    </a:cubicBezTo>
                    <a:cubicBezTo>
                      <a:pt x="1108" y="188"/>
                      <a:pt x="1102" y="183"/>
                      <a:pt x="1097" y="180"/>
                    </a:cubicBezTo>
                    <a:cubicBezTo>
                      <a:pt x="1093" y="177"/>
                      <a:pt x="1080" y="181"/>
                      <a:pt x="1078" y="178"/>
                    </a:cubicBezTo>
                    <a:cubicBezTo>
                      <a:pt x="1075" y="175"/>
                      <a:pt x="1079" y="171"/>
                      <a:pt x="1077" y="169"/>
                    </a:cubicBezTo>
                    <a:cubicBezTo>
                      <a:pt x="1075" y="166"/>
                      <a:pt x="1077" y="161"/>
                      <a:pt x="1080" y="155"/>
                    </a:cubicBezTo>
                    <a:cubicBezTo>
                      <a:pt x="1083" y="149"/>
                      <a:pt x="1079" y="140"/>
                      <a:pt x="1075" y="138"/>
                    </a:cubicBezTo>
                    <a:cubicBezTo>
                      <a:pt x="1070" y="136"/>
                      <a:pt x="1071" y="142"/>
                      <a:pt x="1072" y="143"/>
                    </a:cubicBezTo>
                    <a:cubicBezTo>
                      <a:pt x="1073" y="145"/>
                      <a:pt x="1072" y="153"/>
                      <a:pt x="1069" y="158"/>
                    </a:cubicBezTo>
                    <a:cubicBezTo>
                      <a:pt x="1065" y="163"/>
                      <a:pt x="1055" y="163"/>
                      <a:pt x="1055" y="167"/>
                    </a:cubicBezTo>
                    <a:cubicBezTo>
                      <a:pt x="1055" y="170"/>
                      <a:pt x="1048" y="173"/>
                      <a:pt x="1050" y="175"/>
                    </a:cubicBezTo>
                    <a:cubicBezTo>
                      <a:pt x="1053" y="178"/>
                      <a:pt x="1062" y="190"/>
                      <a:pt x="1063" y="194"/>
                    </a:cubicBezTo>
                    <a:cubicBezTo>
                      <a:pt x="1065" y="198"/>
                      <a:pt x="1055" y="210"/>
                      <a:pt x="1057" y="218"/>
                    </a:cubicBezTo>
                    <a:cubicBezTo>
                      <a:pt x="1058" y="225"/>
                      <a:pt x="1055" y="228"/>
                      <a:pt x="1057" y="232"/>
                    </a:cubicBezTo>
                    <a:cubicBezTo>
                      <a:pt x="1059" y="235"/>
                      <a:pt x="1063" y="232"/>
                      <a:pt x="1066" y="233"/>
                    </a:cubicBezTo>
                    <a:cubicBezTo>
                      <a:pt x="1069" y="235"/>
                      <a:pt x="1073" y="231"/>
                      <a:pt x="1080" y="230"/>
                    </a:cubicBezTo>
                    <a:cubicBezTo>
                      <a:pt x="1086" y="228"/>
                      <a:pt x="1098" y="236"/>
                      <a:pt x="1102" y="239"/>
                    </a:cubicBezTo>
                    <a:cubicBezTo>
                      <a:pt x="1106" y="241"/>
                      <a:pt x="1104" y="245"/>
                      <a:pt x="1106" y="250"/>
                    </a:cubicBezTo>
                    <a:cubicBezTo>
                      <a:pt x="1108" y="254"/>
                      <a:pt x="1101" y="254"/>
                      <a:pt x="1101" y="260"/>
                    </a:cubicBezTo>
                    <a:cubicBezTo>
                      <a:pt x="1101" y="266"/>
                      <a:pt x="1114" y="269"/>
                      <a:pt x="1114" y="270"/>
                    </a:cubicBezTo>
                    <a:cubicBezTo>
                      <a:pt x="1115" y="272"/>
                      <a:pt x="1105" y="271"/>
                      <a:pt x="1101" y="269"/>
                    </a:cubicBezTo>
                    <a:cubicBezTo>
                      <a:pt x="1097" y="268"/>
                      <a:pt x="1097" y="262"/>
                      <a:pt x="1096" y="260"/>
                    </a:cubicBezTo>
                    <a:cubicBezTo>
                      <a:pt x="1095" y="259"/>
                      <a:pt x="1098" y="254"/>
                      <a:pt x="1099" y="250"/>
                    </a:cubicBezTo>
                    <a:cubicBezTo>
                      <a:pt x="1099" y="246"/>
                      <a:pt x="1094" y="244"/>
                      <a:pt x="1093" y="242"/>
                    </a:cubicBezTo>
                    <a:cubicBezTo>
                      <a:pt x="1091" y="239"/>
                      <a:pt x="1089" y="235"/>
                      <a:pt x="1086" y="236"/>
                    </a:cubicBezTo>
                    <a:cubicBezTo>
                      <a:pt x="1082" y="237"/>
                      <a:pt x="1071" y="238"/>
                      <a:pt x="1068" y="242"/>
                    </a:cubicBezTo>
                    <a:cubicBezTo>
                      <a:pt x="1064" y="245"/>
                      <a:pt x="1068" y="256"/>
                      <a:pt x="1070" y="261"/>
                    </a:cubicBezTo>
                    <a:cubicBezTo>
                      <a:pt x="1072" y="266"/>
                      <a:pt x="1060" y="273"/>
                      <a:pt x="1061" y="277"/>
                    </a:cubicBezTo>
                    <a:cubicBezTo>
                      <a:pt x="1061" y="281"/>
                      <a:pt x="1057" y="283"/>
                      <a:pt x="1052" y="286"/>
                    </a:cubicBezTo>
                    <a:cubicBezTo>
                      <a:pt x="1047" y="290"/>
                      <a:pt x="1041" y="292"/>
                      <a:pt x="1041" y="297"/>
                    </a:cubicBezTo>
                    <a:cubicBezTo>
                      <a:pt x="1041" y="303"/>
                      <a:pt x="1034" y="300"/>
                      <a:pt x="1031" y="297"/>
                    </a:cubicBezTo>
                    <a:cubicBezTo>
                      <a:pt x="1027" y="295"/>
                      <a:pt x="1023" y="299"/>
                      <a:pt x="1018" y="299"/>
                    </a:cubicBezTo>
                    <a:cubicBezTo>
                      <a:pt x="1012" y="298"/>
                      <a:pt x="1012" y="293"/>
                      <a:pt x="1008" y="295"/>
                    </a:cubicBezTo>
                    <a:cubicBezTo>
                      <a:pt x="1004" y="297"/>
                      <a:pt x="1001" y="293"/>
                      <a:pt x="1003" y="289"/>
                    </a:cubicBezTo>
                    <a:cubicBezTo>
                      <a:pt x="1004" y="286"/>
                      <a:pt x="1008" y="288"/>
                      <a:pt x="1009" y="291"/>
                    </a:cubicBezTo>
                    <a:cubicBezTo>
                      <a:pt x="1009" y="294"/>
                      <a:pt x="1012" y="293"/>
                      <a:pt x="1015" y="290"/>
                    </a:cubicBezTo>
                    <a:cubicBezTo>
                      <a:pt x="1019" y="288"/>
                      <a:pt x="1017" y="293"/>
                      <a:pt x="1022" y="294"/>
                    </a:cubicBezTo>
                    <a:cubicBezTo>
                      <a:pt x="1027" y="294"/>
                      <a:pt x="1024" y="291"/>
                      <a:pt x="1028" y="291"/>
                    </a:cubicBezTo>
                    <a:cubicBezTo>
                      <a:pt x="1032" y="291"/>
                      <a:pt x="1032" y="290"/>
                      <a:pt x="1031" y="288"/>
                    </a:cubicBezTo>
                    <a:cubicBezTo>
                      <a:pt x="1030" y="285"/>
                      <a:pt x="1034" y="284"/>
                      <a:pt x="1036" y="283"/>
                    </a:cubicBezTo>
                    <a:cubicBezTo>
                      <a:pt x="1039" y="281"/>
                      <a:pt x="1037" y="277"/>
                      <a:pt x="1040" y="275"/>
                    </a:cubicBezTo>
                    <a:cubicBezTo>
                      <a:pt x="1042" y="274"/>
                      <a:pt x="1040" y="271"/>
                      <a:pt x="1043" y="271"/>
                    </a:cubicBezTo>
                    <a:cubicBezTo>
                      <a:pt x="1045" y="270"/>
                      <a:pt x="1046" y="266"/>
                      <a:pt x="1048" y="266"/>
                    </a:cubicBezTo>
                    <a:cubicBezTo>
                      <a:pt x="1051" y="266"/>
                      <a:pt x="1052" y="262"/>
                      <a:pt x="1050" y="260"/>
                    </a:cubicBezTo>
                    <a:cubicBezTo>
                      <a:pt x="1049" y="257"/>
                      <a:pt x="1051" y="251"/>
                      <a:pt x="1053" y="250"/>
                    </a:cubicBezTo>
                    <a:cubicBezTo>
                      <a:pt x="1056" y="250"/>
                      <a:pt x="1056" y="247"/>
                      <a:pt x="1054" y="245"/>
                    </a:cubicBezTo>
                    <a:cubicBezTo>
                      <a:pt x="1052" y="243"/>
                      <a:pt x="1044" y="237"/>
                      <a:pt x="1045" y="233"/>
                    </a:cubicBezTo>
                    <a:cubicBezTo>
                      <a:pt x="1045" y="229"/>
                      <a:pt x="1043" y="222"/>
                      <a:pt x="1044" y="219"/>
                    </a:cubicBezTo>
                    <a:cubicBezTo>
                      <a:pt x="1045" y="216"/>
                      <a:pt x="1045" y="210"/>
                      <a:pt x="1044" y="206"/>
                    </a:cubicBezTo>
                    <a:cubicBezTo>
                      <a:pt x="1044" y="202"/>
                      <a:pt x="1046" y="198"/>
                      <a:pt x="1047" y="192"/>
                    </a:cubicBezTo>
                    <a:cubicBezTo>
                      <a:pt x="1048" y="185"/>
                      <a:pt x="1041" y="178"/>
                      <a:pt x="1038" y="176"/>
                    </a:cubicBezTo>
                    <a:cubicBezTo>
                      <a:pt x="1034" y="174"/>
                      <a:pt x="1036" y="170"/>
                      <a:pt x="1041" y="165"/>
                    </a:cubicBezTo>
                    <a:cubicBezTo>
                      <a:pt x="1046" y="160"/>
                      <a:pt x="1047" y="145"/>
                      <a:pt x="1046" y="142"/>
                    </a:cubicBezTo>
                    <a:cubicBezTo>
                      <a:pt x="1046" y="139"/>
                      <a:pt x="1036" y="136"/>
                      <a:pt x="1032" y="136"/>
                    </a:cubicBezTo>
                    <a:cubicBezTo>
                      <a:pt x="1028" y="136"/>
                      <a:pt x="1014" y="136"/>
                      <a:pt x="1010" y="135"/>
                    </a:cubicBezTo>
                    <a:cubicBezTo>
                      <a:pt x="1006" y="134"/>
                      <a:pt x="1005" y="139"/>
                      <a:pt x="1004" y="143"/>
                    </a:cubicBezTo>
                    <a:cubicBezTo>
                      <a:pt x="1002" y="147"/>
                      <a:pt x="998" y="153"/>
                      <a:pt x="996" y="162"/>
                    </a:cubicBezTo>
                    <a:cubicBezTo>
                      <a:pt x="994" y="172"/>
                      <a:pt x="985" y="174"/>
                      <a:pt x="980" y="176"/>
                    </a:cubicBezTo>
                    <a:cubicBezTo>
                      <a:pt x="976" y="178"/>
                      <a:pt x="974" y="185"/>
                      <a:pt x="976" y="189"/>
                    </a:cubicBezTo>
                    <a:cubicBezTo>
                      <a:pt x="978" y="192"/>
                      <a:pt x="980" y="189"/>
                      <a:pt x="982" y="190"/>
                    </a:cubicBezTo>
                    <a:cubicBezTo>
                      <a:pt x="984" y="192"/>
                      <a:pt x="982" y="200"/>
                      <a:pt x="981" y="201"/>
                    </a:cubicBezTo>
                    <a:cubicBezTo>
                      <a:pt x="980" y="203"/>
                      <a:pt x="983" y="206"/>
                      <a:pt x="980" y="208"/>
                    </a:cubicBezTo>
                    <a:cubicBezTo>
                      <a:pt x="977" y="210"/>
                      <a:pt x="974" y="215"/>
                      <a:pt x="976" y="217"/>
                    </a:cubicBezTo>
                    <a:cubicBezTo>
                      <a:pt x="978" y="220"/>
                      <a:pt x="986" y="221"/>
                      <a:pt x="990" y="224"/>
                    </a:cubicBezTo>
                    <a:cubicBezTo>
                      <a:pt x="993" y="226"/>
                      <a:pt x="992" y="230"/>
                      <a:pt x="995" y="235"/>
                    </a:cubicBezTo>
                    <a:cubicBezTo>
                      <a:pt x="998" y="239"/>
                      <a:pt x="1000" y="236"/>
                      <a:pt x="1002" y="239"/>
                    </a:cubicBezTo>
                    <a:cubicBezTo>
                      <a:pt x="1003" y="242"/>
                      <a:pt x="997" y="252"/>
                      <a:pt x="995" y="253"/>
                    </a:cubicBezTo>
                    <a:cubicBezTo>
                      <a:pt x="992" y="253"/>
                      <a:pt x="983" y="242"/>
                      <a:pt x="981" y="240"/>
                    </a:cubicBezTo>
                    <a:cubicBezTo>
                      <a:pt x="978" y="237"/>
                      <a:pt x="967" y="233"/>
                      <a:pt x="962" y="230"/>
                    </a:cubicBezTo>
                    <a:cubicBezTo>
                      <a:pt x="957" y="227"/>
                      <a:pt x="952" y="227"/>
                      <a:pt x="947" y="222"/>
                    </a:cubicBezTo>
                    <a:cubicBezTo>
                      <a:pt x="941" y="218"/>
                      <a:pt x="936" y="215"/>
                      <a:pt x="925" y="216"/>
                    </a:cubicBezTo>
                    <a:cubicBezTo>
                      <a:pt x="915" y="216"/>
                      <a:pt x="908" y="213"/>
                      <a:pt x="904" y="213"/>
                    </a:cubicBezTo>
                    <a:cubicBezTo>
                      <a:pt x="901" y="214"/>
                      <a:pt x="902" y="209"/>
                      <a:pt x="896" y="206"/>
                    </a:cubicBezTo>
                    <a:cubicBezTo>
                      <a:pt x="889" y="202"/>
                      <a:pt x="885" y="198"/>
                      <a:pt x="882" y="200"/>
                    </a:cubicBezTo>
                    <a:cubicBezTo>
                      <a:pt x="878" y="202"/>
                      <a:pt x="879" y="211"/>
                      <a:pt x="885" y="212"/>
                    </a:cubicBezTo>
                    <a:cubicBezTo>
                      <a:pt x="890" y="213"/>
                      <a:pt x="888" y="216"/>
                      <a:pt x="893" y="216"/>
                    </a:cubicBezTo>
                    <a:cubicBezTo>
                      <a:pt x="899" y="215"/>
                      <a:pt x="901" y="218"/>
                      <a:pt x="901" y="222"/>
                    </a:cubicBezTo>
                    <a:cubicBezTo>
                      <a:pt x="901" y="226"/>
                      <a:pt x="904" y="231"/>
                      <a:pt x="906" y="234"/>
                    </a:cubicBezTo>
                    <a:cubicBezTo>
                      <a:pt x="909" y="236"/>
                      <a:pt x="907" y="241"/>
                      <a:pt x="903" y="241"/>
                    </a:cubicBezTo>
                    <a:cubicBezTo>
                      <a:pt x="898" y="241"/>
                      <a:pt x="893" y="242"/>
                      <a:pt x="895" y="246"/>
                    </a:cubicBezTo>
                    <a:cubicBezTo>
                      <a:pt x="897" y="250"/>
                      <a:pt x="893" y="251"/>
                      <a:pt x="889" y="249"/>
                    </a:cubicBezTo>
                    <a:cubicBezTo>
                      <a:pt x="884" y="247"/>
                      <a:pt x="887" y="243"/>
                      <a:pt x="889" y="241"/>
                    </a:cubicBezTo>
                    <a:cubicBezTo>
                      <a:pt x="891" y="238"/>
                      <a:pt x="885" y="235"/>
                      <a:pt x="882" y="234"/>
                    </a:cubicBezTo>
                    <a:cubicBezTo>
                      <a:pt x="879" y="233"/>
                      <a:pt x="867" y="243"/>
                      <a:pt x="864" y="245"/>
                    </a:cubicBezTo>
                    <a:cubicBezTo>
                      <a:pt x="861" y="246"/>
                      <a:pt x="853" y="242"/>
                      <a:pt x="844" y="245"/>
                    </a:cubicBezTo>
                    <a:cubicBezTo>
                      <a:pt x="836" y="247"/>
                      <a:pt x="837" y="255"/>
                      <a:pt x="834" y="254"/>
                    </a:cubicBezTo>
                    <a:cubicBezTo>
                      <a:pt x="831" y="253"/>
                      <a:pt x="821" y="255"/>
                      <a:pt x="818" y="253"/>
                    </a:cubicBezTo>
                    <a:cubicBezTo>
                      <a:pt x="815" y="250"/>
                      <a:pt x="817" y="249"/>
                      <a:pt x="821" y="249"/>
                    </a:cubicBezTo>
                    <a:cubicBezTo>
                      <a:pt x="825" y="249"/>
                      <a:pt x="826" y="248"/>
                      <a:pt x="824" y="245"/>
                    </a:cubicBezTo>
                    <a:cubicBezTo>
                      <a:pt x="822" y="242"/>
                      <a:pt x="826" y="238"/>
                      <a:pt x="826" y="236"/>
                    </a:cubicBezTo>
                    <a:cubicBezTo>
                      <a:pt x="826" y="234"/>
                      <a:pt x="813" y="239"/>
                      <a:pt x="811" y="241"/>
                    </a:cubicBezTo>
                    <a:cubicBezTo>
                      <a:pt x="808" y="243"/>
                      <a:pt x="811" y="247"/>
                      <a:pt x="808" y="249"/>
                    </a:cubicBezTo>
                    <a:cubicBezTo>
                      <a:pt x="806" y="250"/>
                      <a:pt x="806" y="246"/>
                      <a:pt x="803" y="245"/>
                    </a:cubicBezTo>
                    <a:cubicBezTo>
                      <a:pt x="800" y="244"/>
                      <a:pt x="780" y="250"/>
                      <a:pt x="777" y="255"/>
                    </a:cubicBezTo>
                    <a:cubicBezTo>
                      <a:pt x="773" y="260"/>
                      <a:pt x="766" y="260"/>
                      <a:pt x="766" y="263"/>
                    </a:cubicBezTo>
                    <a:cubicBezTo>
                      <a:pt x="766" y="266"/>
                      <a:pt x="757" y="266"/>
                      <a:pt x="753" y="268"/>
                    </a:cubicBezTo>
                    <a:cubicBezTo>
                      <a:pt x="749" y="270"/>
                      <a:pt x="752" y="278"/>
                      <a:pt x="750" y="282"/>
                    </a:cubicBezTo>
                    <a:cubicBezTo>
                      <a:pt x="749" y="286"/>
                      <a:pt x="735" y="285"/>
                      <a:pt x="731" y="285"/>
                    </a:cubicBezTo>
                    <a:cubicBezTo>
                      <a:pt x="726" y="285"/>
                      <a:pt x="725" y="275"/>
                      <a:pt x="722" y="275"/>
                    </a:cubicBezTo>
                    <a:cubicBezTo>
                      <a:pt x="718" y="274"/>
                      <a:pt x="720" y="268"/>
                      <a:pt x="721" y="266"/>
                    </a:cubicBezTo>
                    <a:cubicBezTo>
                      <a:pt x="722" y="263"/>
                      <a:pt x="725" y="266"/>
                      <a:pt x="729" y="262"/>
                    </a:cubicBezTo>
                    <a:cubicBezTo>
                      <a:pt x="733" y="259"/>
                      <a:pt x="738" y="264"/>
                      <a:pt x="739" y="262"/>
                    </a:cubicBezTo>
                    <a:cubicBezTo>
                      <a:pt x="741" y="259"/>
                      <a:pt x="733" y="253"/>
                      <a:pt x="732" y="248"/>
                    </a:cubicBezTo>
                    <a:cubicBezTo>
                      <a:pt x="732" y="243"/>
                      <a:pt x="723" y="242"/>
                      <a:pt x="718" y="243"/>
                    </a:cubicBezTo>
                    <a:cubicBezTo>
                      <a:pt x="713" y="245"/>
                      <a:pt x="707" y="244"/>
                      <a:pt x="703" y="242"/>
                    </a:cubicBezTo>
                    <a:cubicBezTo>
                      <a:pt x="700" y="240"/>
                      <a:pt x="700" y="245"/>
                      <a:pt x="705" y="247"/>
                    </a:cubicBezTo>
                    <a:cubicBezTo>
                      <a:pt x="711" y="249"/>
                      <a:pt x="708" y="253"/>
                      <a:pt x="709" y="257"/>
                    </a:cubicBezTo>
                    <a:cubicBezTo>
                      <a:pt x="710" y="260"/>
                      <a:pt x="707" y="267"/>
                      <a:pt x="704" y="272"/>
                    </a:cubicBezTo>
                    <a:cubicBezTo>
                      <a:pt x="701" y="277"/>
                      <a:pt x="704" y="277"/>
                      <a:pt x="708" y="277"/>
                    </a:cubicBezTo>
                    <a:cubicBezTo>
                      <a:pt x="713" y="277"/>
                      <a:pt x="712" y="284"/>
                      <a:pt x="712" y="289"/>
                    </a:cubicBezTo>
                    <a:cubicBezTo>
                      <a:pt x="712" y="294"/>
                      <a:pt x="709" y="296"/>
                      <a:pt x="709" y="300"/>
                    </a:cubicBezTo>
                    <a:cubicBezTo>
                      <a:pt x="709" y="304"/>
                      <a:pt x="705" y="298"/>
                      <a:pt x="704" y="300"/>
                    </a:cubicBezTo>
                    <a:cubicBezTo>
                      <a:pt x="703" y="301"/>
                      <a:pt x="701" y="299"/>
                      <a:pt x="700" y="295"/>
                    </a:cubicBezTo>
                    <a:cubicBezTo>
                      <a:pt x="700" y="292"/>
                      <a:pt x="693" y="294"/>
                      <a:pt x="689" y="293"/>
                    </a:cubicBezTo>
                    <a:cubicBezTo>
                      <a:pt x="685" y="292"/>
                      <a:pt x="683" y="294"/>
                      <a:pt x="682" y="297"/>
                    </a:cubicBezTo>
                    <a:cubicBezTo>
                      <a:pt x="680" y="301"/>
                      <a:pt x="674" y="302"/>
                      <a:pt x="671" y="302"/>
                    </a:cubicBezTo>
                    <a:cubicBezTo>
                      <a:pt x="668" y="303"/>
                      <a:pt x="663" y="310"/>
                      <a:pt x="660" y="312"/>
                    </a:cubicBezTo>
                    <a:cubicBezTo>
                      <a:pt x="657" y="314"/>
                      <a:pt x="657" y="319"/>
                      <a:pt x="661" y="324"/>
                    </a:cubicBezTo>
                    <a:cubicBezTo>
                      <a:pt x="665" y="329"/>
                      <a:pt x="666" y="332"/>
                      <a:pt x="666" y="335"/>
                    </a:cubicBezTo>
                    <a:cubicBezTo>
                      <a:pt x="665" y="338"/>
                      <a:pt x="654" y="337"/>
                      <a:pt x="652" y="334"/>
                    </a:cubicBezTo>
                    <a:cubicBezTo>
                      <a:pt x="650" y="331"/>
                      <a:pt x="642" y="330"/>
                      <a:pt x="640" y="331"/>
                    </a:cubicBezTo>
                    <a:cubicBezTo>
                      <a:pt x="637" y="331"/>
                      <a:pt x="630" y="321"/>
                      <a:pt x="627" y="321"/>
                    </a:cubicBezTo>
                    <a:cubicBezTo>
                      <a:pt x="623" y="321"/>
                      <a:pt x="621" y="326"/>
                      <a:pt x="620" y="329"/>
                    </a:cubicBezTo>
                    <a:cubicBezTo>
                      <a:pt x="618" y="332"/>
                      <a:pt x="621" y="332"/>
                      <a:pt x="623" y="337"/>
                    </a:cubicBezTo>
                    <a:cubicBezTo>
                      <a:pt x="625" y="341"/>
                      <a:pt x="631" y="342"/>
                      <a:pt x="634" y="342"/>
                    </a:cubicBezTo>
                    <a:cubicBezTo>
                      <a:pt x="638" y="342"/>
                      <a:pt x="636" y="348"/>
                      <a:pt x="635" y="350"/>
                    </a:cubicBezTo>
                    <a:cubicBezTo>
                      <a:pt x="634" y="353"/>
                      <a:pt x="628" y="354"/>
                      <a:pt x="627" y="352"/>
                    </a:cubicBezTo>
                    <a:cubicBezTo>
                      <a:pt x="625" y="349"/>
                      <a:pt x="618" y="352"/>
                      <a:pt x="618" y="348"/>
                    </a:cubicBezTo>
                    <a:cubicBezTo>
                      <a:pt x="617" y="345"/>
                      <a:pt x="612" y="340"/>
                      <a:pt x="607" y="341"/>
                    </a:cubicBezTo>
                    <a:cubicBezTo>
                      <a:pt x="602" y="342"/>
                      <a:pt x="601" y="338"/>
                      <a:pt x="601" y="333"/>
                    </a:cubicBezTo>
                    <a:cubicBezTo>
                      <a:pt x="601" y="328"/>
                      <a:pt x="598" y="326"/>
                      <a:pt x="598" y="323"/>
                    </a:cubicBezTo>
                    <a:cubicBezTo>
                      <a:pt x="598" y="321"/>
                      <a:pt x="596" y="317"/>
                      <a:pt x="599" y="314"/>
                    </a:cubicBezTo>
                    <a:cubicBezTo>
                      <a:pt x="601" y="312"/>
                      <a:pt x="599" y="309"/>
                      <a:pt x="599" y="305"/>
                    </a:cubicBezTo>
                    <a:cubicBezTo>
                      <a:pt x="600" y="302"/>
                      <a:pt x="595" y="298"/>
                      <a:pt x="591" y="298"/>
                    </a:cubicBezTo>
                    <a:cubicBezTo>
                      <a:pt x="586" y="298"/>
                      <a:pt x="587" y="293"/>
                      <a:pt x="584" y="292"/>
                    </a:cubicBezTo>
                    <a:cubicBezTo>
                      <a:pt x="580" y="291"/>
                      <a:pt x="573" y="283"/>
                      <a:pt x="572" y="280"/>
                    </a:cubicBezTo>
                    <a:cubicBezTo>
                      <a:pt x="572" y="277"/>
                      <a:pt x="566" y="277"/>
                      <a:pt x="568" y="276"/>
                    </a:cubicBezTo>
                    <a:cubicBezTo>
                      <a:pt x="570" y="275"/>
                      <a:pt x="574" y="276"/>
                      <a:pt x="577" y="280"/>
                    </a:cubicBezTo>
                    <a:cubicBezTo>
                      <a:pt x="581" y="284"/>
                      <a:pt x="585" y="287"/>
                      <a:pt x="594" y="288"/>
                    </a:cubicBezTo>
                    <a:cubicBezTo>
                      <a:pt x="602" y="289"/>
                      <a:pt x="605" y="294"/>
                      <a:pt x="614" y="296"/>
                    </a:cubicBezTo>
                    <a:cubicBezTo>
                      <a:pt x="623" y="297"/>
                      <a:pt x="628" y="299"/>
                      <a:pt x="641" y="301"/>
                    </a:cubicBezTo>
                    <a:cubicBezTo>
                      <a:pt x="653" y="303"/>
                      <a:pt x="671" y="288"/>
                      <a:pt x="674" y="283"/>
                    </a:cubicBezTo>
                    <a:cubicBezTo>
                      <a:pt x="678" y="279"/>
                      <a:pt x="673" y="270"/>
                      <a:pt x="673" y="267"/>
                    </a:cubicBezTo>
                    <a:cubicBezTo>
                      <a:pt x="673" y="264"/>
                      <a:pt x="667" y="263"/>
                      <a:pt x="666" y="261"/>
                    </a:cubicBezTo>
                    <a:cubicBezTo>
                      <a:pt x="666" y="258"/>
                      <a:pt x="662" y="254"/>
                      <a:pt x="657" y="254"/>
                    </a:cubicBezTo>
                    <a:cubicBezTo>
                      <a:pt x="652" y="254"/>
                      <a:pt x="651" y="247"/>
                      <a:pt x="647" y="247"/>
                    </a:cubicBezTo>
                    <a:cubicBezTo>
                      <a:pt x="643" y="248"/>
                      <a:pt x="641" y="245"/>
                      <a:pt x="630" y="237"/>
                    </a:cubicBezTo>
                    <a:cubicBezTo>
                      <a:pt x="620" y="229"/>
                      <a:pt x="606" y="223"/>
                      <a:pt x="603" y="225"/>
                    </a:cubicBezTo>
                    <a:cubicBezTo>
                      <a:pt x="601" y="226"/>
                      <a:pt x="599" y="227"/>
                      <a:pt x="597" y="224"/>
                    </a:cubicBezTo>
                    <a:cubicBezTo>
                      <a:pt x="596" y="221"/>
                      <a:pt x="592" y="221"/>
                      <a:pt x="589" y="224"/>
                    </a:cubicBezTo>
                    <a:cubicBezTo>
                      <a:pt x="586" y="226"/>
                      <a:pt x="584" y="221"/>
                      <a:pt x="578" y="223"/>
                    </a:cubicBezTo>
                    <a:cubicBezTo>
                      <a:pt x="573" y="224"/>
                      <a:pt x="571" y="220"/>
                      <a:pt x="572" y="218"/>
                    </a:cubicBezTo>
                    <a:cubicBezTo>
                      <a:pt x="573" y="216"/>
                      <a:pt x="581" y="218"/>
                      <a:pt x="581" y="215"/>
                    </a:cubicBezTo>
                    <a:cubicBezTo>
                      <a:pt x="580" y="212"/>
                      <a:pt x="577" y="215"/>
                      <a:pt x="573" y="211"/>
                    </a:cubicBezTo>
                    <a:cubicBezTo>
                      <a:pt x="568" y="208"/>
                      <a:pt x="566" y="210"/>
                      <a:pt x="565" y="213"/>
                    </a:cubicBezTo>
                    <a:cubicBezTo>
                      <a:pt x="564" y="216"/>
                      <a:pt x="560" y="215"/>
                      <a:pt x="558" y="213"/>
                    </a:cubicBezTo>
                    <a:cubicBezTo>
                      <a:pt x="557" y="212"/>
                      <a:pt x="557" y="212"/>
                      <a:pt x="557" y="212"/>
                    </a:cubicBezTo>
                    <a:cubicBezTo>
                      <a:pt x="554" y="210"/>
                      <a:pt x="549" y="210"/>
                      <a:pt x="548" y="212"/>
                    </a:cubicBezTo>
                    <a:cubicBezTo>
                      <a:pt x="548" y="216"/>
                      <a:pt x="543" y="215"/>
                      <a:pt x="543" y="212"/>
                    </a:cubicBezTo>
                    <a:cubicBezTo>
                      <a:pt x="543" y="209"/>
                      <a:pt x="536" y="206"/>
                      <a:pt x="536" y="205"/>
                    </a:cubicBezTo>
                    <a:cubicBezTo>
                      <a:pt x="535" y="203"/>
                      <a:pt x="539" y="204"/>
                      <a:pt x="541" y="206"/>
                    </a:cubicBezTo>
                    <a:cubicBezTo>
                      <a:pt x="544" y="207"/>
                      <a:pt x="546" y="206"/>
                      <a:pt x="549" y="203"/>
                    </a:cubicBezTo>
                    <a:cubicBezTo>
                      <a:pt x="552" y="199"/>
                      <a:pt x="556" y="202"/>
                      <a:pt x="557" y="199"/>
                    </a:cubicBezTo>
                    <a:cubicBezTo>
                      <a:pt x="557" y="196"/>
                      <a:pt x="552" y="194"/>
                      <a:pt x="551" y="192"/>
                    </a:cubicBezTo>
                    <a:cubicBezTo>
                      <a:pt x="550" y="190"/>
                      <a:pt x="546" y="188"/>
                      <a:pt x="542" y="189"/>
                    </a:cubicBezTo>
                    <a:cubicBezTo>
                      <a:pt x="538" y="189"/>
                      <a:pt x="538" y="187"/>
                      <a:pt x="536" y="185"/>
                    </a:cubicBezTo>
                    <a:cubicBezTo>
                      <a:pt x="534" y="183"/>
                      <a:pt x="527" y="187"/>
                      <a:pt x="527" y="192"/>
                    </a:cubicBezTo>
                    <a:cubicBezTo>
                      <a:pt x="527" y="198"/>
                      <a:pt x="523" y="197"/>
                      <a:pt x="524" y="194"/>
                    </a:cubicBezTo>
                    <a:cubicBezTo>
                      <a:pt x="526" y="191"/>
                      <a:pt x="522" y="187"/>
                      <a:pt x="526" y="186"/>
                    </a:cubicBezTo>
                    <a:cubicBezTo>
                      <a:pt x="529" y="185"/>
                      <a:pt x="527" y="179"/>
                      <a:pt x="521" y="178"/>
                    </a:cubicBezTo>
                    <a:cubicBezTo>
                      <a:pt x="515" y="177"/>
                      <a:pt x="512" y="184"/>
                      <a:pt x="514" y="186"/>
                    </a:cubicBezTo>
                    <a:cubicBezTo>
                      <a:pt x="515" y="188"/>
                      <a:pt x="509" y="197"/>
                      <a:pt x="507" y="197"/>
                    </a:cubicBezTo>
                    <a:cubicBezTo>
                      <a:pt x="504" y="197"/>
                      <a:pt x="507" y="189"/>
                      <a:pt x="507" y="185"/>
                    </a:cubicBezTo>
                    <a:cubicBezTo>
                      <a:pt x="507" y="181"/>
                      <a:pt x="504" y="183"/>
                      <a:pt x="500" y="190"/>
                    </a:cubicBezTo>
                    <a:cubicBezTo>
                      <a:pt x="495" y="196"/>
                      <a:pt x="491" y="202"/>
                      <a:pt x="489" y="203"/>
                    </a:cubicBezTo>
                    <a:cubicBezTo>
                      <a:pt x="486" y="203"/>
                      <a:pt x="486" y="197"/>
                      <a:pt x="491" y="194"/>
                    </a:cubicBezTo>
                    <a:cubicBezTo>
                      <a:pt x="495" y="191"/>
                      <a:pt x="495" y="183"/>
                      <a:pt x="498" y="183"/>
                    </a:cubicBezTo>
                    <a:cubicBezTo>
                      <a:pt x="501" y="183"/>
                      <a:pt x="501" y="179"/>
                      <a:pt x="497" y="178"/>
                    </a:cubicBezTo>
                    <a:cubicBezTo>
                      <a:pt x="492" y="177"/>
                      <a:pt x="492" y="183"/>
                      <a:pt x="490" y="184"/>
                    </a:cubicBezTo>
                    <a:cubicBezTo>
                      <a:pt x="489" y="186"/>
                      <a:pt x="482" y="181"/>
                      <a:pt x="482" y="183"/>
                    </a:cubicBezTo>
                    <a:cubicBezTo>
                      <a:pt x="482" y="185"/>
                      <a:pt x="478" y="185"/>
                      <a:pt x="480" y="188"/>
                    </a:cubicBezTo>
                    <a:cubicBezTo>
                      <a:pt x="482" y="191"/>
                      <a:pt x="479" y="194"/>
                      <a:pt x="478" y="190"/>
                    </a:cubicBezTo>
                    <a:cubicBezTo>
                      <a:pt x="476" y="187"/>
                      <a:pt x="472" y="190"/>
                      <a:pt x="470" y="194"/>
                    </a:cubicBezTo>
                    <a:cubicBezTo>
                      <a:pt x="468" y="198"/>
                      <a:pt x="465" y="198"/>
                      <a:pt x="467" y="199"/>
                    </a:cubicBezTo>
                    <a:cubicBezTo>
                      <a:pt x="469" y="200"/>
                      <a:pt x="469" y="206"/>
                      <a:pt x="466" y="207"/>
                    </a:cubicBezTo>
                    <a:cubicBezTo>
                      <a:pt x="463" y="208"/>
                      <a:pt x="464" y="197"/>
                      <a:pt x="461" y="198"/>
                    </a:cubicBezTo>
                    <a:cubicBezTo>
                      <a:pt x="459" y="199"/>
                      <a:pt x="461" y="193"/>
                      <a:pt x="464" y="193"/>
                    </a:cubicBezTo>
                    <a:cubicBezTo>
                      <a:pt x="467" y="193"/>
                      <a:pt x="470" y="187"/>
                      <a:pt x="470" y="185"/>
                    </a:cubicBezTo>
                    <a:cubicBezTo>
                      <a:pt x="469" y="183"/>
                      <a:pt x="466" y="184"/>
                      <a:pt x="466" y="187"/>
                    </a:cubicBezTo>
                    <a:cubicBezTo>
                      <a:pt x="466" y="190"/>
                      <a:pt x="461" y="189"/>
                      <a:pt x="456" y="189"/>
                    </a:cubicBezTo>
                    <a:cubicBezTo>
                      <a:pt x="452" y="189"/>
                      <a:pt x="452" y="195"/>
                      <a:pt x="457" y="198"/>
                    </a:cubicBezTo>
                    <a:cubicBezTo>
                      <a:pt x="462" y="201"/>
                      <a:pt x="456" y="203"/>
                      <a:pt x="454" y="201"/>
                    </a:cubicBezTo>
                    <a:cubicBezTo>
                      <a:pt x="451" y="199"/>
                      <a:pt x="448" y="200"/>
                      <a:pt x="445" y="201"/>
                    </a:cubicBezTo>
                    <a:cubicBezTo>
                      <a:pt x="443" y="203"/>
                      <a:pt x="451" y="206"/>
                      <a:pt x="452" y="208"/>
                    </a:cubicBezTo>
                    <a:cubicBezTo>
                      <a:pt x="452" y="210"/>
                      <a:pt x="447" y="206"/>
                      <a:pt x="446" y="207"/>
                    </a:cubicBezTo>
                    <a:cubicBezTo>
                      <a:pt x="445" y="209"/>
                      <a:pt x="440" y="206"/>
                      <a:pt x="440" y="203"/>
                    </a:cubicBezTo>
                    <a:cubicBezTo>
                      <a:pt x="440" y="199"/>
                      <a:pt x="432" y="204"/>
                      <a:pt x="436" y="206"/>
                    </a:cubicBezTo>
                    <a:cubicBezTo>
                      <a:pt x="441" y="207"/>
                      <a:pt x="439" y="210"/>
                      <a:pt x="439" y="215"/>
                    </a:cubicBezTo>
                    <a:cubicBezTo>
                      <a:pt x="439" y="219"/>
                      <a:pt x="434" y="216"/>
                      <a:pt x="435" y="212"/>
                    </a:cubicBezTo>
                    <a:cubicBezTo>
                      <a:pt x="436" y="208"/>
                      <a:pt x="432" y="209"/>
                      <a:pt x="429" y="211"/>
                    </a:cubicBezTo>
                    <a:cubicBezTo>
                      <a:pt x="425" y="213"/>
                      <a:pt x="429" y="207"/>
                      <a:pt x="428" y="203"/>
                    </a:cubicBezTo>
                    <a:cubicBezTo>
                      <a:pt x="426" y="200"/>
                      <a:pt x="423" y="203"/>
                      <a:pt x="420" y="204"/>
                    </a:cubicBezTo>
                    <a:cubicBezTo>
                      <a:pt x="416" y="205"/>
                      <a:pt x="414" y="205"/>
                      <a:pt x="416" y="208"/>
                    </a:cubicBezTo>
                    <a:cubicBezTo>
                      <a:pt x="419" y="211"/>
                      <a:pt x="418" y="215"/>
                      <a:pt x="415" y="214"/>
                    </a:cubicBezTo>
                    <a:cubicBezTo>
                      <a:pt x="413" y="213"/>
                      <a:pt x="411" y="214"/>
                      <a:pt x="412" y="217"/>
                    </a:cubicBezTo>
                    <a:cubicBezTo>
                      <a:pt x="412" y="221"/>
                      <a:pt x="408" y="221"/>
                      <a:pt x="408" y="218"/>
                    </a:cubicBezTo>
                    <a:cubicBezTo>
                      <a:pt x="407" y="215"/>
                      <a:pt x="401" y="216"/>
                      <a:pt x="400" y="219"/>
                    </a:cubicBezTo>
                    <a:cubicBezTo>
                      <a:pt x="398" y="223"/>
                      <a:pt x="393" y="225"/>
                      <a:pt x="394" y="229"/>
                    </a:cubicBezTo>
                    <a:cubicBezTo>
                      <a:pt x="394" y="232"/>
                      <a:pt x="398" y="227"/>
                      <a:pt x="401" y="228"/>
                    </a:cubicBezTo>
                    <a:cubicBezTo>
                      <a:pt x="404" y="229"/>
                      <a:pt x="401" y="231"/>
                      <a:pt x="403" y="233"/>
                    </a:cubicBezTo>
                    <a:cubicBezTo>
                      <a:pt x="404" y="235"/>
                      <a:pt x="404" y="239"/>
                      <a:pt x="402" y="237"/>
                    </a:cubicBezTo>
                    <a:cubicBezTo>
                      <a:pt x="399" y="234"/>
                      <a:pt x="396" y="233"/>
                      <a:pt x="396" y="237"/>
                    </a:cubicBezTo>
                    <a:cubicBezTo>
                      <a:pt x="395" y="242"/>
                      <a:pt x="393" y="237"/>
                      <a:pt x="390" y="234"/>
                    </a:cubicBezTo>
                    <a:cubicBezTo>
                      <a:pt x="388" y="231"/>
                      <a:pt x="386" y="240"/>
                      <a:pt x="384" y="237"/>
                    </a:cubicBezTo>
                    <a:cubicBezTo>
                      <a:pt x="382" y="235"/>
                      <a:pt x="389" y="229"/>
                      <a:pt x="387" y="226"/>
                    </a:cubicBezTo>
                    <a:cubicBezTo>
                      <a:pt x="385" y="223"/>
                      <a:pt x="384" y="228"/>
                      <a:pt x="380" y="233"/>
                    </a:cubicBezTo>
                    <a:cubicBezTo>
                      <a:pt x="376" y="237"/>
                      <a:pt x="371" y="237"/>
                      <a:pt x="373" y="239"/>
                    </a:cubicBezTo>
                    <a:cubicBezTo>
                      <a:pt x="375" y="242"/>
                      <a:pt x="369" y="243"/>
                      <a:pt x="368" y="247"/>
                    </a:cubicBezTo>
                    <a:cubicBezTo>
                      <a:pt x="367" y="251"/>
                      <a:pt x="359" y="252"/>
                      <a:pt x="354" y="256"/>
                    </a:cubicBezTo>
                    <a:cubicBezTo>
                      <a:pt x="348" y="260"/>
                      <a:pt x="355" y="260"/>
                      <a:pt x="357" y="257"/>
                    </a:cubicBezTo>
                    <a:cubicBezTo>
                      <a:pt x="360" y="253"/>
                      <a:pt x="361" y="255"/>
                      <a:pt x="366" y="251"/>
                    </a:cubicBezTo>
                    <a:cubicBezTo>
                      <a:pt x="371" y="248"/>
                      <a:pt x="376" y="245"/>
                      <a:pt x="377" y="246"/>
                    </a:cubicBezTo>
                    <a:cubicBezTo>
                      <a:pt x="379" y="248"/>
                      <a:pt x="382" y="249"/>
                      <a:pt x="384" y="245"/>
                    </a:cubicBezTo>
                    <a:cubicBezTo>
                      <a:pt x="386" y="242"/>
                      <a:pt x="389" y="242"/>
                      <a:pt x="391" y="245"/>
                    </a:cubicBezTo>
                    <a:cubicBezTo>
                      <a:pt x="394" y="247"/>
                      <a:pt x="388" y="249"/>
                      <a:pt x="390" y="252"/>
                    </a:cubicBezTo>
                    <a:cubicBezTo>
                      <a:pt x="393" y="255"/>
                      <a:pt x="387" y="257"/>
                      <a:pt x="387" y="254"/>
                    </a:cubicBezTo>
                    <a:cubicBezTo>
                      <a:pt x="387" y="251"/>
                      <a:pt x="384" y="249"/>
                      <a:pt x="382" y="252"/>
                    </a:cubicBezTo>
                    <a:cubicBezTo>
                      <a:pt x="381" y="254"/>
                      <a:pt x="379" y="257"/>
                      <a:pt x="377" y="257"/>
                    </a:cubicBezTo>
                    <a:cubicBezTo>
                      <a:pt x="375" y="258"/>
                      <a:pt x="372" y="262"/>
                      <a:pt x="372" y="267"/>
                    </a:cubicBezTo>
                    <a:cubicBezTo>
                      <a:pt x="372" y="272"/>
                      <a:pt x="368" y="267"/>
                      <a:pt x="368" y="272"/>
                    </a:cubicBezTo>
                    <a:cubicBezTo>
                      <a:pt x="368" y="276"/>
                      <a:pt x="362" y="284"/>
                      <a:pt x="357" y="289"/>
                    </a:cubicBezTo>
                    <a:cubicBezTo>
                      <a:pt x="353" y="295"/>
                      <a:pt x="357" y="296"/>
                      <a:pt x="356" y="299"/>
                    </a:cubicBezTo>
                    <a:cubicBezTo>
                      <a:pt x="354" y="303"/>
                      <a:pt x="348" y="300"/>
                      <a:pt x="347" y="301"/>
                    </a:cubicBezTo>
                    <a:cubicBezTo>
                      <a:pt x="345" y="303"/>
                      <a:pt x="348" y="311"/>
                      <a:pt x="345" y="314"/>
                    </a:cubicBezTo>
                    <a:cubicBezTo>
                      <a:pt x="342" y="317"/>
                      <a:pt x="345" y="320"/>
                      <a:pt x="345" y="323"/>
                    </a:cubicBezTo>
                    <a:cubicBezTo>
                      <a:pt x="345" y="326"/>
                      <a:pt x="338" y="321"/>
                      <a:pt x="338" y="324"/>
                    </a:cubicBezTo>
                    <a:cubicBezTo>
                      <a:pt x="337" y="328"/>
                      <a:pt x="332" y="327"/>
                      <a:pt x="330" y="328"/>
                    </a:cubicBezTo>
                    <a:cubicBezTo>
                      <a:pt x="328" y="328"/>
                      <a:pt x="333" y="333"/>
                      <a:pt x="336" y="336"/>
                    </a:cubicBezTo>
                    <a:cubicBezTo>
                      <a:pt x="339" y="339"/>
                      <a:pt x="333" y="341"/>
                      <a:pt x="333" y="338"/>
                    </a:cubicBezTo>
                    <a:cubicBezTo>
                      <a:pt x="332" y="335"/>
                      <a:pt x="328" y="340"/>
                      <a:pt x="322" y="343"/>
                    </a:cubicBezTo>
                    <a:cubicBezTo>
                      <a:pt x="317" y="346"/>
                      <a:pt x="319" y="352"/>
                      <a:pt x="315" y="352"/>
                    </a:cubicBezTo>
                    <a:cubicBezTo>
                      <a:pt x="311" y="352"/>
                      <a:pt x="312" y="360"/>
                      <a:pt x="310" y="362"/>
                    </a:cubicBezTo>
                    <a:cubicBezTo>
                      <a:pt x="307" y="365"/>
                      <a:pt x="308" y="356"/>
                      <a:pt x="303" y="356"/>
                    </a:cubicBezTo>
                    <a:cubicBezTo>
                      <a:pt x="299" y="356"/>
                      <a:pt x="299" y="360"/>
                      <a:pt x="302" y="364"/>
                    </a:cubicBezTo>
                    <a:cubicBezTo>
                      <a:pt x="304" y="368"/>
                      <a:pt x="298" y="365"/>
                      <a:pt x="296" y="369"/>
                    </a:cubicBezTo>
                    <a:cubicBezTo>
                      <a:pt x="293" y="372"/>
                      <a:pt x="286" y="371"/>
                      <a:pt x="285" y="374"/>
                    </a:cubicBezTo>
                    <a:cubicBezTo>
                      <a:pt x="283" y="377"/>
                      <a:pt x="290" y="377"/>
                      <a:pt x="291" y="379"/>
                    </a:cubicBezTo>
                    <a:cubicBezTo>
                      <a:pt x="292" y="382"/>
                      <a:pt x="285" y="380"/>
                      <a:pt x="281" y="379"/>
                    </a:cubicBezTo>
                    <a:cubicBezTo>
                      <a:pt x="277" y="378"/>
                      <a:pt x="278" y="385"/>
                      <a:pt x="275" y="384"/>
                    </a:cubicBezTo>
                    <a:cubicBezTo>
                      <a:pt x="271" y="383"/>
                      <a:pt x="267" y="388"/>
                      <a:pt x="269" y="391"/>
                    </a:cubicBezTo>
                    <a:cubicBezTo>
                      <a:pt x="272" y="394"/>
                      <a:pt x="267" y="394"/>
                      <a:pt x="265" y="392"/>
                    </a:cubicBezTo>
                    <a:cubicBezTo>
                      <a:pt x="263" y="390"/>
                      <a:pt x="261" y="395"/>
                      <a:pt x="260" y="398"/>
                    </a:cubicBezTo>
                    <a:cubicBezTo>
                      <a:pt x="259" y="402"/>
                      <a:pt x="264" y="404"/>
                      <a:pt x="264" y="405"/>
                    </a:cubicBezTo>
                    <a:cubicBezTo>
                      <a:pt x="264" y="407"/>
                      <a:pt x="260" y="409"/>
                      <a:pt x="263" y="410"/>
                    </a:cubicBezTo>
                    <a:cubicBezTo>
                      <a:pt x="266" y="411"/>
                      <a:pt x="264" y="414"/>
                      <a:pt x="262" y="415"/>
                    </a:cubicBezTo>
                    <a:cubicBezTo>
                      <a:pt x="260" y="416"/>
                      <a:pt x="260" y="419"/>
                      <a:pt x="262" y="422"/>
                    </a:cubicBezTo>
                    <a:cubicBezTo>
                      <a:pt x="264" y="425"/>
                      <a:pt x="258" y="426"/>
                      <a:pt x="261" y="430"/>
                    </a:cubicBezTo>
                    <a:cubicBezTo>
                      <a:pt x="263" y="435"/>
                      <a:pt x="266" y="429"/>
                      <a:pt x="267" y="433"/>
                    </a:cubicBezTo>
                    <a:cubicBezTo>
                      <a:pt x="268" y="436"/>
                      <a:pt x="271" y="433"/>
                      <a:pt x="275" y="429"/>
                    </a:cubicBezTo>
                    <a:cubicBezTo>
                      <a:pt x="279" y="425"/>
                      <a:pt x="280" y="433"/>
                      <a:pt x="277" y="433"/>
                    </a:cubicBezTo>
                    <a:cubicBezTo>
                      <a:pt x="274" y="433"/>
                      <a:pt x="270" y="435"/>
                      <a:pt x="271" y="439"/>
                    </a:cubicBezTo>
                    <a:cubicBezTo>
                      <a:pt x="272" y="443"/>
                      <a:pt x="266" y="442"/>
                      <a:pt x="266" y="438"/>
                    </a:cubicBezTo>
                    <a:cubicBezTo>
                      <a:pt x="267" y="433"/>
                      <a:pt x="260" y="438"/>
                      <a:pt x="262" y="442"/>
                    </a:cubicBezTo>
                    <a:cubicBezTo>
                      <a:pt x="265" y="445"/>
                      <a:pt x="262" y="447"/>
                      <a:pt x="262" y="450"/>
                    </a:cubicBezTo>
                    <a:cubicBezTo>
                      <a:pt x="262" y="453"/>
                      <a:pt x="266" y="452"/>
                      <a:pt x="268" y="449"/>
                    </a:cubicBezTo>
                    <a:cubicBezTo>
                      <a:pt x="270" y="445"/>
                      <a:pt x="273" y="446"/>
                      <a:pt x="274" y="450"/>
                    </a:cubicBezTo>
                    <a:cubicBezTo>
                      <a:pt x="275" y="453"/>
                      <a:pt x="271" y="450"/>
                      <a:pt x="271" y="455"/>
                    </a:cubicBezTo>
                    <a:cubicBezTo>
                      <a:pt x="271" y="460"/>
                      <a:pt x="269" y="456"/>
                      <a:pt x="267" y="459"/>
                    </a:cubicBezTo>
                    <a:cubicBezTo>
                      <a:pt x="264" y="463"/>
                      <a:pt x="275" y="470"/>
                      <a:pt x="279" y="471"/>
                    </a:cubicBezTo>
                    <a:cubicBezTo>
                      <a:pt x="282" y="472"/>
                      <a:pt x="285" y="476"/>
                      <a:pt x="292" y="475"/>
                    </a:cubicBezTo>
                    <a:cubicBezTo>
                      <a:pt x="299" y="474"/>
                      <a:pt x="312" y="459"/>
                      <a:pt x="314" y="456"/>
                    </a:cubicBezTo>
                    <a:cubicBezTo>
                      <a:pt x="315" y="454"/>
                      <a:pt x="319" y="457"/>
                      <a:pt x="322" y="454"/>
                    </a:cubicBezTo>
                    <a:cubicBezTo>
                      <a:pt x="324" y="452"/>
                      <a:pt x="323" y="445"/>
                      <a:pt x="325" y="444"/>
                    </a:cubicBezTo>
                    <a:cubicBezTo>
                      <a:pt x="327" y="443"/>
                      <a:pt x="328" y="451"/>
                      <a:pt x="329" y="452"/>
                    </a:cubicBezTo>
                    <a:cubicBezTo>
                      <a:pt x="331" y="452"/>
                      <a:pt x="332" y="454"/>
                      <a:pt x="332" y="458"/>
                    </a:cubicBezTo>
                    <a:cubicBezTo>
                      <a:pt x="332" y="458"/>
                      <a:pt x="332" y="459"/>
                      <a:pt x="332" y="459"/>
                    </a:cubicBezTo>
                    <a:cubicBezTo>
                      <a:pt x="332" y="464"/>
                      <a:pt x="333" y="470"/>
                      <a:pt x="337" y="473"/>
                    </a:cubicBezTo>
                    <a:cubicBezTo>
                      <a:pt x="341" y="477"/>
                      <a:pt x="338" y="482"/>
                      <a:pt x="341" y="488"/>
                    </a:cubicBezTo>
                    <a:cubicBezTo>
                      <a:pt x="344" y="493"/>
                      <a:pt x="343" y="496"/>
                      <a:pt x="347" y="500"/>
                    </a:cubicBezTo>
                    <a:cubicBezTo>
                      <a:pt x="351" y="504"/>
                      <a:pt x="351" y="506"/>
                      <a:pt x="349" y="510"/>
                    </a:cubicBezTo>
                    <a:cubicBezTo>
                      <a:pt x="348" y="515"/>
                      <a:pt x="353" y="514"/>
                      <a:pt x="353" y="517"/>
                    </a:cubicBezTo>
                    <a:cubicBezTo>
                      <a:pt x="353" y="520"/>
                      <a:pt x="352" y="526"/>
                      <a:pt x="353" y="528"/>
                    </a:cubicBezTo>
                    <a:cubicBezTo>
                      <a:pt x="354" y="531"/>
                      <a:pt x="356" y="528"/>
                      <a:pt x="362" y="528"/>
                    </a:cubicBezTo>
                    <a:cubicBezTo>
                      <a:pt x="367" y="528"/>
                      <a:pt x="366" y="524"/>
                      <a:pt x="366" y="520"/>
                    </a:cubicBezTo>
                    <a:cubicBezTo>
                      <a:pt x="366" y="516"/>
                      <a:pt x="369" y="518"/>
                      <a:pt x="370" y="516"/>
                    </a:cubicBezTo>
                    <a:cubicBezTo>
                      <a:pt x="370" y="513"/>
                      <a:pt x="375" y="513"/>
                      <a:pt x="379" y="515"/>
                    </a:cubicBezTo>
                    <a:cubicBezTo>
                      <a:pt x="383" y="517"/>
                      <a:pt x="385" y="513"/>
                      <a:pt x="386" y="508"/>
                    </a:cubicBezTo>
                    <a:cubicBezTo>
                      <a:pt x="387" y="503"/>
                      <a:pt x="389" y="509"/>
                      <a:pt x="390" y="510"/>
                    </a:cubicBezTo>
                    <a:cubicBezTo>
                      <a:pt x="391" y="511"/>
                      <a:pt x="395" y="503"/>
                      <a:pt x="397" y="497"/>
                    </a:cubicBezTo>
                    <a:cubicBezTo>
                      <a:pt x="398" y="492"/>
                      <a:pt x="396" y="493"/>
                      <a:pt x="393" y="498"/>
                    </a:cubicBezTo>
                    <a:cubicBezTo>
                      <a:pt x="389" y="503"/>
                      <a:pt x="391" y="493"/>
                      <a:pt x="392" y="488"/>
                    </a:cubicBezTo>
                    <a:cubicBezTo>
                      <a:pt x="394" y="484"/>
                      <a:pt x="394" y="472"/>
                      <a:pt x="394" y="469"/>
                    </a:cubicBezTo>
                    <a:cubicBezTo>
                      <a:pt x="395" y="466"/>
                      <a:pt x="396" y="462"/>
                      <a:pt x="401" y="460"/>
                    </a:cubicBezTo>
                    <a:cubicBezTo>
                      <a:pt x="406" y="459"/>
                      <a:pt x="412" y="452"/>
                      <a:pt x="411" y="449"/>
                    </a:cubicBezTo>
                    <a:cubicBezTo>
                      <a:pt x="410" y="446"/>
                      <a:pt x="418" y="440"/>
                      <a:pt x="418" y="437"/>
                    </a:cubicBezTo>
                    <a:cubicBezTo>
                      <a:pt x="418" y="434"/>
                      <a:pt x="410" y="425"/>
                      <a:pt x="407" y="423"/>
                    </a:cubicBezTo>
                    <a:cubicBezTo>
                      <a:pt x="404" y="421"/>
                      <a:pt x="398" y="422"/>
                      <a:pt x="399" y="420"/>
                    </a:cubicBezTo>
                    <a:cubicBezTo>
                      <a:pt x="399" y="418"/>
                      <a:pt x="398" y="409"/>
                      <a:pt x="397" y="405"/>
                    </a:cubicBezTo>
                    <a:cubicBezTo>
                      <a:pt x="397" y="400"/>
                      <a:pt x="402" y="395"/>
                      <a:pt x="402" y="391"/>
                    </a:cubicBezTo>
                    <a:cubicBezTo>
                      <a:pt x="402" y="387"/>
                      <a:pt x="402" y="382"/>
                      <a:pt x="405" y="380"/>
                    </a:cubicBezTo>
                    <a:cubicBezTo>
                      <a:pt x="408" y="379"/>
                      <a:pt x="406" y="375"/>
                      <a:pt x="410" y="374"/>
                    </a:cubicBezTo>
                    <a:cubicBezTo>
                      <a:pt x="415" y="373"/>
                      <a:pt x="414" y="365"/>
                      <a:pt x="418" y="363"/>
                    </a:cubicBezTo>
                    <a:cubicBezTo>
                      <a:pt x="423" y="361"/>
                      <a:pt x="423" y="359"/>
                      <a:pt x="429" y="356"/>
                    </a:cubicBezTo>
                    <a:cubicBezTo>
                      <a:pt x="435" y="352"/>
                      <a:pt x="445" y="344"/>
                      <a:pt x="447" y="340"/>
                    </a:cubicBezTo>
                    <a:cubicBezTo>
                      <a:pt x="449" y="335"/>
                      <a:pt x="441" y="331"/>
                      <a:pt x="446" y="326"/>
                    </a:cubicBezTo>
                    <a:cubicBezTo>
                      <a:pt x="451" y="322"/>
                      <a:pt x="447" y="317"/>
                      <a:pt x="450" y="315"/>
                    </a:cubicBezTo>
                    <a:cubicBezTo>
                      <a:pt x="454" y="313"/>
                      <a:pt x="455" y="311"/>
                      <a:pt x="458" y="308"/>
                    </a:cubicBezTo>
                    <a:cubicBezTo>
                      <a:pt x="460" y="305"/>
                      <a:pt x="464" y="308"/>
                      <a:pt x="470" y="306"/>
                    </a:cubicBezTo>
                    <a:cubicBezTo>
                      <a:pt x="472" y="306"/>
                      <a:pt x="474" y="306"/>
                      <a:pt x="476" y="307"/>
                    </a:cubicBezTo>
                    <a:cubicBezTo>
                      <a:pt x="480" y="308"/>
                      <a:pt x="483" y="310"/>
                      <a:pt x="485" y="311"/>
                    </a:cubicBezTo>
                    <a:cubicBezTo>
                      <a:pt x="490" y="314"/>
                      <a:pt x="489" y="318"/>
                      <a:pt x="490" y="322"/>
                    </a:cubicBezTo>
                    <a:cubicBezTo>
                      <a:pt x="490" y="326"/>
                      <a:pt x="490" y="329"/>
                      <a:pt x="488" y="327"/>
                    </a:cubicBezTo>
                    <a:cubicBezTo>
                      <a:pt x="485" y="325"/>
                      <a:pt x="483" y="327"/>
                      <a:pt x="481" y="333"/>
                    </a:cubicBezTo>
                    <a:cubicBezTo>
                      <a:pt x="480" y="339"/>
                      <a:pt x="473" y="347"/>
                      <a:pt x="469" y="347"/>
                    </a:cubicBezTo>
                    <a:cubicBezTo>
                      <a:pt x="465" y="347"/>
                      <a:pt x="466" y="352"/>
                      <a:pt x="463" y="353"/>
                    </a:cubicBezTo>
                    <a:cubicBezTo>
                      <a:pt x="459" y="354"/>
                      <a:pt x="456" y="357"/>
                      <a:pt x="456" y="361"/>
                    </a:cubicBezTo>
                    <a:cubicBezTo>
                      <a:pt x="457" y="365"/>
                      <a:pt x="452" y="366"/>
                      <a:pt x="448" y="366"/>
                    </a:cubicBezTo>
                    <a:cubicBezTo>
                      <a:pt x="445" y="366"/>
                      <a:pt x="446" y="373"/>
                      <a:pt x="443" y="374"/>
                    </a:cubicBezTo>
                    <a:cubicBezTo>
                      <a:pt x="441" y="376"/>
                      <a:pt x="441" y="379"/>
                      <a:pt x="444" y="382"/>
                    </a:cubicBezTo>
                    <a:cubicBezTo>
                      <a:pt x="446" y="386"/>
                      <a:pt x="444" y="389"/>
                      <a:pt x="445" y="392"/>
                    </a:cubicBezTo>
                    <a:cubicBezTo>
                      <a:pt x="446" y="395"/>
                      <a:pt x="449" y="401"/>
                      <a:pt x="447" y="408"/>
                    </a:cubicBezTo>
                    <a:cubicBezTo>
                      <a:pt x="444" y="414"/>
                      <a:pt x="442" y="423"/>
                      <a:pt x="444" y="422"/>
                    </a:cubicBezTo>
                    <a:cubicBezTo>
                      <a:pt x="446" y="421"/>
                      <a:pt x="451" y="428"/>
                      <a:pt x="455" y="427"/>
                    </a:cubicBezTo>
                    <a:cubicBezTo>
                      <a:pt x="458" y="427"/>
                      <a:pt x="458" y="433"/>
                      <a:pt x="462" y="432"/>
                    </a:cubicBezTo>
                    <a:cubicBezTo>
                      <a:pt x="465" y="430"/>
                      <a:pt x="465" y="435"/>
                      <a:pt x="474" y="435"/>
                    </a:cubicBezTo>
                    <a:cubicBezTo>
                      <a:pt x="484" y="434"/>
                      <a:pt x="503" y="425"/>
                      <a:pt x="510" y="425"/>
                    </a:cubicBezTo>
                    <a:cubicBezTo>
                      <a:pt x="514" y="425"/>
                      <a:pt x="518" y="424"/>
                      <a:pt x="520" y="424"/>
                    </a:cubicBezTo>
                    <a:cubicBezTo>
                      <a:pt x="522" y="422"/>
                      <a:pt x="523" y="419"/>
                      <a:pt x="524" y="417"/>
                    </a:cubicBezTo>
                    <a:cubicBezTo>
                      <a:pt x="523" y="419"/>
                      <a:pt x="522" y="422"/>
                      <a:pt x="520" y="424"/>
                    </a:cubicBezTo>
                    <a:cubicBezTo>
                      <a:pt x="523" y="423"/>
                      <a:pt x="524" y="422"/>
                      <a:pt x="525" y="422"/>
                    </a:cubicBezTo>
                    <a:cubicBezTo>
                      <a:pt x="528" y="420"/>
                      <a:pt x="530" y="428"/>
                      <a:pt x="533" y="431"/>
                    </a:cubicBezTo>
                    <a:cubicBezTo>
                      <a:pt x="535" y="433"/>
                      <a:pt x="541" y="431"/>
                      <a:pt x="543" y="433"/>
                    </a:cubicBezTo>
                    <a:cubicBezTo>
                      <a:pt x="545" y="436"/>
                      <a:pt x="541" y="436"/>
                      <a:pt x="537" y="435"/>
                    </a:cubicBezTo>
                    <a:cubicBezTo>
                      <a:pt x="533" y="434"/>
                      <a:pt x="532" y="437"/>
                      <a:pt x="526" y="440"/>
                    </a:cubicBezTo>
                    <a:cubicBezTo>
                      <a:pt x="522" y="441"/>
                      <a:pt x="522" y="443"/>
                      <a:pt x="520" y="445"/>
                    </a:cubicBezTo>
                    <a:cubicBezTo>
                      <a:pt x="520" y="445"/>
                      <a:pt x="519" y="446"/>
                      <a:pt x="518" y="446"/>
                    </a:cubicBezTo>
                    <a:cubicBezTo>
                      <a:pt x="513" y="448"/>
                      <a:pt x="502" y="442"/>
                      <a:pt x="496" y="444"/>
                    </a:cubicBezTo>
                    <a:cubicBezTo>
                      <a:pt x="490" y="445"/>
                      <a:pt x="477" y="445"/>
                      <a:pt x="475" y="449"/>
                    </a:cubicBezTo>
                    <a:cubicBezTo>
                      <a:pt x="472" y="452"/>
                      <a:pt x="464" y="454"/>
                      <a:pt x="468" y="457"/>
                    </a:cubicBezTo>
                    <a:cubicBezTo>
                      <a:pt x="471" y="460"/>
                      <a:pt x="468" y="462"/>
                      <a:pt x="470" y="466"/>
                    </a:cubicBezTo>
                    <a:cubicBezTo>
                      <a:pt x="472" y="470"/>
                      <a:pt x="474" y="471"/>
                      <a:pt x="477" y="470"/>
                    </a:cubicBezTo>
                    <a:cubicBezTo>
                      <a:pt x="480" y="470"/>
                      <a:pt x="483" y="472"/>
                      <a:pt x="479" y="476"/>
                    </a:cubicBezTo>
                    <a:cubicBezTo>
                      <a:pt x="479" y="476"/>
                      <a:pt x="479" y="476"/>
                      <a:pt x="479" y="476"/>
                    </a:cubicBezTo>
                    <a:cubicBezTo>
                      <a:pt x="476" y="480"/>
                      <a:pt x="478" y="483"/>
                      <a:pt x="478" y="490"/>
                    </a:cubicBezTo>
                    <a:cubicBezTo>
                      <a:pt x="478" y="496"/>
                      <a:pt x="472" y="495"/>
                      <a:pt x="469" y="495"/>
                    </a:cubicBezTo>
                    <a:cubicBezTo>
                      <a:pt x="465" y="495"/>
                      <a:pt x="460" y="483"/>
                      <a:pt x="458" y="481"/>
                    </a:cubicBezTo>
                    <a:cubicBezTo>
                      <a:pt x="457" y="478"/>
                      <a:pt x="451" y="484"/>
                      <a:pt x="447" y="487"/>
                    </a:cubicBezTo>
                    <a:cubicBezTo>
                      <a:pt x="443" y="490"/>
                      <a:pt x="445" y="495"/>
                      <a:pt x="443" y="498"/>
                    </a:cubicBezTo>
                    <a:cubicBezTo>
                      <a:pt x="440" y="501"/>
                      <a:pt x="438" y="505"/>
                      <a:pt x="441" y="511"/>
                    </a:cubicBezTo>
                    <a:cubicBezTo>
                      <a:pt x="441" y="511"/>
                      <a:pt x="441" y="512"/>
                      <a:pt x="441" y="512"/>
                    </a:cubicBezTo>
                    <a:cubicBezTo>
                      <a:pt x="444" y="518"/>
                      <a:pt x="443" y="523"/>
                      <a:pt x="440" y="527"/>
                    </a:cubicBezTo>
                    <a:cubicBezTo>
                      <a:pt x="438" y="529"/>
                      <a:pt x="439" y="530"/>
                      <a:pt x="441" y="531"/>
                    </a:cubicBezTo>
                    <a:cubicBezTo>
                      <a:pt x="441" y="531"/>
                      <a:pt x="442" y="532"/>
                      <a:pt x="442" y="533"/>
                    </a:cubicBezTo>
                    <a:cubicBezTo>
                      <a:pt x="444" y="536"/>
                      <a:pt x="436" y="536"/>
                      <a:pt x="439" y="540"/>
                    </a:cubicBezTo>
                    <a:cubicBezTo>
                      <a:pt x="441" y="544"/>
                      <a:pt x="433" y="544"/>
                      <a:pt x="433" y="540"/>
                    </a:cubicBezTo>
                    <a:cubicBezTo>
                      <a:pt x="433" y="536"/>
                      <a:pt x="425" y="538"/>
                      <a:pt x="425" y="541"/>
                    </a:cubicBezTo>
                    <a:cubicBezTo>
                      <a:pt x="425" y="542"/>
                      <a:pt x="425" y="543"/>
                      <a:pt x="425" y="544"/>
                    </a:cubicBezTo>
                    <a:cubicBezTo>
                      <a:pt x="424" y="546"/>
                      <a:pt x="422" y="548"/>
                      <a:pt x="418" y="548"/>
                    </a:cubicBezTo>
                    <a:cubicBezTo>
                      <a:pt x="413" y="548"/>
                      <a:pt x="413" y="542"/>
                      <a:pt x="413" y="540"/>
                    </a:cubicBezTo>
                    <a:cubicBezTo>
                      <a:pt x="413" y="537"/>
                      <a:pt x="393" y="542"/>
                      <a:pt x="388" y="548"/>
                    </a:cubicBezTo>
                    <a:cubicBezTo>
                      <a:pt x="382" y="554"/>
                      <a:pt x="370" y="552"/>
                      <a:pt x="370" y="556"/>
                    </a:cubicBezTo>
                    <a:cubicBezTo>
                      <a:pt x="369" y="558"/>
                      <a:pt x="368" y="559"/>
                      <a:pt x="366" y="559"/>
                    </a:cubicBezTo>
                    <a:cubicBezTo>
                      <a:pt x="366" y="558"/>
                      <a:pt x="365" y="558"/>
                      <a:pt x="365" y="557"/>
                    </a:cubicBezTo>
                    <a:cubicBezTo>
                      <a:pt x="365" y="554"/>
                      <a:pt x="363" y="552"/>
                      <a:pt x="359" y="552"/>
                    </a:cubicBezTo>
                    <a:cubicBezTo>
                      <a:pt x="354" y="552"/>
                      <a:pt x="361" y="547"/>
                      <a:pt x="360" y="544"/>
                    </a:cubicBezTo>
                    <a:cubicBezTo>
                      <a:pt x="358" y="542"/>
                      <a:pt x="353" y="549"/>
                      <a:pt x="349" y="548"/>
                    </a:cubicBezTo>
                    <a:cubicBezTo>
                      <a:pt x="345" y="546"/>
                      <a:pt x="340" y="553"/>
                      <a:pt x="336" y="557"/>
                    </a:cubicBezTo>
                    <a:cubicBezTo>
                      <a:pt x="333" y="560"/>
                      <a:pt x="328" y="556"/>
                      <a:pt x="330" y="551"/>
                    </a:cubicBezTo>
                    <a:cubicBezTo>
                      <a:pt x="333" y="547"/>
                      <a:pt x="330" y="547"/>
                      <a:pt x="326" y="549"/>
                    </a:cubicBezTo>
                    <a:cubicBezTo>
                      <a:pt x="322" y="551"/>
                      <a:pt x="317" y="549"/>
                      <a:pt x="318" y="544"/>
                    </a:cubicBezTo>
                    <a:cubicBezTo>
                      <a:pt x="318" y="543"/>
                      <a:pt x="317" y="542"/>
                      <a:pt x="317" y="541"/>
                    </a:cubicBezTo>
                    <a:cubicBezTo>
                      <a:pt x="315" y="538"/>
                      <a:pt x="312" y="536"/>
                      <a:pt x="312" y="533"/>
                    </a:cubicBezTo>
                    <a:cubicBezTo>
                      <a:pt x="313" y="531"/>
                      <a:pt x="316" y="532"/>
                      <a:pt x="318" y="535"/>
                    </a:cubicBezTo>
                    <a:cubicBezTo>
                      <a:pt x="321" y="537"/>
                      <a:pt x="326" y="538"/>
                      <a:pt x="327" y="535"/>
                    </a:cubicBezTo>
                    <a:cubicBezTo>
                      <a:pt x="327" y="533"/>
                      <a:pt x="326" y="524"/>
                      <a:pt x="322" y="526"/>
                    </a:cubicBezTo>
                    <a:cubicBezTo>
                      <a:pt x="319" y="528"/>
                      <a:pt x="318" y="527"/>
                      <a:pt x="317" y="525"/>
                    </a:cubicBezTo>
                    <a:cubicBezTo>
                      <a:pt x="316" y="523"/>
                      <a:pt x="320" y="520"/>
                      <a:pt x="320" y="517"/>
                    </a:cubicBezTo>
                    <a:cubicBezTo>
                      <a:pt x="321" y="513"/>
                      <a:pt x="327" y="515"/>
                      <a:pt x="328" y="512"/>
                    </a:cubicBezTo>
                    <a:cubicBezTo>
                      <a:pt x="329" y="509"/>
                      <a:pt x="324" y="506"/>
                      <a:pt x="322" y="505"/>
                    </a:cubicBezTo>
                    <a:cubicBezTo>
                      <a:pt x="321" y="504"/>
                      <a:pt x="320" y="498"/>
                      <a:pt x="322" y="496"/>
                    </a:cubicBezTo>
                    <a:cubicBezTo>
                      <a:pt x="324" y="494"/>
                      <a:pt x="325" y="486"/>
                      <a:pt x="323" y="484"/>
                    </a:cubicBezTo>
                    <a:cubicBezTo>
                      <a:pt x="321" y="482"/>
                      <a:pt x="315" y="484"/>
                      <a:pt x="315" y="489"/>
                    </a:cubicBezTo>
                    <a:cubicBezTo>
                      <a:pt x="314" y="495"/>
                      <a:pt x="309" y="492"/>
                      <a:pt x="308" y="494"/>
                    </a:cubicBezTo>
                    <a:cubicBezTo>
                      <a:pt x="307" y="495"/>
                      <a:pt x="311" y="497"/>
                      <a:pt x="308" y="500"/>
                    </a:cubicBezTo>
                    <a:cubicBezTo>
                      <a:pt x="306" y="502"/>
                      <a:pt x="305" y="496"/>
                      <a:pt x="302" y="496"/>
                    </a:cubicBezTo>
                    <a:cubicBezTo>
                      <a:pt x="298" y="495"/>
                      <a:pt x="298" y="502"/>
                      <a:pt x="296" y="506"/>
                    </a:cubicBezTo>
                    <a:cubicBezTo>
                      <a:pt x="294" y="509"/>
                      <a:pt x="295" y="517"/>
                      <a:pt x="296" y="522"/>
                    </a:cubicBezTo>
                    <a:cubicBezTo>
                      <a:pt x="297" y="526"/>
                      <a:pt x="302" y="530"/>
                      <a:pt x="300" y="534"/>
                    </a:cubicBezTo>
                    <a:cubicBezTo>
                      <a:pt x="300" y="536"/>
                      <a:pt x="301" y="538"/>
                      <a:pt x="302" y="540"/>
                    </a:cubicBezTo>
                    <a:cubicBezTo>
                      <a:pt x="304" y="542"/>
                      <a:pt x="305" y="544"/>
                      <a:pt x="304" y="546"/>
                    </a:cubicBezTo>
                    <a:cubicBezTo>
                      <a:pt x="303" y="550"/>
                      <a:pt x="305" y="553"/>
                      <a:pt x="307" y="558"/>
                    </a:cubicBezTo>
                    <a:cubicBezTo>
                      <a:pt x="309" y="563"/>
                      <a:pt x="302" y="560"/>
                      <a:pt x="302" y="564"/>
                    </a:cubicBezTo>
                    <a:cubicBezTo>
                      <a:pt x="302" y="567"/>
                      <a:pt x="296" y="564"/>
                      <a:pt x="294" y="562"/>
                    </a:cubicBezTo>
                    <a:cubicBezTo>
                      <a:pt x="292" y="561"/>
                      <a:pt x="285" y="562"/>
                      <a:pt x="285" y="564"/>
                    </a:cubicBezTo>
                    <a:cubicBezTo>
                      <a:pt x="285" y="565"/>
                      <a:pt x="285" y="566"/>
                      <a:pt x="285" y="567"/>
                    </a:cubicBezTo>
                    <a:cubicBezTo>
                      <a:pt x="284" y="568"/>
                      <a:pt x="283" y="569"/>
                      <a:pt x="282" y="568"/>
                    </a:cubicBezTo>
                    <a:cubicBezTo>
                      <a:pt x="279" y="566"/>
                      <a:pt x="275" y="567"/>
                      <a:pt x="270" y="569"/>
                    </a:cubicBezTo>
                    <a:cubicBezTo>
                      <a:pt x="265" y="570"/>
                      <a:pt x="263" y="576"/>
                      <a:pt x="265" y="578"/>
                    </a:cubicBezTo>
                    <a:cubicBezTo>
                      <a:pt x="267" y="581"/>
                      <a:pt x="260" y="582"/>
                      <a:pt x="260" y="579"/>
                    </a:cubicBezTo>
                    <a:cubicBezTo>
                      <a:pt x="259" y="575"/>
                      <a:pt x="254" y="578"/>
                      <a:pt x="255" y="582"/>
                    </a:cubicBezTo>
                    <a:cubicBezTo>
                      <a:pt x="255" y="586"/>
                      <a:pt x="249" y="588"/>
                      <a:pt x="249" y="593"/>
                    </a:cubicBezTo>
                    <a:cubicBezTo>
                      <a:pt x="250" y="599"/>
                      <a:pt x="244" y="603"/>
                      <a:pt x="240" y="606"/>
                    </a:cubicBezTo>
                    <a:cubicBezTo>
                      <a:pt x="239" y="607"/>
                      <a:pt x="239" y="607"/>
                      <a:pt x="238" y="607"/>
                    </a:cubicBezTo>
                    <a:cubicBezTo>
                      <a:pt x="236" y="609"/>
                      <a:pt x="233" y="611"/>
                      <a:pt x="231" y="611"/>
                    </a:cubicBezTo>
                    <a:cubicBezTo>
                      <a:pt x="230" y="612"/>
                      <a:pt x="229" y="612"/>
                      <a:pt x="228" y="612"/>
                    </a:cubicBezTo>
                    <a:cubicBezTo>
                      <a:pt x="224" y="611"/>
                      <a:pt x="220" y="615"/>
                      <a:pt x="221" y="624"/>
                    </a:cubicBezTo>
                    <a:cubicBezTo>
                      <a:pt x="222" y="632"/>
                      <a:pt x="216" y="633"/>
                      <a:pt x="209" y="633"/>
                    </a:cubicBezTo>
                    <a:cubicBezTo>
                      <a:pt x="202" y="634"/>
                      <a:pt x="204" y="640"/>
                      <a:pt x="201" y="643"/>
                    </a:cubicBezTo>
                    <a:cubicBezTo>
                      <a:pt x="199" y="646"/>
                      <a:pt x="188" y="642"/>
                      <a:pt x="187" y="637"/>
                    </a:cubicBezTo>
                    <a:cubicBezTo>
                      <a:pt x="186" y="633"/>
                      <a:pt x="176" y="637"/>
                      <a:pt x="180" y="642"/>
                    </a:cubicBezTo>
                    <a:cubicBezTo>
                      <a:pt x="184" y="648"/>
                      <a:pt x="184" y="655"/>
                      <a:pt x="182" y="657"/>
                    </a:cubicBezTo>
                    <a:cubicBezTo>
                      <a:pt x="180" y="659"/>
                      <a:pt x="175" y="654"/>
                      <a:pt x="172" y="656"/>
                    </a:cubicBezTo>
                    <a:cubicBezTo>
                      <a:pt x="169" y="659"/>
                      <a:pt x="168" y="654"/>
                      <a:pt x="165" y="652"/>
                    </a:cubicBezTo>
                    <a:cubicBezTo>
                      <a:pt x="161" y="651"/>
                      <a:pt x="159" y="654"/>
                      <a:pt x="153" y="654"/>
                    </a:cubicBezTo>
                    <a:cubicBezTo>
                      <a:pt x="147" y="653"/>
                      <a:pt x="144" y="657"/>
                      <a:pt x="146" y="660"/>
                    </a:cubicBezTo>
                    <a:cubicBezTo>
                      <a:pt x="148" y="663"/>
                      <a:pt x="146" y="666"/>
                      <a:pt x="148" y="669"/>
                    </a:cubicBezTo>
                    <a:cubicBezTo>
                      <a:pt x="149" y="672"/>
                      <a:pt x="157" y="671"/>
                      <a:pt x="163" y="675"/>
                    </a:cubicBezTo>
                    <a:cubicBezTo>
                      <a:pt x="169" y="679"/>
                      <a:pt x="170" y="676"/>
                      <a:pt x="173" y="678"/>
                    </a:cubicBezTo>
                    <a:cubicBezTo>
                      <a:pt x="176" y="681"/>
                      <a:pt x="177" y="679"/>
                      <a:pt x="177" y="684"/>
                    </a:cubicBezTo>
                    <a:cubicBezTo>
                      <a:pt x="177" y="689"/>
                      <a:pt x="180" y="694"/>
                      <a:pt x="186" y="696"/>
                    </a:cubicBezTo>
                    <a:cubicBezTo>
                      <a:pt x="192" y="698"/>
                      <a:pt x="187" y="703"/>
                      <a:pt x="189" y="707"/>
                    </a:cubicBezTo>
                    <a:cubicBezTo>
                      <a:pt x="191" y="712"/>
                      <a:pt x="186" y="718"/>
                      <a:pt x="187" y="724"/>
                    </a:cubicBezTo>
                    <a:cubicBezTo>
                      <a:pt x="188" y="729"/>
                      <a:pt x="185" y="747"/>
                      <a:pt x="182" y="749"/>
                    </a:cubicBezTo>
                    <a:cubicBezTo>
                      <a:pt x="182" y="749"/>
                      <a:pt x="181" y="749"/>
                      <a:pt x="181" y="749"/>
                    </a:cubicBezTo>
                    <a:cubicBezTo>
                      <a:pt x="178" y="750"/>
                      <a:pt x="168" y="745"/>
                      <a:pt x="161" y="746"/>
                    </a:cubicBezTo>
                    <a:cubicBezTo>
                      <a:pt x="154" y="747"/>
                      <a:pt x="132" y="745"/>
                      <a:pt x="123" y="746"/>
                    </a:cubicBezTo>
                    <a:cubicBezTo>
                      <a:pt x="114" y="747"/>
                      <a:pt x="114" y="741"/>
                      <a:pt x="109" y="741"/>
                    </a:cubicBezTo>
                    <a:cubicBezTo>
                      <a:pt x="104" y="741"/>
                      <a:pt x="106" y="748"/>
                      <a:pt x="99" y="749"/>
                    </a:cubicBezTo>
                    <a:cubicBezTo>
                      <a:pt x="93" y="749"/>
                      <a:pt x="92" y="754"/>
                      <a:pt x="97" y="759"/>
                    </a:cubicBezTo>
                    <a:cubicBezTo>
                      <a:pt x="100" y="761"/>
                      <a:pt x="99" y="767"/>
                      <a:pt x="99" y="772"/>
                    </a:cubicBezTo>
                    <a:cubicBezTo>
                      <a:pt x="99" y="776"/>
                      <a:pt x="98" y="780"/>
                      <a:pt x="99" y="782"/>
                    </a:cubicBezTo>
                    <a:cubicBezTo>
                      <a:pt x="101" y="786"/>
                      <a:pt x="97" y="809"/>
                      <a:pt x="92" y="815"/>
                    </a:cubicBezTo>
                    <a:cubicBezTo>
                      <a:pt x="88" y="821"/>
                      <a:pt x="92" y="823"/>
                      <a:pt x="97" y="827"/>
                    </a:cubicBezTo>
                    <a:cubicBezTo>
                      <a:pt x="101" y="831"/>
                      <a:pt x="98" y="847"/>
                      <a:pt x="98" y="850"/>
                    </a:cubicBezTo>
                    <a:cubicBezTo>
                      <a:pt x="98" y="854"/>
                      <a:pt x="102" y="853"/>
                      <a:pt x="107" y="853"/>
                    </a:cubicBezTo>
                    <a:cubicBezTo>
                      <a:pt x="110" y="853"/>
                      <a:pt x="113" y="852"/>
                      <a:pt x="116" y="851"/>
                    </a:cubicBezTo>
                    <a:cubicBezTo>
                      <a:pt x="118" y="850"/>
                      <a:pt x="120" y="850"/>
                      <a:pt x="122" y="851"/>
                    </a:cubicBezTo>
                    <a:cubicBezTo>
                      <a:pt x="127" y="854"/>
                      <a:pt x="130" y="868"/>
                      <a:pt x="136" y="867"/>
                    </a:cubicBezTo>
                    <a:cubicBezTo>
                      <a:pt x="139" y="867"/>
                      <a:pt x="138" y="865"/>
                      <a:pt x="139" y="863"/>
                    </a:cubicBezTo>
                    <a:cubicBezTo>
                      <a:pt x="140" y="861"/>
                      <a:pt x="143" y="863"/>
                      <a:pt x="146" y="863"/>
                    </a:cubicBezTo>
                    <a:cubicBezTo>
                      <a:pt x="148" y="863"/>
                      <a:pt x="150" y="858"/>
                      <a:pt x="156" y="858"/>
                    </a:cubicBezTo>
                    <a:cubicBezTo>
                      <a:pt x="163" y="857"/>
                      <a:pt x="167" y="857"/>
                      <a:pt x="171" y="857"/>
                    </a:cubicBezTo>
                    <a:cubicBezTo>
                      <a:pt x="175" y="857"/>
                      <a:pt x="178" y="856"/>
                      <a:pt x="179" y="852"/>
                    </a:cubicBezTo>
                    <a:cubicBezTo>
                      <a:pt x="180" y="849"/>
                      <a:pt x="184" y="846"/>
                      <a:pt x="188" y="845"/>
                    </a:cubicBezTo>
                    <a:cubicBezTo>
                      <a:pt x="193" y="844"/>
                      <a:pt x="192" y="838"/>
                      <a:pt x="193" y="835"/>
                    </a:cubicBezTo>
                    <a:cubicBezTo>
                      <a:pt x="193" y="832"/>
                      <a:pt x="201" y="827"/>
                      <a:pt x="201" y="824"/>
                    </a:cubicBezTo>
                    <a:cubicBezTo>
                      <a:pt x="202" y="822"/>
                      <a:pt x="197" y="812"/>
                      <a:pt x="201" y="804"/>
                    </a:cubicBezTo>
                    <a:cubicBezTo>
                      <a:pt x="206" y="796"/>
                      <a:pt x="211" y="795"/>
                      <a:pt x="211" y="790"/>
                    </a:cubicBezTo>
                    <a:cubicBezTo>
                      <a:pt x="211" y="786"/>
                      <a:pt x="216" y="784"/>
                      <a:pt x="222" y="784"/>
                    </a:cubicBezTo>
                    <a:cubicBezTo>
                      <a:pt x="227" y="783"/>
                      <a:pt x="229" y="778"/>
                      <a:pt x="234" y="776"/>
                    </a:cubicBezTo>
                    <a:cubicBezTo>
                      <a:pt x="238" y="774"/>
                      <a:pt x="240" y="770"/>
                      <a:pt x="239" y="764"/>
                    </a:cubicBezTo>
                    <a:cubicBezTo>
                      <a:pt x="239" y="763"/>
                      <a:pt x="239" y="762"/>
                      <a:pt x="238" y="761"/>
                    </a:cubicBezTo>
                    <a:cubicBezTo>
                      <a:pt x="236" y="753"/>
                      <a:pt x="242" y="748"/>
                      <a:pt x="248" y="747"/>
                    </a:cubicBezTo>
                    <a:cubicBezTo>
                      <a:pt x="254" y="746"/>
                      <a:pt x="266" y="750"/>
                      <a:pt x="269" y="752"/>
                    </a:cubicBezTo>
                    <a:cubicBezTo>
                      <a:pt x="272" y="755"/>
                      <a:pt x="277" y="754"/>
                      <a:pt x="282" y="747"/>
                    </a:cubicBezTo>
                    <a:cubicBezTo>
                      <a:pt x="285" y="743"/>
                      <a:pt x="288" y="742"/>
                      <a:pt x="290" y="741"/>
                    </a:cubicBezTo>
                    <a:cubicBezTo>
                      <a:pt x="292" y="741"/>
                      <a:pt x="294" y="741"/>
                      <a:pt x="295" y="739"/>
                    </a:cubicBezTo>
                    <a:cubicBezTo>
                      <a:pt x="299" y="737"/>
                      <a:pt x="297" y="733"/>
                      <a:pt x="303" y="731"/>
                    </a:cubicBezTo>
                    <a:cubicBezTo>
                      <a:pt x="309" y="729"/>
                      <a:pt x="317" y="735"/>
                      <a:pt x="320" y="739"/>
                    </a:cubicBezTo>
                    <a:cubicBezTo>
                      <a:pt x="322" y="744"/>
                      <a:pt x="323" y="744"/>
                      <a:pt x="323" y="748"/>
                    </a:cubicBezTo>
                    <a:cubicBezTo>
                      <a:pt x="324" y="751"/>
                      <a:pt x="326" y="758"/>
                      <a:pt x="334" y="764"/>
                    </a:cubicBezTo>
                    <a:cubicBezTo>
                      <a:pt x="342" y="771"/>
                      <a:pt x="346" y="778"/>
                      <a:pt x="350" y="781"/>
                    </a:cubicBezTo>
                    <a:cubicBezTo>
                      <a:pt x="354" y="783"/>
                      <a:pt x="358" y="783"/>
                      <a:pt x="361" y="786"/>
                    </a:cubicBezTo>
                    <a:cubicBezTo>
                      <a:pt x="363" y="790"/>
                      <a:pt x="367" y="792"/>
                      <a:pt x="371" y="794"/>
                    </a:cubicBezTo>
                    <a:cubicBezTo>
                      <a:pt x="375" y="797"/>
                      <a:pt x="375" y="802"/>
                      <a:pt x="379" y="803"/>
                    </a:cubicBezTo>
                    <a:cubicBezTo>
                      <a:pt x="383" y="803"/>
                      <a:pt x="381" y="807"/>
                      <a:pt x="383" y="811"/>
                    </a:cubicBezTo>
                    <a:cubicBezTo>
                      <a:pt x="385" y="814"/>
                      <a:pt x="386" y="822"/>
                      <a:pt x="383" y="826"/>
                    </a:cubicBezTo>
                    <a:cubicBezTo>
                      <a:pt x="381" y="830"/>
                      <a:pt x="382" y="837"/>
                      <a:pt x="384" y="837"/>
                    </a:cubicBezTo>
                    <a:cubicBezTo>
                      <a:pt x="386" y="837"/>
                      <a:pt x="389" y="829"/>
                      <a:pt x="390" y="825"/>
                    </a:cubicBezTo>
                    <a:cubicBezTo>
                      <a:pt x="390" y="821"/>
                      <a:pt x="394" y="821"/>
                      <a:pt x="396" y="817"/>
                    </a:cubicBezTo>
                    <a:cubicBezTo>
                      <a:pt x="399" y="813"/>
                      <a:pt x="392" y="812"/>
                      <a:pt x="391" y="806"/>
                    </a:cubicBezTo>
                    <a:cubicBezTo>
                      <a:pt x="390" y="801"/>
                      <a:pt x="396" y="796"/>
                      <a:pt x="402" y="800"/>
                    </a:cubicBezTo>
                    <a:cubicBezTo>
                      <a:pt x="408" y="805"/>
                      <a:pt x="411" y="808"/>
                      <a:pt x="411" y="801"/>
                    </a:cubicBezTo>
                    <a:cubicBezTo>
                      <a:pt x="411" y="794"/>
                      <a:pt x="393" y="785"/>
                      <a:pt x="388" y="781"/>
                    </a:cubicBezTo>
                    <a:cubicBezTo>
                      <a:pt x="384" y="778"/>
                      <a:pt x="387" y="773"/>
                      <a:pt x="380" y="773"/>
                    </a:cubicBezTo>
                    <a:cubicBezTo>
                      <a:pt x="373" y="774"/>
                      <a:pt x="364" y="763"/>
                      <a:pt x="362" y="751"/>
                    </a:cubicBezTo>
                    <a:cubicBezTo>
                      <a:pt x="359" y="739"/>
                      <a:pt x="348" y="738"/>
                      <a:pt x="345" y="731"/>
                    </a:cubicBezTo>
                    <a:cubicBezTo>
                      <a:pt x="343" y="724"/>
                      <a:pt x="348" y="723"/>
                      <a:pt x="346" y="717"/>
                    </a:cubicBezTo>
                    <a:cubicBezTo>
                      <a:pt x="344" y="714"/>
                      <a:pt x="347" y="711"/>
                      <a:pt x="351" y="709"/>
                    </a:cubicBezTo>
                    <a:cubicBezTo>
                      <a:pt x="353" y="708"/>
                      <a:pt x="356" y="708"/>
                      <a:pt x="358" y="708"/>
                    </a:cubicBezTo>
                    <a:cubicBezTo>
                      <a:pt x="359" y="709"/>
                      <a:pt x="360" y="711"/>
                      <a:pt x="360" y="712"/>
                    </a:cubicBezTo>
                    <a:cubicBezTo>
                      <a:pt x="360" y="715"/>
                      <a:pt x="360" y="718"/>
                      <a:pt x="362" y="718"/>
                    </a:cubicBezTo>
                    <a:cubicBezTo>
                      <a:pt x="365" y="718"/>
                      <a:pt x="371" y="718"/>
                      <a:pt x="371" y="723"/>
                    </a:cubicBezTo>
                    <a:cubicBezTo>
                      <a:pt x="371" y="728"/>
                      <a:pt x="379" y="739"/>
                      <a:pt x="381" y="742"/>
                    </a:cubicBezTo>
                    <a:cubicBezTo>
                      <a:pt x="384" y="746"/>
                      <a:pt x="390" y="745"/>
                      <a:pt x="390" y="748"/>
                    </a:cubicBezTo>
                    <a:cubicBezTo>
                      <a:pt x="391" y="751"/>
                      <a:pt x="395" y="754"/>
                      <a:pt x="400" y="755"/>
                    </a:cubicBezTo>
                    <a:cubicBezTo>
                      <a:pt x="402" y="755"/>
                      <a:pt x="403" y="756"/>
                      <a:pt x="405" y="757"/>
                    </a:cubicBezTo>
                    <a:cubicBezTo>
                      <a:pt x="407" y="758"/>
                      <a:pt x="409" y="760"/>
                      <a:pt x="411" y="762"/>
                    </a:cubicBezTo>
                    <a:cubicBezTo>
                      <a:pt x="414" y="765"/>
                      <a:pt x="417" y="768"/>
                      <a:pt x="419" y="770"/>
                    </a:cubicBezTo>
                    <a:cubicBezTo>
                      <a:pt x="420" y="770"/>
                      <a:pt x="420" y="770"/>
                      <a:pt x="420" y="770"/>
                    </a:cubicBezTo>
                    <a:cubicBezTo>
                      <a:pt x="424" y="773"/>
                      <a:pt x="426" y="775"/>
                      <a:pt x="423" y="779"/>
                    </a:cubicBezTo>
                    <a:cubicBezTo>
                      <a:pt x="420" y="782"/>
                      <a:pt x="419" y="796"/>
                      <a:pt x="423" y="799"/>
                    </a:cubicBezTo>
                    <a:cubicBezTo>
                      <a:pt x="426" y="802"/>
                      <a:pt x="427" y="809"/>
                      <a:pt x="430" y="811"/>
                    </a:cubicBezTo>
                    <a:cubicBezTo>
                      <a:pt x="431" y="811"/>
                      <a:pt x="431" y="811"/>
                      <a:pt x="431" y="811"/>
                    </a:cubicBezTo>
                    <a:cubicBezTo>
                      <a:pt x="435" y="813"/>
                      <a:pt x="438" y="818"/>
                      <a:pt x="437" y="823"/>
                    </a:cubicBezTo>
                    <a:cubicBezTo>
                      <a:pt x="437" y="828"/>
                      <a:pt x="443" y="830"/>
                      <a:pt x="445" y="826"/>
                    </a:cubicBezTo>
                    <a:cubicBezTo>
                      <a:pt x="448" y="823"/>
                      <a:pt x="456" y="828"/>
                      <a:pt x="456" y="831"/>
                    </a:cubicBezTo>
                    <a:cubicBezTo>
                      <a:pt x="456" y="833"/>
                      <a:pt x="448" y="828"/>
                      <a:pt x="443" y="832"/>
                    </a:cubicBezTo>
                    <a:cubicBezTo>
                      <a:pt x="439" y="836"/>
                      <a:pt x="447" y="840"/>
                      <a:pt x="446" y="844"/>
                    </a:cubicBezTo>
                    <a:cubicBezTo>
                      <a:pt x="445" y="848"/>
                      <a:pt x="448" y="854"/>
                      <a:pt x="452" y="853"/>
                    </a:cubicBezTo>
                    <a:cubicBezTo>
                      <a:pt x="456" y="853"/>
                      <a:pt x="460" y="861"/>
                      <a:pt x="463" y="859"/>
                    </a:cubicBezTo>
                    <a:cubicBezTo>
                      <a:pt x="465" y="858"/>
                      <a:pt x="460" y="847"/>
                      <a:pt x="461" y="846"/>
                    </a:cubicBezTo>
                    <a:cubicBezTo>
                      <a:pt x="461" y="844"/>
                      <a:pt x="466" y="848"/>
                      <a:pt x="469" y="845"/>
                    </a:cubicBezTo>
                    <a:cubicBezTo>
                      <a:pt x="471" y="842"/>
                      <a:pt x="467" y="839"/>
                      <a:pt x="463" y="840"/>
                    </a:cubicBezTo>
                    <a:cubicBezTo>
                      <a:pt x="460" y="840"/>
                      <a:pt x="463" y="834"/>
                      <a:pt x="467" y="837"/>
                    </a:cubicBezTo>
                    <a:cubicBezTo>
                      <a:pt x="472" y="840"/>
                      <a:pt x="474" y="836"/>
                      <a:pt x="476" y="836"/>
                    </a:cubicBezTo>
                    <a:cubicBezTo>
                      <a:pt x="478" y="835"/>
                      <a:pt x="478" y="826"/>
                      <a:pt x="472" y="824"/>
                    </a:cubicBezTo>
                    <a:cubicBezTo>
                      <a:pt x="466" y="822"/>
                      <a:pt x="467" y="830"/>
                      <a:pt x="462" y="825"/>
                    </a:cubicBezTo>
                    <a:cubicBezTo>
                      <a:pt x="458" y="820"/>
                      <a:pt x="466" y="822"/>
                      <a:pt x="466" y="817"/>
                    </a:cubicBezTo>
                    <a:cubicBezTo>
                      <a:pt x="466" y="813"/>
                      <a:pt x="460" y="807"/>
                      <a:pt x="457" y="802"/>
                    </a:cubicBezTo>
                    <a:cubicBezTo>
                      <a:pt x="454" y="797"/>
                      <a:pt x="461" y="794"/>
                      <a:pt x="463" y="798"/>
                    </a:cubicBezTo>
                    <a:cubicBezTo>
                      <a:pt x="464" y="802"/>
                      <a:pt x="469" y="801"/>
                      <a:pt x="472" y="800"/>
                    </a:cubicBezTo>
                    <a:cubicBezTo>
                      <a:pt x="475" y="798"/>
                      <a:pt x="469" y="792"/>
                      <a:pt x="474" y="789"/>
                    </a:cubicBezTo>
                    <a:cubicBezTo>
                      <a:pt x="480" y="787"/>
                      <a:pt x="480" y="791"/>
                      <a:pt x="481" y="792"/>
                    </a:cubicBezTo>
                    <a:cubicBezTo>
                      <a:pt x="483" y="793"/>
                      <a:pt x="484" y="787"/>
                      <a:pt x="490" y="787"/>
                    </a:cubicBezTo>
                    <a:cubicBezTo>
                      <a:pt x="493" y="787"/>
                      <a:pt x="495" y="789"/>
                      <a:pt x="498" y="791"/>
                    </a:cubicBezTo>
                    <a:cubicBezTo>
                      <a:pt x="500" y="793"/>
                      <a:pt x="502" y="795"/>
                      <a:pt x="504" y="795"/>
                    </a:cubicBezTo>
                    <a:cubicBezTo>
                      <a:pt x="509" y="795"/>
                      <a:pt x="511" y="789"/>
                      <a:pt x="515" y="787"/>
                    </a:cubicBezTo>
                    <a:cubicBezTo>
                      <a:pt x="519" y="785"/>
                      <a:pt x="529" y="788"/>
                      <a:pt x="531" y="785"/>
                    </a:cubicBezTo>
                    <a:cubicBezTo>
                      <a:pt x="533" y="783"/>
                      <a:pt x="525" y="780"/>
                      <a:pt x="522" y="777"/>
                    </a:cubicBezTo>
                    <a:cubicBezTo>
                      <a:pt x="520" y="775"/>
                      <a:pt x="520" y="772"/>
                      <a:pt x="519" y="770"/>
                    </a:cubicBezTo>
                    <a:cubicBezTo>
                      <a:pt x="519" y="768"/>
                      <a:pt x="518" y="767"/>
                      <a:pt x="518" y="766"/>
                    </a:cubicBezTo>
                    <a:cubicBezTo>
                      <a:pt x="516" y="766"/>
                      <a:pt x="513" y="757"/>
                      <a:pt x="515" y="756"/>
                    </a:cubicBezTo>
                    <a:cubicBezTo>
                      <a:pt x="518" y="755"/>
                      <a:pt x="521" y="746"/>
                      <a:pt x="524" y="744"/>
                    </a:cubicBezTo>
                    <a:cubicBezTo>
                      <a:pt x="526" y="744"/>
                      <a:pt x="527" y="743"/>
                      <a:pt x="527" y="741"/>
                    </a:cubicBezTo>
                    <a:cubicBezTo>
                      <a:pt x="527" y="739"/>
                      <a:pt x="527" y="736"/>
                      <a:pt x="527" y="734"/>
                    </a:cubicBezTo>
                    <a:cubicBezTo>
                      <a:pt x="527" y="730"/>
                      <a:pt x="529" y="723"/>
                      <a:pt x="533" y="723"/>
                    </a:cubicBezTo>
                    <a:cubicBezTo>
                      <a:pt x="536" y="722"/>
                      <a:pt x="539" y="722"/>
                      <a:pt x="539" y="715"/>
                    </a:cubicBezTo>
                    <a:cubicBezTo>
                      <a:pt x="539" y="715"/>
                      <a:pt x="539" y="715"/>
                      <a:pt x="539" y="714"/>
                    </a:cubicBezTo>
                    <a:cubicBezTo>
                      <a:pt x="538" y="708"/>
                      <a:pt x="539" y="708"/>
                      <a:pt x="544" y="704"/>
                    </a:cubicBezTo>
                    <a:cubicBezTo>
                      <a:pt x="549" y="700"/>
                      <a:pt x="550" y="691"/>
                      <a:pt x="554" y="690"/>
                    </a:cubicBezTo>
                    <a:cubicBezTo>
                      <a:pt x="558" y="689"/>
                      <a:pt x="560" y="687"/>
                      <a:pt x="567" y="688"/>
                    </a:cubicBezTo>
                    <a:cubicBezTo>
                      <a:pt x="573" y="689"/>
                      <a:pt x="564" y="694"/>
                      <a:pt x="568" y="697"/>
                    </a:cubicBezTo>
                    <a:cubicBezTo>
                      <a:pt x="572" y="700"/>
                      <a:pt x="586" y="696"/>
                      <a:pt x="587" y="700"/>
                    </a:cubicBezTo>
                    <a:cubicBezTo>
                      <a:pt x="588" y="704"/>
                      <a:pt x="571" y="708"/>
                      <a:pt x="571" y="710"/>
                    </a:cubicBezTo>
                    <a:cubicBezTo>
                      <a:pt x="572" y="712"/>
                      <a:pt x="580" y="714"/>
                      <a:pt x="583" y="717"/>
                    </a:cubicBezTo>
                    <a:cubicBezTo>
                      <a:pt x="586" y="719"/>
                      <a:pt x="582" y="725"/>
                      <a:pt x="584" y="727"/>
                    </a:cubicBezTo>
                    <a:cubicBezTo>
                      <a:pt x="585" y="729"/>
                      <a:pt x="589" y="728"/>
                      <a:pt x="593" y="725"/>
                    </a:cubicBezTo>
                    <a:cubicBezTo>
                      <a:pt x="597" y="722"/>
                      <a:pt x="599" y="723"/>
                      <a:pt x="604" y="719"/>
                    </a:cubicBezTo>
                    <a:cubicBezTo>
                      <a:pt x="609" y="715"/>
                      <a:pt x="618" y="719"/>
                      <a:pt x="619" y="716"/>
                    </a:cubicBezTo>
                    <a:cubicBezTo>
                      <a:pt x="621" y="714"/>
                      <a:pt x="617" y="712"/>
                      <a:pt x="608" y="713"/>
                    </a:cubicBezTo>
                    <a:cubicBezTo>
                      <a:pt x="599" y="713"/>
                      <a:pt x="598" y="703"/>
                      <a:pt x="598" y="701"/>
                    </a:cubicBezTo>
                    <a:cubicBezTo>
                      <a:pt x="598" y="699"/>
                      <a:pt x="608" y="691"/>
                      <a:pt x="613" y="690"/>
                    </a:cubicBezTo>
                    <a:cubicBezTo>
                      <a:pt x="618" y="690"/>
                      <a:pt x="623" y="688"/>
                      <a:pt x="628" y="685"/>
                    </a:cubicBezTo>
                    <a:cubicBezTo>
                      <a:pt x="630" y="684"/>
                      <a:pt x="633" y="683"/>
                      <a:pt x="637" y="682"/>
                    </a:cubicBezTo>
                    <a:cubicBezTo>
                      <a:pt x="643" y="681"/>
                      <a:pt x="648" y="680"/>
                      <a:pt x="649" y="681"/>
                    </a:cubicBezTo>
                    <a:cubicBezTo>
                      <a:pt x="650" y="684"/>
                      <a:pt x="637" y="690"/>
                      <a:pt x="635" y="692"/>
                    </a:cubicBezTo>
                    <a:cubicBezTo>
                      <a:pt x="632" y="693"/>
                      <a:pt x="639" y="697"/>
                      <a:pt x="639" y="699"/>
                    </a:cubicBezTo>
                    <a:cubicBezTo>
                      <a:pt x="639" y="702"/>
                      <a:pt x="631" y="702"/>
                      <a:pt x="632" y="707"/>
                    </a:cubicBezTo>
                    <a:cubicBezTo>
                      <a:pt x="633" y="712"/>
                      <a:pt x="630" y="713"/>
                      <a:pt x="626" y="713"/>
                    </a:cubicBezTo>
                    <a:cubicBezTo>
                      <a:pt x="622" y="713"/>
                      <a:pt x="621" y="716"/>
                      <a:pt x="623" y="716"/>
                    </a:cubicBezTo>
                    <a:cubicBezTo>
                      <a:pt x="625" y="717"/>
                      <a:pt x="624" y="723"/>
                      <a:pt x="632" y="725"/>
                    </a:cubicBezTo>
                    <a:cubicBezTo>
                      <a:pt x="639" y="728"/>
                      <a:pt x="647" y="736"/>
                      <a:pt x="653" y="744"/>
                    </a:cubicBezTo>
                    <a:cubicBezTo>
                      <a:pt x="654" y="745"/>
                      <a:pt x="655" y="746"/>
                      <a:pt x="656" y="747"/>
                    </a:cubicBezTo>
                    <a:cubicBezTo>
                      <a:pt x="663" y="751"/>
                      <a:pt x="673" y="750"/>
                      <a:pt x="674" y="759"/>
                    </a:cubicBezTo>
                    <a:cubicBezTo>
                      <a:pt x="676" y="769"/>
                      <a:pt x="680" y="765"/>
                      <a:pt x="679" y="773"/>
                    </a:cubicBezTo>
                    <a:cubicBezTo>
                      <a:pt x="678" y="775"/>
                      <a:pt x="677" y="776"/>
                      <a:pt x="676" y="778"/>
                    </a:cubicBezTo>
                    <a:cubicBezTo>
                      <a:pt x="670" y="784"/>
                      <a:pt x="658" y="788"/>
                      <a:pt x="655" y="786"/>
                    </a:cubicBezTo>
                    <a:cubicBezTo>
                      <a:pt x="650" y="784"/>
                      <a:pt x="641" y="787"/>
                      <a:pt x="634" y="787"/>
                    </a:cubicBezTo>
                    <a:cubicBezTo>
                      <a:pt x="628" y="787"/>
                      <a:pt x="626" y="781"/>
                      <a:pt x="621" y="782"/>
                    </a:cubicBezTo>
                    <a:cubicBezTo>
                      <a:pt x="616" y="782"/>
                      <a:pt x="616" y="776"/>
                      <a:pt x="610" y="776"/>
                    </a:cubicBezTo>
                    <a:cubicBezTo>
                      <a:pt x="605" y="776"/>
                      <a:pt x="609" y="773"/>
                      <a:pt x="593" y="771"/>
                    </a:cubicBezTo>
                    <a:cubicBezTo>
                      <a:pt x="577" y="768"/>
                      <a:pt x="563" y="778"/>
                      <a:pt x="558" y="783"/>
                    </a:cubicBezTo>
                    <a:cubicBezTo>
                      <a:pt x="553" y="789"/>
                      <a:pt x="535" y="784"/>
                      <a:pt x="533" y="785"/>
                    </a:cubicBezTo>
                    <a:cubicBezTo>
                      <a:pt x="531" y="787"/>
                      <a:pt x="533" y="793"/>
                      <a:pt x="527" y="796"/>
                    </a:cubicBezTo>
                    <a:cubicBezTo>
                      <a:pt x="521" y="799"/>
                      <a:pt x="507" y="796"/>
                      <a:pt x="503" y="798"/>
                    </a:cubicBezTo>
                    <a:cubicBezTo>
                      <a:pt x="498" y="801"/>
                      <a:pt x="496" y="809"/>
                      <a:pt x="500" y="808"/>
                    </a:cubicBezTo>
                    <a:cubicBezTo>
                      <a:pt x="504" y="808"/>
                      <a:pt x="506" y="810"/>
                      <a:pt x="505" y="812"/>
                    </a:cubicBezTo>
                    <a:cubicBezTo>
                      <a:pt x="504" y="814"/>
                      <a:pt x="508" y="820"/>
                      <a:pt x="506" y="823"/>
                    </a:cubicBezTo>
                    <a:cubicBezTo>
                      <a:pt x="504" y="825"/>
                      <a:pt x="504" y="830"/>
                      <a:pt x="507" y="832"/>
                    </a:cubicBezTo>
                    <a:cubicBezTo>
                      <a:pt x="509" y="835"/>
                      <a:pt x="510" y="839"/>
                      <a:pt x="507" y="840"/>
                    </a:cubicBezTo>
                    <a:cubicBezTo>
                      <a:pt x="503" y="840"/>
                      <a:pt x="512" y="845"/>
                      <a:pt x="512" y="847"/>
                    </a:cubicBezTo>
                    <a:cubicBezTo>
                      <a:pt x="512" y="849"/>
                      <a:pt x="520" y="850"/>
                      <a:pt x="520" y="852"/>
                    </a:cubicBezTo>
                    <a:cubicBezTo>
                      <a:pt x="520" y="855"/>
                      <a:pt x="522" y="856"/>
                      <a:pt x="526" y="855"/>
                    </a:cubicBezTo>
                    <a:cubicBezTo>
                      <a:pt x="529" y="853"/>
                      <a:pt x="531" y="859"/>
                      <a:pt x="533" y="863"/>
                    </a:cubicBezTo>
                    <a:cubicBezTo>
                      <a:pt x="535" y="867"/>
                      <a:pt x="548" y="865"/>
                      <a:pt x="548" y="860"/>
                    </a:cubicBezTo>
                    <a:cubicBezTo>
                      <a:pt x="548" y="856"/>
                      <a:pt x="551" y="854"/>
                      <a:pt x="557" y="855"/>
                    </a:cubicBezTo>
                    <a:cubicBezTo>
                      <a:pt x="563" y="856"/>
                      <a:pt x="570" y="865"/>
                      <a:pt x="573" y="866"/>
                    </a:cubicBezTo>
                    <a:cubicBezTo>
                      <a:pt x="576" y="867"/>
                      <a:pt x="581" y="864"/>
                      <a:pt x="585" y="864"/>
                    </a:cubicBezTo>
                    <a:cubicBezTo>
                      <a:pt x="588" y="864"/>
                      <a:pt x="594" y="857"/>
                      <a:pt x="596" y="855"/>
                    </a:cubicBezTo>
                    <a:cubicBezTo>
                      <a:pt x="598" y="854"/>
                      <a:pt x="601" y="860"/>
                      <a:pt x="604" y="858"/>
                    </a:cubicBezTo>
                    <a:cubicBezTo>
                      <a:pt x="608" y="856"/>
                      <a:pt x="611" y="854"/>
                      <a:pt x="613" y="855"/>
                    </a:cubicBezTo>
                    <a:cubicBezTo>
                      <a:pt x="615" y="857"/>
                      <a:pt x="608" y="863"/>
                      <a:pt x="610" y="866"/>
                    </a:cubicBezTo>
                    <a:cubicBezTo>
                      <a:pt x="611" y="868"/>
                      <a:pt x="611" y="869"/>
                      <a:pt x="611" y="871"/>
                    </a:cubicBezTo>
                    <a:cubicBezTo>
                      <a:pt x="610" y="873"/>
                      <a:pt x="609" y="876"/>
                      <a:pt x="610" y="878"/>
                    </a:cubicBezTo>
                    <a:cubicBezTo>
                      <a:pt x="612" y="881"/>
                      <a:pt x="610" y="884"/>
                      <a:pt x="610" y="888"/>
                    </a:cubicBezTo>
                    <a:cubicBezTo>
                      <a:pt x="609" y="889"/>
                      <a:pt x="609" y="889"/>
                      <a:pt x="609" y="890"/>
                    </a:cubicBezTo>
                    <a:cubicBezTo>
                      <a:pt x="609" y="894"/>
                      <a:pt x="604" y="903"/>
                      <a:pt x="601" y="911"/>
                    </a:cubicBezTo>
                    <a:cubicBezTo>
                      <a:pt x="600" y="913"/>
                      <a:pt x="599" y="915"/>
                      <a:pt x="599" y="917"/>
                    </a:cubicBezTo>
                    <a:cubicBezTo>
                      <a:pt x="598" y="925"/>
                      <a:pt x="593" y="937"/>
                      <a:pt x="590" y="942"/>
                    </a:cubicBezTo>
                    <a:cubicBezTo>
                      <a:pt x="589" y="943"/>
                      <a:pt x="589" y="944"/>
                      <a:pt x="589" y="944"/>
                    </a:cubicBezTo>
                    <a:cubicBezTo>
                      <a:pt x="587" y="946"/>
                      <a:pt x="582" y="942"/>
                      <a:pt x="576" y="943"/>
                    </a:cubicBezTo>
                    <a:cubicBezTo>
                      <a:pt x="571" y="945"/>
                      <a:pt x="567" y="943"/>
                      <a:pt x="562" y="940"/>
                    </a:cubicBezTo>
                    <a:cubicBezTo>
                      <a:pt x="557" y="936"/>
                      <a:pt x="540" y="940"/>
                      <a:pt x="538" y="944"/>
                    </a:cubicBezTo>
                    <a:cubicBezTo>
                      <a:pt x="535" y="948"/>
                      <a:pt x="530" y="948"/>
                      <a:pt x="525" y="946"/>
                    </a:cubicBezTo>
                    <a:cubicBezTo>
                      <a:pt x="520" y="943"/>
                      <a:pt x="513" y="940"/>
                      <a:pt x="503" y="939"/>
                    </a:cubicBezTo>
                    <a:cubicBezTo>
                      <a:pt x="495" y="938"/>
                      <a:pt x="488" y="936"/>
                      <a:pt x="486" y="934"/>
                    </a:cubicBezTo>
                    <a:cubicBezTo>
                      <a:pt x="486" y="933"/>
                      <a:pt x="486" y="933"/>
                      <a:pt x="486" y="933"/>
                    </a:cubicBezTo>
                    <a:cubicBezTo>
                      <a:pt x="485" y="930"/>
                      <a:pt x="480" y="930"/>
                      <a:pt x="470" y="928"/>
                    </a:cubicBezTo>
                    <a:cubicBezTo>
                      <a:pt x="460" y="926"/>
                      <a:pt x="464" y="918"/>
                      <a:pt x="453" y="917"/>
                    </a:cubicBezTo>
                    <a:cubicBezTo>
                      <a:pt x="441" y="916"/>
                      <a:pt x="427" y="927"/>
                      <a:pt x="427" y="933"/>
                    </a:cubicBezTo>
                    <a:cubicBezTo>
                      <a:pt x="427" y="939"/>
                      <a:pt x="432" y="945"/>
                      <a:pt x="428" y="951"/>
                    </a:cubicBezTo>
                    <a:cubicBezTo>
                      <a:pt x="424" y="957"/>
                      <a:pt x="416" y="958"/>
                      <a:pt x="410" y="951"/>
                    </a:cubicBezTo>
                    <a:cubicBezTo>
                      <a:pt x="405" y="945"/>
                      <a:pt x="396" y="942"/>
                      <a:pt x="389" y="942"/>
                    </a:cubicBezTo>
                    <a:cubicBezTo>
                      <a:pt x="382" y="942"/>
                      <a:pt x="377" y="937"/>
                      <a:pt x="378" y="932"/>
                    </a:cubicBezTo>
                    <a:cubicBezTo>
                      <a:pt x="378" y="928"/>
                      <a:pt x="376" y="926"/>
                      <a:pt x="370" y="924"/>
                    </a:cubicBezTo>
                    <a:cubicBezTo>
                      <a:pt x="364" y="923"/>
                      <a:pt x="359" y="917"/>
                      <a:pt x="349" y="919"/>
                    </a:cubicBezTo>
                    <a:cubicBezTo>
                      <a:pt x="344" y="920"/>
                      <a:pt x="339" y="918"/>
                      <a:pt x="336" y="916"/>
                    </a:cubicBezTo>
                    <a:cubicBezTo>
                      <a:pt x="333" y="914"/>
                      <a:pt x="331" y="911"/>
                      <a:pt x="331" y="910"/>
                    </a:cubicBezTo>
                    <a:cubicBezTo>
                      <a:pt x="331" y="907"/>
                      <a:pt x="328" y="903"/>
                      <a:pt x="327" y="905"/>
                    </a:cubicBezTo>
                    <a:cubicBezTo>
                      <a:pt x="325" y="908"/>
                      <a:pt x="318" y="906"/>
                      <a:pt x="317" y="900"/>
                    </a:cubicBezTo>
                    <a:cubicBezTo>
                      <a:pt x="317" y="895"/>
                      <a:pt x="322" y="895"/>
                      <a:pt x="327" y="891"/>
                    </a:cubicBezTo>
                    <a:cubicBezTo>
                      <a:pt x="331" y="886"/>
                      <a:pt x="332" y="877"/>
                      <a:pt x="327" y="872"/>
                    </a:cubicBezTo>
                    <a:cubicBezTo>
                      <a:pt x="322" y="867"/>
                      <a:pt x="325" y="865"/>
                      <a:pt x="329" y="860"/>
                    </a:cubicBezTo>
                    <a:cubicBezTo>
                      <a:pt x="333" y="856"/>
                      <a:pt x="329" y="853"/>
                      <a:pt x="327" y="855"/>
                    </a:cubicBezTo>
                    <a:cubicBezTo>
                      <a:pt x="326" y="857"/>
                      <a:pt x="322" y="858"/>
                      <a:pt x="322" y="853"/>
                    </a:cubicBezTo>
                    <a:cubicBezTo>
                      <a:pt x="321" y="848"/>
                      <a:pt x="310" y="847"/>
                      <a:pt x="306" y="852"/>
                    </a:cubicBezTo>
                    <a:cubicBezTo>
                      <a:pt x="305" y="854"/>
                      <a:pt x="302" y="854"/>
                      <a:pt x="300" y="854"/>
                    </a:cubicBezTo>
                    <a:cubicBezTo>
                      <a:pt x="295" y="854"/>
                      <a:pt x="290" y="852"/>
                      <a:pt x="289" y="851"/>
                    </a:cubicBezTo>
                    <a:cubicBezTo>
                      <a:pt x="287" y="851"/>
                      <a:pt x="281" y="853"/>
                      <a:pt x="277" y="853"/>
                    </a:cubicBezTo>
                    <a:cubicBezTo>
                      <a:pt x="273" y="853"/>
                      <a:pt x="264" y="860"/>
                      <a:pt x="261" y="857"/>
                    </a:cubicBezTo>
                    <a:cubicBezTo>
                      <a:pt x="258" y="853"/>
                      <a:pt x="227" y="859"/>
                      <a:pt x="218" y="860"/>
                    </a:cubicBezTo>
                    <a:cubicBezTo>
                      <a:pt x="209" y="860"/>
                      <a:pt x="205" y="871"/>
                      <a:pt x="200" y="871"/>
                    </a:cubicBezTo>
                    <a:cubicBezTo>
                      <a:pt x="194" y="871"/>
                      <a:pt x="186" y="877"/>
                      <a:pt x="182" y="883"/>
                    </a:cubicBezTo>
                    <a:cubicBezTo>
                      <a:pt x="180" y="884"/>
                      <a:pt x="179" y="885"/>
                      <a:pt x="177" y="885"/>
                    </a:cubicBezTo>
                    <a:cubicBezTo>
                      <a:pt x="173" y="885"/>
                      <a:pt x="168" y="881"/>
                      <a:pt x="164" y="881"/>
                    </a:cubicBezTo>
                    <a:cubicBezTo>
                      <a:pt x="158" y="881"/>
                      <a:pt x="149" y="885"/>
                      <a:pt x="144" y="879"/>
                    </a:cubicBezTo>
                    <a:cubicBezTo>
                      <a:pt x="140" y="873"/>
                      <a:pt x="137" y="871"/>
                      <a:pt x="133" y="873"/>
                    </a:cubicBezTo>
                    <a:cubicBezTo>
                      <a:pt x="130" y="875"/>
                      <a:pt x="124" y="895"/>
                      <a:pt x="121" y="901"/>
                    </a:cubicBezTo>
                    <a:cubicBezTo>
                      <a:pt x="117" y="907"/>
                      <a:pt x="108" y="911"/>
                      <a:pt x="103" y="911"/>
                    </a:cubicBezTo>
                    <a:cubicBezTo>
                      <a:pt x="99" y="911"/>
                      <a:pt x="98" y="919"/>
                      <a:pt x="94" y="923"/>
                    </a:cubicBezTo>
                    <a:cubicBezTo>
                      <a:pt x="91" y="926"/>
                      <a:pt x="92" y="932"/>
                      <a:pt x="88" y="936"/>
                    </a:cubicBezTo>
                    <a:cubicBezTo>
                      <a:pt x="84" y="940"/>
                      <a:pt x="86" y="953"/>
                      <a:pt x="88" y="957"/>
                    </a:cubicBezTo>
                    <a:cubicBezTo>
                      <a:pt x="90" y="962"/>
                      <a:pt x="80" y="976"/>
                      <a:pt x="74" y="980"/>
                    </a:cubicBezTo>
                    <a:cubicBezTo>
                      <a:pt x="68" y="984"/>
                      <a:pt x="67" y="992"/>
                      <a:pt x="57" y="994"/>
                    </a:cubicBezTo>
                    <a:cubicBezTo>
                      <a:pt x="54" y="994"/>
                      <a:pt x="51" y="996"/>
                      <a:pt x="49" y="999"/>
                    </a:cubicBezTo>
                    <a:cubicBezTo>
                      <a:pt x="46" y="1002"/>
                      <a:pt x="44" y="1007"/>
                      <a:pt x="43" y="1011"/>
                    </a:cubicBezTo>
                    <a:cubicBezTo>
                      <a:pt x="41" y="1018"/>
                      <a:pt x="28" y="1027"/>
                      <a:pt x="27" y="1037"/>
                    </a:cubicBezTo>
                    <a:cubicBezTo>
                      <a:pt x="27" y="1046"/>
                      <a:pt x="15" y="1060"/>
                      <a:pt x="7" y="1080"/>
                    </a:cubicBezTo>
                    <a:cubicBezTo>
                      <a:pt x="5" y="1085"/>
                      <a:pt x="4" y="1089"/>
                      <a:pt x="4" y="1093"/>
                    </a:cubicBezTo>
                    <a:cubicBezTo>
                      <a:pt x="3" y="1102"/>
                      <a:pt x="7" y="1105"/>
                      <a:pt x="10" y="1108"/>
                    </a:cubicBezTo>
                    <a:cubicBezTo>
                      <a:pt x="14" y="1113"/>
                      <a:pt x="7" y="1122"/>
                      <a:pt x="13" y="1131"/>
                    </a:cubicBezTo>
                    <a:cubicBezTo>
                      <a:pt x="18" y="1140"/>
                      <a:pt x="11" y="1153"/>
                      <a:pt x="9" y="1158"/>
                    </a:cubicBezTo>
                    <a:cubicBezTo>
                      <a:pt x="7" y="1161"/>
                      <a:pt x="7" y="1165"/>
                      <a:pt x="7" y="1170"/>
                    </a:cubicBezTo>
                    <a:cubicBezTo>
                      <a:pt x="6" y="1174"/>
                      <a:pt x="6" y="1178"/>
                      <a:pt x="4" y="1181"/>
                    </a:cubicBezTo>
                    <a:cubicBezTo>
                      <a:pt x="0" y="1188"/>
                      <a:pt x="6" y="1198"/>
                      <a:pt x="8" y="1201"/>
                    </a:cubicBezTo>
                    <a:cubicBezTo>
                      <a:pt x="9" y="1201"/>
                      <a:pt x="9" y="1202"/>
                      <a:pt x="9" y="1203"/>
                    </a:cubicBezTo>
                    <a:cubicBezTo>
                      <a:pt x="9" y="1206"/>
                      <a:pt x="8" y="1209"/>
                      <a:pt x="8" y="1212"/>
                    </a:cubicBezTo>
                    <a:cubicBezTo>
                      <a:pt x="7" y="1214"/>
                      <a:pt x="8" y="1216"/>
                      <a:pt x="9" y="1218"/>
                    </a:cubicBezTo>
                    <a:cubicBezTo>
                      <a:pt x="9" y="1219"/>
                      <a:pt x="10" y="1219"/>
                      <a:pt x="10" y="1220"/>
                    </a:cubicBezTo>
                    <a:cubicBezTo>
                      <a:pt x="13" y="1224"/>
                      <a:pt x="13" y="1226"/>
                      <a:pt x="19" y="1229"/>
                    </a:cubicBezTo>
                    <a:cubicBezTo>
                      <a:pt x="26" y="1231"/>
                      <a:pt x="19" y="1235"/>
                      <a:pt x="24" y="1239"/>
                    </a:cubicBezTo>
                    <a:cubicBezTo>
                      <a:pt x="25" y="1239"/>
                      <a:pt x="25" y="1240"/>
                      <a:pt x="26" y="1240"/>
                    </a:cubicBezTo>
                    <a:cubicBezTo>
                      <a:pt x="30" y="1244"/>
                      <a:pt x="29" y="1248"/>
                      <a:pt x="34" y="1252"/>
                    </a:cubicBezTo>
                    <a:cubicBezTo>
                      <a:pt x="38" y="1256"/>
                      <a:pt x="44" y="1261"/>
                      <a:pt x="47" y="1269"/>
                    </a:cubicBezTo>
                    <a:cubicBezTo>
                      <a:pt x="48" y="1271"/>
                      <a:pt x="48" y="1273"/>
                      <a:pt x="49" y="1274"/>
                    </a:cubicBezTo>
                    <a:cubicBezTo>
                      <a:pt x="51" y="1286"/>
                      <a:pt x="54" y="1288"/>
                      <a:pt x="58" y="1292"/>
                    </a:cubicBezTo>
                    <a:cubicBezTo>
                      <a:pt x="60" y="1294"/>
                      <a:pt x="63" y="1296"/>
                      <a:pt x="67" y="1299"/>
                    </a:cubicBezTo>
                    <a:cubicBezTo>
                      <a:pt x="72" y="1303"/>
                      <a:pt x="78" y="1307"/>
                      <a:pt x="82" y="1311"/>
                    </a:cubicBezTo>
                    <a:cubicBezTo>
                      <a:pt x="91" y="1319"/>
                      <a:pt x="103" y="1329"/>
                      <a:pt x="109" y="1332"/>
                    </a:cubicBezTo>
                    <a:cubicBezTo>
                      <a:pt x="110" y="1332"/>
                      <a:pt x="111" y="1332"/>
                      <a:pt x="112" y="1332"/>
                    </a:cubicBezTo>
                    <a:cubicBezTo>
                      <a:pt x="119" y="1332"/>
                      <a:pt x="131" y="1326"/>
                      <a:pt x="146" y="1323"/>
                    </a:cubicBezTo>
                    <a:cubicBezTo>
                      <a:pt x="155" y="1321"/>
                      <a:pt x="163" y="1323"/>
                      <a:pt x="169" y="1325"/>
                    </a:cubicBezTo>
                    <a:cubicBezTo>
                      <a:pt x="173" y="1326"/>
                      <a:pt x="176" y="1328"/>
                      <a:pt x="177" y="1328"/>
                    </a:cubicBezTo>
                    <a:cubicBezTo>
                      <a:pt x="179" y="1329"/>
                      <a:pt x="194" y="1321"/>
                      <a:pt x="200" y="1318"/>
                    </a:cubicBezTo>
                    <a:cubicBezTo>
                      <a:pt x="204" y="1315"/>
                      <a:pt x="209" y="1313"/>
                      <a:pt x="213" y="1311"/>
                    </a:cubicBezTo>
                    <a:cubicBezTo>
                      <a:pt x="214" y="1310"/>
                      <a:pt x="215" y="1310"/>
                      <a:pt x="215" y="1309"/>
                    </a:cubicBezTo>
                    <a:cubicBezTo>
                      <a:pt x="217" y="1307"/>
                      <a:pt x="219" y="1307"/>
                      <a:pt x="222" y="1306"/>
                    </a:cubicBezTo>
                    <a:cubicBezTo>
                      <a:pt x="225" y="1305"/>
                      <a:pt x="227" y="1305"/>
                      <a:pt x="229" y="1305"/>
                    </a:cubicBezTo>
                    <a:cubicBezTo>
                      <a:pt x="233" y="1305"/>
                      <a:pt x="235" y="1299"/>
                      <a:pt x="237" y="1302"/>
                    </a:cubicBezTo>
                    <a:cubicBezTo>
                      <a:pt x="237" y="1302"/>
                      <a:pt x="237" y="1302"/>
                      <a:pt x="238" y="1302"/>
                    </a:cubicBezTo>
                    <a:cubicBezTo>
                      <a:pt x="240" y="1306"/>
                      <a:pt x="249" y="1306"/>
                      <a:pt x="255" y="1308"/>
                    </a:cubicBezTo>
                    <a:cubicBezTo>
                      <a:pt x="260" y="1309"/>
                      <a:pt x="266" y="1318"/>
                      <a:pt x="266" y="1322"/>
                    </a:cubicBezTo>
                    <a:cubicBezTo>
                      <a:pt x="266" y="1325"/>
                      <a:pt x="269" y="1332"/>
                      <a:pt x="272" y="1334"/>
                    </a:cubicBezTo>
                    <a:cubicBezTo>
                      <a:pt x="274" y="1335"/>
                      <a:pt x="281" y="1331"/>
                      <a:pt x="284" y="1331"/>
                    </a:cubicBezTo>
                    <a:cubicBezTo>
                      <a:pt x="287" y="1331"/>
                      <a:pt x="297" y="1331"/>
                      <a:pt x="299" y="1328"/>
                    </a:cubicBezTo>
                    <a:cubicBezTo>
                      <a:pt x="300" y="1328"/>
                      <a:pt x="300" y="1328"/>
                      <a:pt x="301" y="1328"/>
                    </a:cubicBezTo>
                    <a:cubicBezTo>
                      <a:pt x="302" y="1329"/>
                      <a:pt x="304" y="1333"/>
                      <a:pt x="306" y="1336"/>
                    </a:cubicBezTo>
                    <a:cubicBezTo>
                      <a:pt x="308" y="1340"/>
                      <a:pt x="313" y="1337"/>
                      <a:pt x="315" y="1338"/>
                    </a:cubicBezTo>
                    <a:cubicBezTo>
                      <a:pt x="316" y="1340"/>
                      <a:pt x="319" y="1349"/>
                      <a:pt x="318" y="1352"/>
                    </a:cubicBezTo>
                    <a:cubicBezTo>
                      <a:pt x="317" y="1354"/>
                      <a:pt x="314" y="1361"/>
                      <a:pt x="316" y="1364"/>
                    </a:cubicBezTo>
                    <a:cubicBezTo>
                      <a:pt x="316" y="1364"/>
                      <a:pt x="316" y="1364"/>
                      <a:pt x="316" y="1365"/>
                    </a:cubicBezTo>
                    <a:cubicBezTo>
                      <a:pt x="317" y="1368"/>
                      <a:pt x="317" y="1372"/>
                      <a:pt x="313" y="1374"/>
                    </a:cubicBezTo>
                    <a:cubicBezTo>
                      <a:pt x="309" y="1375"/>
                      <a:pt x="310" y="1379"/>
                      <a:pt x="313" y="1379"/>
                    </a:cubicBezTo>
                    <a:cubicBezTo>
                      <a:pt x="314" y="1379"/>
                      <a:pt x="314" y="1381"/>
                      <a:pt x="313" y="1383"/>
                    </a:cubicBezTo>
                    <a:cubicBezTo>
                      <a:pt x="312" y="1384"/>
                      <a:pt x="312" y="1385"/>
                      <a:pt x="311" y="1386"/>
                    </a:cubicBezTo>
                    <a:cubicBezTo>
                      <a:pt x="309" y="1387"/>
                      <a:pt x="315" y="1390"/>
                      <a:pt x="315" y="1393"/>
                    </a:cubicBezTo>
                    <a:cubicBezTo>
                      <a:pt x="316" y="1395"/>
                      <a:pt x="309" y="1394"/>
                      <a:pt x="309" y="1398"/>
                    </a:cubicBezTo>
                    <a:cubicBezTo>
                      <a:pt x="309" y="1402"/>
                      <a:pt x="307" y="1405"/>
                      <a:pt x="304" y="1407"/>
                    </a:cubicBezTo>
                    <a:cubicBezTo>
                      <a:pt x="302" y="1409"/>
                      <a:pt x="310" y="1417"/>
                      <a:pt x="310" y="1419"/>
                    </a:cubicBezTo>
                    <a:cubicBezTo>
                      <a:pt x="310" y="1422"/>
                      <a:pt x="312" y="1424"/>
                      <a:pt x="319" y="1432"/>
                    </a:cubicBezTo>
                    <a:cubicBezTo>
                      <a:pt x="325" y="1439"/>
                      <a:pt x="322" y="1441"/>
                      <a:pt x="330" y="1449"/>
                    </a:cubicBezTo>
                    <a:cubicBezTo>
                      <a:pt x="330" y="1450"/>
                      <a:pt x="331" y="1450"/>
                      <a:pt x="331" y="1450"/>
                    </a:cubicBezTo>
                    <a:cubicBezTo>
                      <a:pt x="336" y="1455"/>
                      <a:pt x="339" y="1460"/>
                      <a:pt x="341" y="1465"/>
                    </a:cubicBezTo>
                    <a:cubicBezTo>
                      <a:pt x="343" y="1470"/>
                      <a:pt x="344" y="1476"/>
                      <a:pt x="345" y="1480"/>
                    </a:cubicBezTo>
                    <a:cubicBezTo>
                      <a:pt x="345" y="1481"/>
                      <a:pt x="345" y="1481"/>
                      <a:pt x="345" y="1482"/>
                    </a:cubicBezTo>
                    <a:cubicBezTo>
                      <a:pt x="348" y="1491"/>
                      <a:pt x="354" y="1507"/>
                      <a:pt x="356" y="1511"/>
                    </a:cubicBezTo>
                    <a:cubicBezTo>
                      <a:pt x="357" y="1514"/>
                      <a:pt x="354" y="1518"/>
                      <a:pt x="354" y="1525"/>
                    </a:cubicBezTo>
                    <a:cubicBezTo>
                      <a:pt x="354" y="1532"/>
                      <a:pt x="360" y="1545"/>
                      <a:pt x="361" y="1554"/>
                    </a:cubicBezTo>
                    <a:cubicBezTo>
                      <a:pt x="362" y="1563"/>
                      <a:pt x="357" y="1568"/>
                      <a:pt x="353" y="1574"/>
                    </a:cubicBezTo>
                    <a:cubicBezTo>
                      <a:pt x="349" y="1580"/>
                      <a:pt x="344" y="1593"/>
                      <a:pt x="344" y="1601"/>
                    </a:cubicBezTo>
                    <a:cubicBezTo>
                      <a:pt x="344" y="1609"/>
                      <a:pt x="338" y="1617"/>
                      <a:pt x="338" y="1620"/>
                    </a:cubicBezTo>
                    <a:cubicBezTo>
                      <a:pt x="339" y="1624"/>
                      <a:pt x="337" y="1635"/>
                      <a:pt x="337" y="1639"/>
                    </a:cubicBezTo>
                    <a:cubicBezTo>
                      <a:pt x="337" y="1639"/>
                      <a:pt x="337" y="1639"/>
                      <a:pt x="337" y="1639"/>
                    </a:cubicBezTo>
                    <a:cubicBezTo>
                      <a:pt x="336" y="1644"/>
                      <a:pt x="340" y="1651"/>
                      <a:pt x="343" y="1658"/>
                    </a:cubicBezTo>
                    <a:cubicBezTo>
                      <a:pt x="347" y="1664"/>
                      <a:pt x="352" y="1676"/>
                      <a:pt x="355" y="1686"/>
                    </a:cubicBezTo>
                    <a:cubicBezTo>
                      <a:pt x="357" y="1696"/>
                      <a:pt x="364" y="1707"/>
                      <a:pt x="366" y="1715"/>
                    </a:cubicBezTo>
                    <a:cubicBezTo>
                      <a:pt x="368" y="1722"/>
                      <a:pt x="365" y="1733"/>
                      <a:pt x="367" y="1738"/>
                    </a:cubicBezTo>
                    <a:cubicBezTo>
                      <a:pt x="369" y="1743"/>
                      <a:pt x="370" y="1751"/>
                      <a:pt x="371" y="1760"/>
                    </a:cubicBezTo>
                    <a:cubicBezTo>
                      <a:pt x="372" y="1768"/>
                      <a:pt x="373" y="1786"/>
                      <a:pt x="379" y="1793"/>
                    </a:cubicBezTo>
                    <a:cubicBezTo>
                      <a:pt x="381" y="1796"/>
                      <a:pt x="384" y="1800"/>
                      <a:pt x="386" y="1804"/>
                    </a:cubicBezTo>
                    <a:cubicBezTo>
                      <a:pt x="390" y="1812"/>
                      <a:pt x="393" y="1820"/>
                      <a:pt x="395" y="1827"/>
                    </a:cubicBezTo>
                    <a:cubicBezTo>
                      <a:pt x="397" y="1837"/>
                      <a:pt x="404" y="1848"/>
                      <a:pt x="406" y="1854"/>
                    </a:cubicBezTo>
                    <a:cubicBezTo>
                      <a:pt x="408" y="1860"/>
                      <a:pt x="409" y="1866"/>
                      <a:pt x="406" y="1867"/>
                    </a:cubicBezTo>
                    <a:cubicBezTo>
                      <a:pt x="402" y="1868"/>
                      <a:pt x="402" y="1871"/>
                      <a:pt x="406" y="1878"/>
                    </a:cubicBezTo>
                    <a:cubicBezTo>
                      <a:pt x="410" y="1885"/>
                      <a:pt x="407" y="1889"/>
                      <a:pt x="410" y="1890"/>
                    </a:cubicBezTo>
                    <a:cubicBezTo>
                      <a:pt x="413" y="1891"/>
                      <a:pt x="412" y="1893"/>
                      <a:pt x="415" y="1894"/>
                    </a:cubicBezTo>
                    <a:cubicBezTo>
                      <a:pt x="417" y="1894"/>
                      <a:pt x="419" y="1897"/>
                      <a:pt x="421" y="1899"/>
                    </a:cubicBezTo>
                    <a:cubicBezTo>
                      <a:pt x="422" y="1902"/>
                      <a:pt x="426" y="1902"/>
                      <a:pt x="428" y="1899"/>
                    </a:cubicBezTo>
                    <a:cubicBezTo>
                      <a:pt x="430" y="1896"/>
                      <a:pt x="436" y="1895"/>
                      <a:pt x="442" y="1895"/>
                    </a:cubicBezTo>
                    <a:cubicBezTo>
                      <a:pt x="448" y="1895"/>
                      <a:pt x="447" y="1891"/>
                      <a:pt x="453" y="1889"/>
                    </a:cubicBezTo>
                    <a:cubicBezTo>
                      <a:pt x="458" y="1887"/>
                      <a:pt x="465" y="1887"/>
                      <a:pt x="470" y="1889"/>
                    </a:cubicBezTo>
                    <a:cubicBezTo>
                      <a:pt x="475" y="1891"/>
                      <a:pt x="479" y="1889"/>
                      <a:pt x="481" y="1888"/>
                    </a:cubicBezTo>
                    <a:cubicBezTo>
                      <a:pt x="484" y="1886"/>
                      <a:pt x="488" y="1890"/>
                      <a:pt x="489" y="1886"/>
                    </a:cubicBezTo>
                    <a:cubicBezTo>
                      <a:pt x="489" y="1881"/>
                      <a:pt x="494" y="1882"/>
                      <a:pt x="498" y="1882"/>
                    </a:cubicBezTo>
                    <a:cubicBezTo>
                      <a:pt x="503" y="1882"/>
                      <a:pt x="514" y="1873"/>
                      <a:pt x="522" y="1864"/>
                    </a:cubicBezTo>
                    <a:cubicBezTo>
                      <a:pt x="531" y="1854"/>
                      <a:pt x="545" y="1833"/>
                      <a:pt x="550" y="1823"/>
                    </a:cubicBezTo>
                    <a:cubicBezTo>
                      <a:pt x="554" y="1814"/>
                      <a:pt x="562" y="1806"/>
                      <a:pt x="566" y="1801"/>
                    </a:cubicBezTo>
                    <a:cubicBezTo>
                      <a:pt x="569" y="1798"/>
                      <a:pt x="571" y="1787"/>
                      <a:pt x="572" y="1779"/>
                    </a:cubicBezTo>
                    <a:cubicBezTo>
                      <a:pt x="572" y="1776"/>
                      <a:pt x="572" y="1773"/>
                      <a:pt x="572" y="1772"/>
                    </a:cubicBezTo>
                    <a:cubicBezTo>
                      <a:pt x="572" y="1765"/>
                      <a:pt x="569" y="1770"/>
                      <a:pt x="568" y="1766"/>
                    </a:cubicBezTo>
                    <a:cubicBezTo>
                      <a:pt x="566" y="1762"/>
                      <a:pt x="576" y="1755"/>
                      <a:pt x="586" y="1750"/>
                    </a:cubicBezTo>
                    <a:cubicBezTo>
                      <a:pt x="595" y="1746"/>
                      <a:pt x="599" y="1744"/>
                      <a:pt x="600" y="1740"/>
                    </a:cubicBezTo>
                    <a:cubicBezTo>
                      <a:pt x="601" y="1735"/>
                      <a:pt x="600" y="1724"/>
                      <a:pt x="601" y="1719"/>
                    </a:cubicBezTo>
                    <a:cubicBezTo>
                      <a:pt x="603" y="1715"/>
                      <a:pt x="601" y="1712"/>
                      <a:pt x="599" y="1702"/>
                    </a:cubicBezTo>
                    <a:cubicBezTo>
                      <a:pt x="598" y="1692"/>
                      <a:pt x="595" y="1690"/>
                      <a:pt x="594" y="1684"/>
                    </a:cubicBezTo>
                    <a:cubicBezTo>
                      <a:pt x="592" y="1679"/>
                      <a:pt x="593" y="1674"/>
                      <a:pt x="596" y="1674"/>
                    </a:cubicBezTo>
                    <a:cubicBezTo>
                      <a:pt x="598" y="1674"/>
                      <a:pt x="598" y="1672"/>
                      <a:pt x="601" y="1667"/>
                    </a:cubicBezTo>
                    <a:cubicBezTo>
                      <a:pt x="603" y="1661"/>
                      <a:pt x="606" y="1663"/>
                      <a:pt x="611" y="1659"/>
                    </a:cubicBezTo>
                    <a:cubicBezTo>
                      <a:pt x="615" y="1655"/>
                      <a:pt x="615" y="1650"/>
                      <a:pt x="623" y="1643"/>
                    </a:cubicBezTo>
                    <a:cubicBezTo>
                      <a:pt x="630" y="1636"/>
                      <a:pt x="638" y="1637"/>
                      <a:pt x="645" y="1632"/>
                    </a:cubicBezTo>
                    <a:cubicBezTo>
                      <a:pt x="652" y="1626"/>
                      <a:pt x="665" y="1606"/>
                      <a:pt x="664" y="1603"/>
                    </a:cubicBezTo>
                    <a:cubicBezTo>
                      <a:pt x="662" y="1599"/>
                      <a:pt x="660" y="1582"/>
                      <a:pt x="661" y="1576"/>
                    </a:cubicBezTo>
                    <a:cubicBezTo>
                      <a:pt x="661" y="1569"/>
                      <a:pt x="660" y="1551"/>
                      <a:pt x="660" y="1542"/>
                    </a:cubicBezTo>
                    <a:cubicBezTo>
                      <a:pt x="660" y="1542"/>
                      <a:pt x="660" y="1542"/>
                      <a:pt x="660" y="1542"/>
                    </a:cubicBezTo>
                    <a:cubicBezTo>
                      <a:pt x="659" y="1534"/>
                      <a:pt x="652" y="1538"/>
                      <a:pt x="651" y="1529"/>
                    </a:cubicBezTo>
                    <a:cubicBezTo>
                      <a:pt x="651" y="1521"/>
                      <a:pt x="647" y="1521"/>
                      <a:pt x="647" y="1515"/>
                    </a:cubicBezTo>
                    <a:cubicBezTo>
                      <a:pt x="647" y="1510"/>
                      <a:pt x="648" y="1504"/>
                      <a:pt x="646" y="1504"/>
                    </a:cubicBezTo>
                    <a:cubicBezTo>
                      <a:pt x="644" y="1503"/>
                      <a:pt x="645" y="1498"/>
                      <a:pt x="648" y="1493"/>
                    </a:cubicBezTo>
                    <a:cubicBezTo>
                      <a:pt x="651" y="1488"/>
                      <a:pt x="643" y="1488"/>
                      <a:pt x="642" y="1482"/>
                    </a:cubicBezTo>
                    <a:cubicBezTo>
                      <a:pt x="641" y="1479"/>
                      <a:pt x="644" y="1470"/>
                      <a:pt x="647" y="1461"/>
                    </a:cubicBezTo>
                    <a:cubicBezTo>
                      <a:pt x="651" y="1448"/>
                      <a:pt x="657" y="1433"/>
                      <a:pt x="658" y="1430"/>
                    </a:cubicBezTo>
                    <a:cubicBezTo>
                      <a:pt x="661" y="1426"/>
                      <a:pt x="663" y="1427"/>
                      <a:pt x="666" y="1423"/>
                    </a:cubicBezTo>
                    <a:cubicBezTo>
                      <a:pt x="668" y="1420"/>
                      <a:pt x="669" y="1425"/>
                      <a:pt x="672" y="1418"/>
                    </a:cubicBezTo>
                    <a:cubicBezTo>
                      <a:pt x="672" y="1418"/>
                      <a:pt x="673" y="1417"/>
                      <a:pt x="673" y="1417"/>
                    </a:cubicBezTo>
                    <a:cubicBezTo>
                      <a:pt x="677" y="1409"/>
                      <a:pt x="690" y="1396"/>
                      <a:pt x="699" y="1384"/>
                    </a:cubicBezTo>
                    <a:cubicBezTo>
                      <a:pt x="708" y="1372"/>
                      <a:pt x="713" y="1369"/>
                      <a:pt x="719" y="1366"/>
                    </a:cubicBezTo>
                    <a:cubicBezTo>
                      <a:pt x="724" y="1362"/>
                      <a:pt x="738" y="1346"/>
                      <a:pt x="747" y="1332"/>
                    </a:cubicBezTo>
                    <a:cubicBezTo>
                      <a:pt x="753" y="1323"/>
                      <a:pt x="760" y="1313"/>
                      <a:pt x="761" y="1306"/>
                    </a:cubicBezTo>
                    <a:cubicBezTo>
                      <a:pt x="762" y="1300"/>
                      <a:pt x="767" y="1291"/>
                      <a:pt x="771" y="1285"/>
                    </a:cubicBezTo>
                    <a:cubicBezTo>
                      <a:pt x="775" y="1278"/>
                      <a:pt x="782" y="1262"/>
                      <a:pt x="782" y="1257"/>
                    </a:cubicBezTo>
                    <a:cubicBezTo>
                      <a:pt x="782" y="1252"/>
                      <a:pt x="785" y="1242"/>
                      <a:pt x="786" y="1233"/>
                    </a:cubicBezTo>
                    <a:cubicBezTo>
                      <a:pt x="786" y="1224"/>
                      <a:pt x="780" y="1224"/>
                      <a:pt x="778" y="1229"/>
                    </a:cubicBezTo>
                    <a:cubicBezTo>
                      <a:pt x="777" y="1233"/>
                      <a:pt x="762" y="1237"/>
                      <a:pt x="752" y="1237"/>
                    </a:cubicBezTo>
                    <a:cubicBezTo>
                      <a:pt x="743" y="1237"/>
                      <a:pt x="737" y="1238"/>
                      <a:pt x="734" y="1242"/>
                    </a:cubicBezTo>
                    <a:cubicBezTo>
                      <a:pt x="731" y="1246"/>
                      <a:pt x="722" y="1241"/>
                      <a:pt x="719" y="1245"/>
                    </a:cubicBezTo>
                    <a:cubicBezTo>
                      <a:pt x="716" y="1250"/>
                      <a:pt x="704" y="1253"/>
                      <a:pt x="700" y="1243"/>
                    </a:cubicBezTo>
                    <a:cubicBezTo>
                      <a:pt x="698" y="1239"/>
                      <a:pt x="696" y="1237"/>
                      <a:pt x="694" y="1236"/>
                    </a:cubicBezTo>
                    <a:cubicBezTo>
                      <a:pt x="693" y="1236"/>
                      <a:pt x="693" y="1237"/>
                      <a:pt x="692" y="1238"/>
                    </a:cubicBezTo>
                    <a:cubicBezTo>
                      <a:pt x="693" y="1237"/>
                      <a:pt x="693" y="1236"/>
                      <a:pt x="694" y="1236"/>
                    </a:cubicBezTo>
                    <a:cubicBezTo>
                      <a:pt x="691" y="1234"/>
                      <a:pt x="688" y="1233"/>
                      <a:pt x="688" y="1232"/>
                    </a:cubicBezTo>
                    <a:cubicBezTo>
                      <a:pt x="686" y="1231"/>
                      <a:pt x="691" y="1227"/>
                      <a:pt x="694" y="1226"/>
                    </a:cubicBezTo>
                    <a:cubicBezTo>
                      <a:pt x="698" y="1225"/>
                      <a:pt x="696" y="1221"/>
                      <a:pt x="693" y="1218"/>
                    </a:cubicBezTo>
                    <a:cubicBezTo>
                      <a:pt x="693" y="1217"/>
                      <a:pt x="692" y="1217"/>
                      <a:pt x="692" y="1216"/>
                    </a:cubicBezTo>
                    <a:cubicBezTo>
                      <a:pt x="689" y="1213"/>
                      <a:pt x="685" y="1208"/>
                      <a:pt x="679" y="1200"/>
                    </a:cubicBezTo>
                    <a:cubicBezTo>
                      <a:pt x="673" y="1190"/>
                      <a:pt x="665" y="1184"/>
                      <a:pt x="661" y="1184"/>
                    </a:cubicBezTo>
                    <a:cubicBezTo>
                      <a:pt x="657" y="1184"/>
                      <a:pt x="656" y="1176"/>
                      <a:pt x="654" y="1176"/>
                    </a:cubicBezTo>
                    <a:cubicBezTo>
                      <a:pt x="651" y="1175"/>
                      <a:pt x="645" y="1163"/>
                      <a:pt x="645" y="1155"/>
                    </a:cubicBezTo>
                    <a:cubicBezTo>
                      <a:pt x="645" y="1151"/>
                      <a:pt x="642" y="1145"/>
                      <a:pt x="639" y="1140"/>
                    </a:cubicBezTo>
                    <a:cubicBezTo>
                      <a:pt x="636" y="1136"/>
                      <a:pt x="633" y="1133"/>
                      <a:pt x="632" y="1132"/>
                    </a:cubicBezTo>
                    <a:cubicBezTo>
                      <a:pt x="628" y="1130"/>
                      <a:pt x="625" y="1121"/>
                      <a:pt x="625" y="1110"/>
                    </a:cubicBezTo>
                    <a:cubicBezTo>
                      <a:pt x="625" y="1099"/>
                      <a:pt x="623" y="1091"/>
                      <a:pt x="622" y="1087"/>
                    </a:cubicBezTo>
                    <a:cubicBezTo>
                      <a:pt x="622" y="1084"/>
                      <a:pt x="617" y="1077"/>
                      <a:pt x="612" y="1073"/>
                    </a:cubicBezTo>
                    <a:cubicBezTo>
                      <a:pt x="608" y="1071"/>
                      <a:pt x="606" y="1067"/>
                      <a:pt x="606" y="1063"/>
                    </a:cubicBezTo>
                    <a:cubicBezTo>
                      <a:pt x="605" y="1061"/>
                      <a:pt x="605" y="1059"/>
                      <a:pt x="606" y="1057"/>
                    </a:cubicBezTo>
                    <a:cubicBezTo>
                      <a:pt x="606" y="1051"/>
                      <a:pt x="603" y="1051"/>
                      <a:pt x="600" y="1042"/>
                    </a:cubicBezTo>
                    <a:cubicBezTo>
                      <a:pt x="598" y="1033"/>
                      <a:pt x="588" y="1019"/>
                      <a:pt x="588" y="1013"/>
                    </a:cubicBezTo>
                    <a:cubicBezTo>
                      <a:pt x="588" y="1008"/>
                      <a:pt x="582" y="1005"/>
                      <a:pt x="583" y="999"/>
                    </a:cubicBezTo>
                    <a:cubicBezTo>
                      <a:pt x="583" y="994"/>
                      <a:pt x="580" y="993"/>
                      <a:pt x="575" y="984"/>
                    </a:cubicBezTo>
                    <a:cubicBezTo>
                      <a:pt x="569" y="975"/>
                      <a:pt x="568" y="959"/>
                      <a:pt x="569" y="959"/>
                    </a:cubicBezTo>
                    <a:cubicBezTo>
                      <a:pt x="571" y="958"/>
                      <a:pt x="575" y="972"/>
                      <a:pt x="577" y="976"/>
                    </a:cubicBezTo>
                    <a:cubicBezTo>
                      <a:pt x="579" y="981"/>
                      <a:pt x="585" y="995"/>
                      <a:pt x="589" y="995"/>
                    </a:cubicBezTo>
                    <a:cubicBezTo>
                      <a:pt x="593" y="995"/>
                      <a:pt x="594" y="974"/>
                      <a:pt x="596" y="975"/>
                    </a:cubicBezTo>
                    <a:cubicBezTo>
                      <a:pt x="596" y="975"/>
                      <a:pt x="596" y="975"/>
                      <a:pt x="596" y="976"/>
                    </a:cubicBezTo>
                    <a:cubicBezTo>
                      <a:pt x="597" y="978"/>
                      <a:pt x="596" y="990"/>
                      <a:pt x="598" y="991"/>
                    </a:cubicBezTo>
                    <a:cubicBezTo>
                      <a:pt x="601" y="992"/>
                      <a:pt x="602" y="998"/>
                      <a:pt x="607" y="1005"/>
                    </a:cubicBezTo>
                    <a:cubicBezTo>
                      <a:pt x="613" y="1012"/>
                      <a:pt x="624" y="1031"/>
                      <a:pt x="624" y="1036"/>
                    </a:cubicBezTo>
                    <a:cubicBezTo>
                      <a:pt x="624" y="1041"/>
                      <a:pt x="626" y="1046"/>
                      <a:pt x="633" y="1052"/>
                    </a:cubicBezTo>
                    <a:cubicBezTo>
                      <a:pt x="640" y="1057"/>
                      <a:pt x="640" y="1064"/>
                      <a:pt x="643" y="1067"/>
                    </a:cubicBezTo>
                    <a:cubicBezTo>
                      <a:pt x="647" y="1070"/>
                      <a:pt x="646" y="1074"/>
                      <a:pt x="646" y="1082"/>
                    </a:cubicBezTo>
                    <a:cubicBezTo>
                      <a:pt x="646" y="1091"/>
                      <a:pt x="650" y="1101"/>
                      <a:pt x="656" y="1106"/>
                    </a:cubicBezTo>
                    <a:cubicBezTo>
                      <a:pt x="662" y="1110"/>
                      <a:pt x="666" y="1115"/>
                      <a:pt x="669" y="1124"/>
                    </a:cubicBezTo>
                    <a:cubicBezTo>
                      <a:pt x="672" y="1133"/>
                      <a:pt x="676" y="1140"/>
                      <a:pt x="680" y="1145"/>
                    </a:cubicBezTo>
                    <a:cubicBezTo>
                      <a:pt x="684" y="1150"/>
                      <a:pt x="681" y="1152"/>
                      <a:pt x="684" y="1156"/>
                    </a:cubicBezTo>
                    <a:cubicBezTo>
                      <a:pt x="685" y="1158"/>
                      <a:pt x="686" y="1161"/>
                      <a:pt x="687" y="1164"/>
                    </a:cubicBezTo>
                    <a:cubicBezTo>
                      <a:pt x="688" y="1167"/>
                      <a:pt x="689" y="1170"/>
                      <a:pt x="688" y="1172"/>
                    </a:cubicBezTo>
                    <a:cubicBezTo>
                      <a:pt x="687" y="1177"/>
                      <a:pt x="688" y="1188"/>
                      <a:pt x="692" y="1195"/>
                    </a:cubicBezTo>
                    <a:cubicBezTo>
                      <a:pt x="695" y="1201"/>
                      <a:pt x="694" y="1213"/>
                      <a:pt x="696" y="1215"/>
                    </a:cubicBezTo>
                    <a:cubicBezTo>
                      <a:pt x="697" y="1217"/>
                      <a:pt x="711" y="1217"/>
                      <a:pt x="717" y="1212"/>
                    </a:cubicBezTo>
                    <a:cubicBezTo>
                      <a:pt x="723" y="1207"/>
                      <a:pt x="727" y="1206"/>
                      <a:pt x="732" y="1206"/>
                    </a:cubicBezTo>
                    <a:cubicBezTo>
                      <a:pt x="736" y="1206"/>
                      <a:pt x="743" y="1201"/>
                      <a:pt x="744" y="1199"/>
                    </a:cubicBezTo>
                    <a:cubicBezTo>
                      <a:pt x="746" y="1197"/>
                      <a:pt x="753" y="1196"/>
                      <a:pt x="756" y="1197"/>
                    </a:cubicBezTo>
                    <a:cubicBezTo>
                      <a:pt x="759" y="1197"/>
                      <a:pt x="762" y="1193"/>
                      <a:pt x="765" y="1189"/>
                    </a:cubicBezTo>
                    <a:cubicBezTo>
                      <a:pt x="768" y="1185"/>
                      <a:pt x="778" y="1184"/>
                      <a:pt x="789" y="1180"/>
                    </a:cubicBezTo>
                    <a:cubicBezTo>
                      <a:pt x="800" y="1176"/>
                      <a:pt x="798" y="1170"/>
                      <a:pt x="800" y="1166"/>
                    </a:cubicBezTo>
                    <a:cubicBezTo>
                      <a:pt x="802" y="1163"/>
                      <a:pt x="805" y="1164"/>
                      <a:pt x="810" y="1161"/>
                    </a:cubicBezTo>
                    <a:cubicBezTo>
                      <a:pt x="811" y="1161"/>
                      <a:pt x="812" y="1160"/>
                      <a:pt x="813" y="1160"/>
                    </a:cubicBezTo>
                    <a:cubicBezTo>
                      <a:pt x="820" y="1155"/>
                      <a:pt x="827" y="1157"/>
                      <a:pt x="832" y="1156"/>
                    </a:cubicBezTo>
                    <a:cubicBezTo>
                      <a:pt x="837" y="1154"/>
                      <a:pt x="832" y="1149"/>
                      <a:pt x="836" y="1145"/>
                    </a:cubicBezTo>
                    <a:cubicBezTo>
                      <a:pt x="841" y="1141"/>
                      <a:pt x="847" y="1144"/>
                      <a:pt x="849" y="1142"/>
                    </a:cubicBezTo>
                    <a:cubicBezTo>
                      <a:pt x="851" y="1141"/>
                      <a:pt x="853" y="1132"/>
                      <a:pt x="857" y="1130"/>
                    </a:cubicBezTo>
                    <a:cubicBezTo>
                      <a:pt x="860" y="1128"/>
                      <a:pt x="864" y="1129"/>
                      <a:pt x="864" y="1125"/>
                    </a:cubicBezTo>
                    <a:cubicBezTo>
                      <a:pt x="863" y="1121"/>
                      <a:pt x="864" y="1107"/>
                      <a:pt x="868" y="1107"/>
                    </a:cubicBezTo>
                    <a:cubicBezTo>
                      <a:pt x="871" y="1106"/>
                      <a:pt x="877" y="1101"/>
                      <a:pt x="877" y="1099"/>
                    </a:cubicBezTo>
                    <a:cubicBezTo>
                      <a:pt x="877" y="1096"/>
                      <a:pt x="885" y="1087"/>
                      <a:pt x="887" y="1083"/>
                    </a:cubicBezTo>
                    <a:cubicBezTo>
                      <a:pt x="889" y="1078"/>
                      <a:pt x="889" y="1076"/>
                      <a:pt x="886" y="1075"/>
                    </a:cubicBezTo>
                    <a:cubicBezTo>
                      <a:pt x="883" y="1074"/>
                      <a:pt x="878" y="1064"/>
                      <a:pt x="876" y="1061"/>
                    </a:cubicBezTo>
                    <a:cubicBezTo>
                      <a:pt x="875" y="1057"/>
                      <a:pt x="865" y="1060"/>
                      <a:pt x="857" y="1052"/>
                    </a:cubicBezTo>
                    <a:cubicBezTo>
                      <a:pt x="854" y="1049"/>
                      <a:pt x="852" y="1043"/>
                      <a:pt x="851" y="1037"/>
                    </a:cubicBezTo>
                    <a:cubicBezTo>
                      <a:pt x="849" y="1029"/>
                      <a:pt x="849" y="1020"/>
                      <a:pt x="847" y="1020"/>
                    </a:cubicBezTo>
                    <a:cubicBezTo>
                      <a:pt x="845" y="1020"/>
                      <a:pt x="837" y="1031"/>
                      <a:pt x="834" y="1039"/>
                    </a:cubicBezTo>
                    <a:cubicBezTo>
                      <a:pt x="830" y="1047"/>
                      <a:pt x="820" y="1053"/>
                      <a:pt x="812" y="1051"/>
                    </a:cubicBezTo>
                    <a:cubicBezTo>
                      <a:pt x="803" y="1049"/>
                      <a:pt x="800" y="1053"/>
                      <a:pt x="798" y="1055"/>
                    </a:cubicBezTo>
                    <a:cubicBezTo>
                      <a:pt x="798" y="1056"/>
                      <a:pt x="797" y="1055"/>
                      <a:pt x="796" y="1054"/>
                    </a:cubicBezTo>
                    <a:cubicBezTo>
                      <a:pt x="794" y="1053"/>
                      <a:pt x="791" y="1049"/>
                      <a:pt x="791" y="1046"/>
                    </a:cubicBezTo>
                    <a:cubicBezTo>
                      <a:pt x="791" y="1044"/>
                      <a:pt x="791" y="1043"/>
                      <a:pt x="791" y="1042"/>
                    </a:cubicBezTo>
                    <a:cubicBezTo>
                      <a:pt x="793" y="1037"/>
                      <a:pt x="795" y="1026"/>
                      <a:pt x="790" y="1024"/>
                    </a:cubicBezTo>
                    <a:cubicBezTo>
                      <a:pt x="785" y="1022"/>
                      <a:pt x="782" y="1034"/>
                      <a:pt x="782" y="1037"/>
                    </a:cubicBezTo>
                    <a:cubicBezTo>
                      <a:pt x="782" y="1038"/>
                      <a:pt x="782" y="1038"/>
                      <a:pt x="781" y="1038"/>
                    </a:cubicBezTo>
                    <a:cubicBezTo>
                      <a:pt x="779" y="1036"/>
                      <a:pt x="773" y="1026"/>
                      <a:pt x="775" y="1023"/>
                    </a:cubicBezTo>
                    <a:cubicBezTo>
                      <a:pt x="778" y="1019"/>
                      <a:pt x="774" y="1012"/>
                      <a:pt x="770" y="1008"/>
                    </a:cubicBezTo>
                    <a:cubicBezTo>
                      <a:pt x="766" y="1004"/>
                      <a:pt x="758" y="996"/>
                      <a:pt x="758" y="991"/>
                    </a:cubicBezTo>
                    <a:cubicBezTo>
                      <a:pt x="758" y="990"/>
                      <a:pt x="757" y="988"/>
                      <a:pt x="757" y="985"/>
                    </a:cubicBezTo>
                    <a:cubicBezTo>
                      <a:pt x="755" y="979"/>
                      <a:pt x="751" y="970"/>
                      <a:pt x="751" y="968"/>
                    </a:cubicBezTo>
                    <a:cubicBezTo>
                      <a:pt x="751" y="967"/>
                      <a:pt x="751" y="966"/>
                      <a:pt x="752" y="966"/>
                    </a:cubicBezTo>
                    <a:cubicBezTo>
                      <a:pt x="753" y="964"/>
                      <a:pt x="755" y="963"/>
                      <a:pt x="757" y="962"/>
                    </a:cubicBezTo>
                    <a:cubicBezTo>
                      <a:pt x="758" y="962"/>
                      <a:pt x="759" y="962"/>
                      <a:pt x="760" y="962"/>
                    </a:cubicBezTo>
                    <a:cubicBezTo>
                      <a:pt x="763" y="962"/>
                      <a:pt x="763" y="958"/>
                      <a:pt x="765" y="960"/>
                    </a:cubicBezTo>
                    <a:cubicBezTo>
                      <a:pt x="768" y="963"/>
                      <a:pt x="771" y="960"/>
                      <a:pt x="773" y="960"/>
                    </a:cubicBezTo>
                    <a:cubicBezTo>
                      <a:pt x="776" y="960"/>
                      <a:pt x="782" y="974"/>
                      <a:pt x="785" y="982"/>
                    </a:cubicBezTo>
                    <a:cubicBezTo>
                      <a:pt x="788" y="989"/>
                      <a:pt x="788" y="991"/>
                      <a:pt x="792" y="994"/>
                    </a:cubicBezTo>
                    <a:cubicBezTo>
                      <a:pt x="796" y="997"/>
                      <a:pt x="800" y="996"/>
                      <a:pt x="806" y="1003"/>
                    </a:cubicBezTo>
                    <a:cubicBezTo>
                      <a:pt x="811" y="1010"/>
                      <a:pt x="826" y="1014"/>
                      <a:pt x="832" y="1015"/>
                    </a:cubicBezTo>
                    <a:cubicBezTo>
                      <a:pt x="838" y="1015"/>
                      <a:pt x="843" y="1007"/>
                      <a:pt x="851" y="1009"/>
                    </a:cubicBezTo>
                    <a:cubicBezTo>
                      <a:pt x="859" y="1010"/>
                      <a:pt x="857" y="1022"/>
                      <a:pt x="860" y="1027"/>
                    </a:cubicBezTo>
                    <a:cubicBezTo>
                      <a:pt x="863" y="1031"/>
                      <a:pt x="894" y="1034"/>
                      <a:pt x="900" y="1036"/>
                    </a:cubicBezTo>
                    <a:cubicBezTo>
                      <a:pt x="902" y="1036"/>
                      <a:pt x="907" y="1037"/>
                      <a:pt x="912" y="1037"/>
                    </a:cubicBezTo>
                    <a:cubicBezTo>
                      <a:pt x="921" y="1037"/>
                      <a:pt x="932" y="1037"/>
                      <a:pt x="934" y="1035"/>
                    </a:cubicBezTo>
                    <a:cubicBezTo>
                      <a:pt x="935" y="1033"/>
                      <a:pt x="940" y="1031"/>
                      <a:pt x="942" y="1034"/>
                    </a:cubicBezTo>
                    <a:cubicBezTo>
                      <a:pt x="945" y="1036"/>
                      <a:pt x="957" y="1036"/>
                      <a:pt x="961" y="1033"/>
                    </a:cubicBezTo>
                    <a:cubicBezTo>
                      <a:pt x="967" y="1030"/>
                      <a:pt x="970" y="1033"/>
                      <a:pt x="970" y="1037"/>
                    </a:cubicBezTo>
                    <a:cubicBezTo>
                      <a:pt x="971" y="1040"/>
                      <a:pt x="973" y="1041"/>
                      <a:pt x="976" y="1044"/>
                    </a:cubicBezTo>
                    <a:cubicBezTo>
                      <a:pt x="978" y="1047"/>
                      <a:pt x="976" y="1050"/>
                      <a:pt x="978" y="1054"/>
                    </a:cubicBezTo>
                    <a:cubicBezTo>
                      <a:pt x="980" y="1057"/>
                      <a:pt x="983" y="1056"/>
                      <a:pt x="988" y="1059"/>
                    </a:cubicBezTo>
                    <a:cubicBezTo>
                      <a:pt x="989" y="1059"/>
                      <a:pt x="989" y="1060"/>
                      <a:pt x="990" y="1060"/>
                    </a:cubicBezTo>
                    <a:cubicBezTo>
                      <a:pt x="993" y="1064"/>
                      <a:pt x="995" y="1069"/>
                      <a:pt x="1001" y="1072"/>
                    </a:cubicBezTo>
                    <a:cubicBezTo>
                      <a:pt x="1007" y="1075"/>
                      <a:pt x="1013" y="1067"/>
                      <a:pt x="1013" y="1073"/>
                    </a:cubicBezTo>
                    <a:cubicBezTo>
                      <a:pt x="1013" y="1079"/>
                      <a:pt x="998" y="1078"/>
                      <a:pt x="997" y="1079"/>
                    </a:cubicBezTo>
                    <a:cubicBezTo>
                      <a:pt x="997" y="1081"/>
                      <a:pt x="1013" y="1105"/>
                      <a:pt x="1022" y="1103"/>
                    </a:cubicBezTo>
                    <a:cubicBezTo>
                      <a:pt x="1030" y="1102"/>
                      <a:pt x="1036" y="1091"/>
                      <a:pt x="1034" y="1089"/>
                    </a:cubicBezTo>
                    <a:cubicBezTo>
                      <a:pt x="1032" y="1087"/>
                      <a:pt x="1035" y="1081"/>
                      <a:pt x="1038" y="1082"/>
                    </a:cubicBezTo>
                    <a:cubicBezTo>
                      <a:pt x="1040" y="1083"/>
                      <a:pt x="1038" y="1094"/>
                      <a:pt x="1040" y="1096"/>
                    </a:cubicBezTo>
                    <a:cubicBezTo>
                      <a:pt x="1043" y="1099"/>
                      <a:pt x="1042" y="1103"/>
                      <a:pt x="1040" y="1109"/>
                    </a:cubicBezTo>
                    <a:cubicBezTo>
                      <a:pt x="1039" y="1115"/>
                      <a:pt x="1042" y="1126"/>
                      <a:pt x="1043" y="1132"/>
                    </a:cubicBezTo>
                    <a:cubicBezTo>
                      <a:pt x="1043" y="1139"/>
                      <a:pt x="1047" y="1148"/>
                      <a:pt x="1048" y="1157"/>
                    </a:cubicBezTo>
                    <a:cubicBezTo>
                      <a:pt x="1049" y="1167"/>
                      <a:pt x="1054" y="1184"/>
                      <a:pt x="1059" y="1194"/>
                    </a:cubicBezTo>
                    <a:cubicBezTo>
                      <a:pt x="1063" y="1205"/>
                      <a:pt x="1067" y="1225"/>
                      <a:pt x="1070" y="1230"/>
                    </a:cubicBezTo>
                    <a:cubicBezTo>
                      <a:pt x="1073" y="1235"/>
                      <a:pt x="1081" y="1250"/>
                      <a:pt x="1081" y="1259"/>
                    </a:cubicBezTo>
                    <a:cubicBezTo>
                      <a:pt x="1081" y="1268"/>
                      <a:pt x="1089" y="1281"/>
                      <a:pt x="1092" y="1284"/>
                    </a:cubicBezTo>
                    <a:cubicBezTo>
                      <a:pt x="1095" y="1286"/>
                      <a:pt x="1101" y="1281"/>
                      <a:pt x="1103" y="1275"/>
                    </a:cubicBezTo>
                    <a:cubicBezTo>
                      <a:pt x="1105" y="1269"/>
                      <a:pt x="1113" y="1267"/>
                      <a:pt x="1114" y="1262"/>
                    </a:cubicBezTo>
                    <a:cubicBezTo>
                      <a:pt x="1114" y="1257"/>
                      <a:pt x="1115" y="1253"/>
                      <a:pt x="1118" y="1253"/>
                    </a:cubicBezTo>
                    <a:cubicBezTo>
                      <a:pt x="1121" y="1252"/>
                      <a:pt x="1121" y="1248"/>
                      <a:pt x="1121" y="1243"/>
                    </a:cubicBezTo>
                    <a:cubicBezTo>
                      <a:pt x="1121" y="1238"/>
                      <a:pt x="1122" y="1230"/>
                      <a:pt x="1125" y="1225"/>
                    </a:cubicBezTo>
                    <a:cubicBezTo>
                      <a:pt x="1128" y="1221"/>
                      <a:pt x="1128" y="1208"/>
                      <a:pt x="1126" y="1203"/>
                    </a:cubicBezTo>
                    <a:cubicBezTo>
                      <a:pt x="1125" y="1198"/>
                      <a:pt x="1126" y="1191"/>
                      <a:pt x="1127" y="1185"/>
                    </a:cubicBezTo>
                    <a:cubicBezTo>
                      <a:pt x="1129" y="1180"/>
                      <a:pt x="1128" y="1174"/>
                      <a:pt x="1132" y="1174"/>
                    </a:cubicBezTo>
                    <a:cubicBezTo>
                      <a:pt x="1135" y="1174"/>
                      <a:pt x="1140" y="1170"/>
                      <a:pt x="1143" y="1165"/>
                    </a:cubicBezTo>
                    <a:cubicBezTo>
                      <a:pt x="1146" y="1159"/>
                      <a:pt x="1157" y="1152"/>
                      <a:pt x="1161" y="1148"/>
                    </a:cubicBezTo>
                    <a:cubicBezTo>
                      <a:pt x="1164" y="1144"/>
                      <a:pt x="1176" y="1132"/>
                      <a:pt x="1179" y="1125"/>
                    </a:cubicBezTo>
                    <a:cubicBezTo>
                      <a:pt x="1183" y="1119"/>
                      <a:pt x="1192" y="1116"/>
                      <a:pt x="1197" y="1111"/>
                    </a:cubicBezTo>
                    <a:cubicBezTo>
                      <a:pt x="1201" y="1105"/>
                      <a:pt x="1200" y="1102"/>
                      <a:pt x="1200" y="1096"/>
                    </a:cubicBezTo>
                    <a:cubicBezTo>
                      <a:pt x="1201" y="1090"/>
                      <a:pt x="1216" y="1088"/>
                      <a:pt x="1221" y="1088"/>
                    </a:cubicBezTo>
                    <a:cubicBezTo>
                      <a:pt x="1222" y="1088"/>
                      <a:pt x="1223" y="1088"/>
                      <a:pt x="1224" y="1088"/>
                    </a:cubicBezTo>
                    <a:cubicBezTo>
                      <a:pt x="1227" y="1087"/>
                      <a:pt x="1229" y="1085"/>
                      <a:pt x="1232" y="1085"/>
                    </a:cubicBezTo>
                    <a:cubicBezTo>
                      <a:pt x="1235" y="1085"/>
                      <a:pt x="1241" y="1085"/>
                      <a:pt x="1241" y="1080"/>
                    </a:cubicBezTo>
                    <a:cubicBezTo>
                      <a:pt x="1241" y="1075"/>
                      <a:pt x="1246" y="1072"/>
                      <a:pt x="1248" y="1073"/>
                    </a:cubicBezTo>
                    <a:cubicBezTo>
                      <a:pt x="1250" y="1074"/>
                      <a:pt x="1254" y="1086"/>
                      <a:pt x="1254" y="1092"/>
                    </a:cubicBezTo>
                    <a:cubicBezTo>
                      <a:pt x="1254" y="1094"/>
                      <a:pt x="1255" y="1096"/>
                      <a:pt x="1256" y="1099"/>
                    </a:cubicBezTo>
                    <a:cubicBezTo>
                      <a:pt x="1258" y="1104"/>
                      <a:pt x="1262" y="1110"/>
                      <a:pt x="1267" y="1113"/>
                    </a:cubicBezTo>
                    <a:cubicBezTo>
                      <a:pt x="1273" y="1116"/>
                      <a:pt x="1278" y="1132"/>
                      <a:pt x="1280" y="1141"/>
                    </a:cubicBezTo>
                    <a:cubicBezTo>
                      <a:pt x="1282" y="1149"/>
                      <a:pt x="1281" y="1158"/>
                      <a:pt x="1278" y="1163"/>
                    </a:cubicBezTo>
                    <a:cubicBezTo>
                      <a:pt x="1276" y="1168"/>
                      <a:pt x="1279" y="1168"/>
                      <a:pt x="1283" y="1171"/>
                    </a:cubicBezTo>
                    <a:cubicBezTo>
                      <a:pt x="1287" y="1173"/>
                      <a:pt x="1291" y="1174"/>
                      <a:pt x="1294" y="1169"/>
                    </a:cubicBezTo>
                    <a:close/>
                    <a:moveTo>
                      <a:pt x="766" y="698"/>
                    </a:moveTo>
                    <a:cubicBezTo>
                      <a:pt x="766" y="698"/>
                      <a:pt x="766" y="698"/>
                      <a:pt x="766" y="698"/>
                    </a:cubicBezTo>
                    <a:cubicBezTo>
                      <a:pt x="766" y="698"/>
                      <a:pt x="767" y="699"/>
                      <a:pt x="767" y="699"/>
                    </a:cubicBezTo>
                    <a:cubicBezTo>
                      <a:pt x="767" y="699"/>
                      <a:pt x="767" y="699"/>
                      <a:pt x="767" y="699"/>
                    </a:cubicBezTo>
                    <a:cubicBezTo>
                      <a:pt x="767" y="699"/>
                      <a:pt x="767" y="699"/>
                      <a:pt x="767" y="699"/>
                    </a:cubicBezTo>
                    <a:cubicBezTo>
                      <a:pt x="768" y="699"/>
                      <a:pt x="768" y="698"/>
                      <a:pt x="769" y="697"/>
                    </a:cubicBezTo>
                    <a:cubicBezTo>
                      <a:pt x="775" y="691"/>
                      <a:pt x="785" y="685"/>
                      <a:pt x="793" y="687"/>
                    </a:cubicBezTo>
                    <a:cubicBezTo>
                      <a:pt x="785" y="685"/>
                      <a:pt x="775" y="693"/>
                      <a:pt x="769" y="699"/>
                    </a:cubicBezTo>
                    <a:cubicBezTo>
                      <a:pt x="768" y="700"/>
                      <a:pt x="768" y="703"/>
                      <a:pt x="767" y="703"/>
                    </a:cubicBezTo>
                    <a:cubicBezTo>
                      <a:pt x="767" y="703"/>
                      <a:pt x="767" y="703"/>
                      <a:pt x="767" y="703"/>
                    </a:cubicBezTo>
                    <a:cubicBezTo>
                      <a:pt x="767" y="703"/>
                      <a:pt x="766" y="701"/>
                      <a:pt x="766" y="701"/>
                    </a:cubicBezTo>
                    <a:cubicBezTo>
                      <a:pt x="766" y="701"/>
                      <a:pt x="766" y="700"/>
                      <a:pt x="765" y="700"/>
                    </a:cubicBezTo>
                    <a:cubicBezTo>
                      <a:pt x="766" y="700"/>
                      <a:pt x="766" y="699"/>
                      <a:pt x="766" y="698"/>
                    </a:cubicBezTo>
                    <a:close/>
                    <a:moveTo>
                      <a:pt x="728" y="823"/>
                    </a:moveTo>
                    <a:cubicBezTo>
                      <a:pt x="729" y="823"/>
                      <a:pt x="729" y="823"/>
                      <a:pt x="730" y="823"/>
                    </a:cubicBezTo>
                    <a:cubicBezTo>
                      <a:pt x="730" y="823"/>
                      <a:pt x="730" y="822"/>
                      <a:pt x="730" y="822"/>
                    </a:cubicBezTo>
                    <a:cubicBezTo>
                      <a:pt x="730" y="823"/>
                      <a:pt x="730" y="823"/>
                      <a:pt x="730" y="823"/>
                    </a:cubicBezTo>
                    <a:cubicBezTo>
                      <a:pt x="729" y="823"/>
                      <a:pt x="729" y="823"/>
                      <a:pt x="728" y="823"/>
                    </a:cubicBezTo>
                    <a:cubicBezTo>
                      <a:pt x="728" y="823"/>
                      <a:pt x="728" y="823"/>
                      <a:pt x="728" y="823"/>
                    </a:cubicBezTo>
                    <a:cubicBezTo>
                      <a:pt x="727" y="823"/>
                      <a:pt x="727" y="823"/>
                      <a:pt x="726" y="823"/>
                    </a:cubicBezTo>
                    <a:cubicBezTo>
                      <a:pt x="727" y="823"/>
                      <a:pt x="727" y="823"/>
                      <a:pt x="728" y="823"/>
                    </a:cubicBezTo>
                    <a:close/>
                    <a:moveTo>
                      <a:pt x="795" y="862"/>
                    </a:moveTo>
                    <a:cubicBezTo>
                      <a:pt x="795" y="862"/>
                      <a:pt x="795" y="862"/>
                      <a:pt x="795" y="862"/>
                    </a:cubicBezTo>
                    <a:cubicBezTo>
                      <a:pt x="804" y="861"/>
                      <a:pt x="817" y="859"/>
                      <a:pt x="819" y="856"/>
                    </a:cubicBezTo>
                    <a:cubicBezTo>
                      <a:pt x="817" y="859"/>
                      <a:pt x="804" y="861"/>
                      <a:pt x="795" y="862"/>
                    </a:cubicBezTo>
                    <a:close/>
                  </a:path>
                </a:pathLst>
              </a:custGeom>
              <a:grpFill/>
              <a:ln w="9525">
                <a:solidFill>
                  <a:schemeClr val="bg2"/>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IN" dirty="0"/>
              </a:p>
            </p:txBody>
          </p:sp>
          <p:sp>
            <p:nvSpPr>
              <p:cNvPr id="41" name="Freeform 74">
                <a:extLst>
                  <a:ext uri="{FF2B5EF4-FFF2-40B4-BE49-F238E27FC236}">
                    <a16:creationId xmlns:a16="http://schemas.microsoft.com/office/drawing/2014/main" id="{821BD33C-4BAE-48E7-8680-953FEF45D4F9}"/>
                  </a:ext>
                </a:extLst>
              </p:cNvPr>
              <p:cNvSpPr>
                <a:spLocks/>
              </p:cNvSpPr>
              <p:nvPr/>
            </p:nvSpPr>
            <p:spPr bwMode="auto">
              <a:xfrm>
                <a:off x="3670301" y="2250509"/>
                <a:ext cx="4378607" cy="3351243"/>
              </a:xfrm>
              <a:custGeom>
                <a:avLst/>
                <a:gdLst>
                  <a:gd name="connsiteX0" fmla="*/ 1020762 w 4378607"/>
                  <a:gd name="connsiteY0" fmla="*/ 3340666 h 3351243"/>
                  <a:gd name="connsiteX1" fmla="*/ 1029652 w 4378607"/>
                  <a:gd name="connsiteY1" fmla="*/ 3345429 h 3351243"/>
                  <a:gd name="connsiteX2" fmla="*/ 1020762 w 4378607"/>
                  <a:gd name="connsiteY2" fmla="*/ 3340666 h 3351243"/>
                  <a:gd name="connsiteX3" fmla="*/ 1474284 w 4378607"/>
                  <a:gd name="connsiteY3" fmla="*/ 3328313 h 3351243"/>
                  <a:gd name="connsiteX4" fmla="*/ 1499733 w 4378607"/>
                  <a:gd name="connsiteY4" fmla="*/ 3346128 h 3351243"/>
                  <a:gd name="connsiteX5" fmla="*/ 1482044 w 4378607"/>
                  <a:gd name="connsiteY5" fmla="*/ 3339460 h 3351243"/>
                  <a:gd name="connsiteX6" fmla="*/ 1468437 w 4378607"/>
                  <a:gd name="connsiteY6" fmla="*/ 3328792 h 3351243"/>
                  <a:gd name="connsiteX7" fmla="*/ 1474284 w 4378607"/>
                  <a:gd name="connsiteY7" fmla="*/ 3328313 h 3351243"/>
                  <a:gd name="connsiteX8" fmla="*/ 995362 w 4378607"/>
                  <a:gd name="connsiteY8" fmla="*/ 3324791 h 3351243"/>
                  <a:gd name="connsiteX9" fmla="*/ 1020762 w 4378607"/>
                  <a:gd name="connsiteY9" fmla="*/ 3340666 h 3351243"/>
                  <a:gd name="connsiteX10" fmla="*/ 1019351 w 4378607"/>
                  <a:gd name="connsiteY10" fmla="*/ 3340666 h 3351243"/>
                  <a:gd name="connsiteX11" fmla="*/ 995362 w 4378607"/>
                  <a:gd name="connsiteY11" fmla="*/ 3324791 h 3351243"/>
                  <a:gd name="connsiteX12" fmla="*/ 1141893 w 4378607"/>
                  <a:gd name="connsiteY12" fmla="*/ 3259070 h 3351243"/>
                  <a:gd name="connsiteX13" fmla="*/ 1149602 w 4378607"/>
                  <a:gd name="connsiteY13" fmla="*/ 3262519 h 3351243"/>
                  <a:gd name="connsiteX14" fmla="*/ 1124266 w 4378607"/>
                  <a:gd name="connsiteY14" fmla="*/ 3276229 h 3351243"/>
                  <a:gd name="connsiteX15" fmla="*/ 1141893 w 4378607"/>
                  <a:gd name="connsiteY15" fmla="*/ 3259070 h 3351243"/>
                  <a:gd name="connsiteX16" fmla="*/ 1120330 w 4378607"/>
                  <a:gd name="connsiteY16" fmla="*/ 3253127 h 3351243"/>
                  <a:gd name="connsiteX17" fmla="*/ 1102169 w 4378607"/>
                  <a:gd name="connsiteY17" fmla="*/ 3274898 h 3351243"/>
                  <a:gd name="connsiteX18" fmla="*/ 1120330 w 4378607"/>
                  <a:gd name="connsiteY18" fmla="*/ 3253127 h 3351243"/>
                  <a:gd name="connsiteX19" fmla="*/ 2841283 w 4378607"/>
                  <a:gd name="connsiteY19" fmla="*/ 2403896 h 3351243"/>
                  <a:gd name="connsiteX20" fmla="*/ 2843100 w 4378607"/>
                  <a:gd name="connsiteY20" fmla="*/ 2407278 h 3351243"/>
                  <a:gd name="connsiteX21" fmla="*/ 2854049 w 4378607"/>
                  <a:gd name="connsiteY21" fmla="*/ 2438778 h 3351243"/>
                  <a:gd name="connsiteX22" fmla="*/ 2860891 w 4378607"/>
                  <a:gd name="connsiteY22" fmla="*/ 2474388 h 3351243"/>
                  <a:gd name="connsiteX23" fmla="*/ 2851312 w 4378607"/>
                  <a:gd name="connsiteY23" fmla="*/ 2477128 h 3351243"/>
                  <a:gd name="connsiteX24" fmla="*/ 2847206 w 4378607"/>
                  <a:gd name="connsiteY24" fmla="*/ 2489454 h 3351243"/>
                  <a:gd name="connsiteX25" fmla="*/ 2844469 w 4378607"/>
                  <a:gd name="connsiteY25" fmla="*/ 2509998 h 3351243"/>
                  <a:gd name="connsiteX26" fmla="*/ 2826678 w 4378607"/>
                  <a:gd name="connsiteY26" fmla="*/ 2583957 h 3351243"/>
                  <a:gd name="connsiteX27" fmla="*/ 2803413 w 4378607"/>
                  <a:gd name="connsiteY27" fmla="*/ 2663394 h 3351243"/>
                  <a:gd name="connsiteX28" fmla="*/ 2786991 w 4378607"/>
                  <a:gd name="connsiteY28" fmla="*/ 2671612 h 3351243"/>
                  <a:gd name="connsiteX29" fmla="*/ 2759620 w 4378607"/>
                  <a:gd name="connsiteY29" fmla="*/ 2663394 h 3351243"/>
                  <a:gd name="connsiteX30" fmla="*/ 2748672 w 4378607"/>
                  <a:gd name="connsiteY30" fmla="*/ 2626415 h 3351243"/>
                  <a:gd name="connsiteX31" fmla="*/ 2755515 w 4378607"/>
                  <a:gd name="connsiteY31" fmla="*/ 2581218 h 3351243"/>
                  <a:gd name="connsiteX32" fmla="*/ 2758252 w 4378607"/>
                  <a:gd name="connsiteY32" fmla="*/ 2542869 h 3351243"/>
                  <a:gd name="connsiteX33" fmla="*/ 2756883 w 4378607"/>
                  <a:gd name="connsiteY33" fmla="*/ 2508628 h 3351243"/>
                  <a:gd name="connsiteX34" fmla="*/ 2763726 w 4378607"/>
                  <a:gd name="connsiteY34" fmla="*/ 2482606 h 3351243"/>
                  <a:gd name="connsiteX35" fmla="*/ 2782885 w 4378607"/>
                  <a:gd name="connsiteY35" fmla="*/ 2478497 h 3351243"/>
                  <a:gd name="connsiteX36" fmla="*/ 2806150 w 4378607"/>
                  <a:gd name="connsiteY36" fmla="*/ 2464801 h 3351243"/>
                  <a:gd name="connsiteX37" fmla="*/ 2817098 w 4378607"/>
                  <a:gd name="connsiteY37" fmla="*/ 2453844 h 3351243"/>
                  <a:gd name="connsiteX38" fmla="*/ 2817098 w 4378607"/>
                  <a:gd name="connsiteY38" fmla="*/ 2442887 h 3351243"/>
                  <a:gd name="connsiteX39" fmla="*/ 2825309 w 4378607"/>
                  <a:gd name="connsiteY39" fmla="*/ 2434670 h 3351243"/>
                  <a:gd name="connsiteX40" fmla="*/ 2834889 w 4378607"/>
                  <a:gd name="connsiteY40" fmla="*/ 2426452 h 3351243"/>
                  <a:gd name="connsiteX41" fmla="*/ 2837626 w 4378607"/>
                  <a:gd name="connsiteY41" fmla="*/ 2412756 h 3351243"/>
                  <a:gd name="connsiteX42" fmla="*/ 2841283 w 4378607"/>
                  <a:gd name="connsiteY42" fmla="*/ 2403896 h 3351243"/>
                  <a:gd name="connsiteX43" fmla="*/ 4130987 w 4378607"/>
                  <a:gd name="connsiteY43" fmla="*/ 2399371 h 3351243"/>
                  <a:gd name="connsiteX44" fmla="*/ 4135436 w 4378607"/>
                  <a:gd name="connsiteY44" fmla="*/ 2401299 h 3351243"/>
                  <a:gd name="connsiteX45" fmla="*/ 4115384 w 4378607"/>
                  <a:gd name="connsiteY45" fmla="*/ 2406495 h 3351243"/>
                  <a:gd name="connsiteX46" fmla="*/ 4122903 w 4378607"/>
                  <a:gd name="connsiteY46" fmla="*/ 2400487 h 3351243"/>
                  <a:gd name="connsiteX47" fmla="*/ 4130987 w 4378607"/>
                  <a:gd name="connsiteY47" fmla="*/ 2399371 h 3351243"/>
                  <a:gd name="connsiteX48" fmla="*/ 4148070 w 4378607"/>
                  <a:gd name="connsiteY48" fmla="*/ 2392492 h 3351243"/>
                  <a:gd name="connsiteX49" fmla="*/ 4161745 w 4378607"/>
                  <a:gd name="connsiteY49" fmla="*/ 2403449 h 3351243"/>
                  <a:gd name="connsiteX50" fmla="*/ 4193198 w 4378607"/>
                  <a:gd name="connsiteY50" fmla="*/ 2414406 h 3351243"/>
                  <a:gd name="connsiteX51" fmla="*/ 4205506 w 4378607"/>
                  <a:gd name="connsiteY51" fmla="*/ 2408928 h 3351243"/>
                  <a:gd name="connsiteX52" fmla="*/ 4206873 w 4378607"/>
                  <a:gd name="connsiteY52" fmla="*/ 2411667 h 3351243"/>
                  <a:gd name="connsiteX53" fmla="*/ 3914226 w 4378607"/>
                  <a:gd name="connsiteY53" fmla="*/ 2878703 h 3351243"/>
                  <a:gd name="connsiteX54" fmla="*/ 3889611 w 4378607"/>
                  <a:gd name="connsiteY54" fmla="*/ 2874594 h 3351243"/>
                  <a:gd name="connsiteX55" fmla="*/ 3877303 w 4378607"/>
                  <a:gd name="connsiteY55" fmla="*/ 2862268 h 3351243"/>
                  <a:gd name="connsiteX56" fmla="*/ 3873200 w 4378607"/>
                  <a:gd name="connsiteY56" fmla="*/ 2848572 h 3351243"/>
                  <a:gd name="connsiteX57" fmla="*/ 3882773 w 4378607"/>
                  <a:gd name="connsiteY57" fmla="*/ 2833506 h 3351243"/>
                  <a:gd name="connsiteX58" fmla="*/ 3885508 w 4378607"/>
                  <a:gd name="connsiteY58" fmla="*/ 2808853 h 3351243"/>
                  <a:gd name="connsiteX59" fmla="*/ 3871833 w 4378607"/>
                  <a:gd name="connsiteY59" fmla="*/ 2765026 h 3351243"/>
                  <a:gd name="connsiteX60" fmla="*/ 3858158 w 4378607"/>
                  <a:gd name="connsiteY60" fmla="*/ 2729416 h 3351243"/>
                  <a:gd name="connsiteX61" fmla="*/ 3843115 w 4378607"/>
                  <a:gd name="connsiteY61" fmla="*/ 2686958 h 3351243"/>
                  <a:gd name="connsiteX62" fmla="*/ 3854055 w 4378607"/>
                  <a:gd name="connsiteY62" fmla="*/ 2696545 h 3351243"/>
                  <a:gd name="connsiteX63" fmla="*/ 3848585 w 4378607"/>
                  <a:gd name="connsiteY63" fmla="*/ 2682849 h 3351243"/>
                  <a:gd name="connsiteX64" fmla="*/ 3858158 w 4378607"/>
                  <a:gd name="connsiteY64" fmla="*/ 2692437 h 3351243"/>
                  <a:gd name="connsiteX65" fmla="*/ 3849953 w 4378607"/>
                  <a:gd name="connsiteY65" fmla="*/ 2667784 h 3351243"/>
                  <a:gd name="connsiteX66" fmla="*/ 3852688 w 4378607"/>
                  <a:gd name="connsiteY66" fmla="*/ 2637652 h 3351243"/>
                  <a:gd name="connsiteX67" fmla="*/ 3851320 w 4378607"/>
                  <a:gd name="connsiteY67" fmla="*/ 2615739 h 3351243"/>
                  <a:gd name="connsiteX68" fmla="*/ 3859525 w 4378607"/>
                  <a:gd name="connsiteY68" fmla="*/ 2602042 h 3351243"/>
                  <a:gd name="connsiteX69" fmla="*/ 3860893 w 4378607"/>
                  <a:gd name="connsiteY69" fmla="*/ 2612999 h 3351243"/>
                  <a:gd name="connsiteX70" fmla="*/ 3870465 w 4378607"/>
                  <a:gd name="connsiteY70" fmla="*/ 2599303 h 3351243"/>
                  <a:gd name="connsiteX71" fmla="*/ 3889611 w 4378607"/>
                  <a:gd name="connsiteY71" fmla="*/ 2586977 h 3351243"/>
                  <a:gd name="connsiteX72" fmla="*/ 3908756 w 4378607"/>
                  <a:gd name="connsiteY72" fmla="*/ 2581498 h 3351243"/>
                  <a:gd name="connsiteX73" fmla="*/ 3923798 w 4378607"/>
                  <a:gd name="connsiteY73" fmla="*/ 2573281 h 3351243"/>
                  <a:gd name="connsiteX74" fmla="*/ 3938841 w 4378607"/>
                  <a:gd name="connsiteY74" fmla="*/ 2567802 h 3351243"/>
                  <a:gd name="connsiteX75" fmla="*/ 3966192 w 4378607"/>
                  <a:gd name="connsiteY75" fmla="*/ 2558215 h 3351243"/>
                  <a:gd name="connsiteX76" fmla="*/ 3989439 w 4378607"/>
                  <a:gd name="connsiteY76" fmla="*/ 2530823 h 3351243"/>
                  <a:gd name="connsiteX77" fmla="*/ 3989439 w 4378607"/>
                  <a:gd name="connsiteY77" fmla="*/ 2508909 h 3351243"/>
                  <a:gd name="connsiteX78" fmla="*/ 4001747 w 4378607"/>
                  <a:gd name="connsiteY78" fmla="*/ 2500691 h 3351243"/>
                  <a:gd name="connsiteX79" fmla="*/ 4008584 w 4378607"/>
                  <a:gd name="connsiteY79" fmla="*/ 2515757 h 3351243"/>
                  <a:gd name="connsiteX80" fmla="*/ 4014054 w 4378607"/>
                  <a:gd name="connsiteY80" fmla="*/ 2506170 h 3351243"/>
                  <a:gd name="connsiteX81" fmla="*/ 4011319 w 4378607"/>
                  <a:gd name="connsiteY81" fmla="*/ 2491104 h 3351243"/>
                  <a:gd name="connsiteX82" fmla="*/ 4022259 w 4378607"/>
                  <a:gd name="connsiteY82" fmla="*/ 2492474 h 3351243"/>
                  <a:gd name="connsiteX83" fmla="*/ 4026362 w 4378607"/>
                  <a:gd name="connsiteY83" fmla="*/ 2474669 h 3351243"/>
                  <a:gd name="connsiteX84" fmla="*/ 4033200 w 4378607"/>
                  <a:gd name="connsiteY84" fmla="*/ 2467821 h 3351243"/>
                  <a:gd name="connsiteX85" fmla="*/ 4035935 w 4378607"/>
                  <a:gd name="connsiteY85" fmla="*/ 2459603 h 3351243"/>
                  <a:gd name="connsiteX86" fmla="*/ 4048242 w 4378607"/>
                  <a:gd name="connsiteY86" fmla="*/ 2459603 h 3351243"/>
                  <a:gd name="connsiteX87" fmla="*/ 4053712 w 4378607"/>
                  <a:gd name="connsiteY87" fmla="*/ 2450016 h 3351243"/>
                  <a:gd name="connsiteX88" fmla="*/ 4061917 w 4378607"/>
                  <a:gd name="connsiteY88" fmla="*/ 2444538 h 3351243"/>
                  <a:gd name="connsiteX89" fmla="*/ 4075592 w 4378607"/>
                  <a:gd name="connsiteY89" fmla="*/ 2455494 h 3351243"/>
                  <a:gd name="connsiteX90" fmla="*/ 4083797 w 4378607"/>
                  <a:gd name="connsiteY90" fmla="*/ 2465082 h 3351243"/>
                  <a:gd name="connsiteX91" fmla="*/ 4089267 w 4378607"/>
                  <a:gd name="connsiteY91" fmla="*/ 2469191 h 3351243"/>
                  <a:gd name="connsiteX92" fmla="*/ 4100208 w 4378607"/>
                  <a:gd name="connsiteY92" fmla="*/ 2467821 h 3351243"/>
                  <a:gd name="connsiteX93" fmla="*/ 4108413 w 4378607"/>
                  <a:gd name="connsiteY93" fmla="*/ 2466451 h 3351243"/>
                  <a:gd name="connsiteX94" fmla="*/ 4107045 w 4378607"/>
                  <a:gd name="connsiteY94" fmla="*/ 2450016 h 3351243"/>
                  <a:gd name="connsiteX95" fmla="*/ 4113883 w 4378607"/>
                  <a:gd name="connsiteY95" fmla="*/ 2436320 h 3351243"/>
                  <a:gd name="connsiteX96" fmla="*/ 4124823 w 4378607"/>
                  <a:gd name="connsiteY96" fmla="*/ 2418515 h 3351243"/>
                  <a:gd name="connsiteX97" fmla="*/ 4128925 w 4378607"/>
                  <a:gd name="connsiteY97" fmla="*/ 2413037 h 3351243"/>
                  <a:gd name="connsiteX98" fmla="*/ 4153540 w 4378607"/>
                  <a:gd name="connsiteY98" fmla="*/ 2404819 h 3351243"/>
                  <a:gd name="connsiteX99" fmla="*/ 4148070 w 4378607"/>
                  <a:gd name="connsiteY99" fmla="*/ 2392492 h 3351243"/>
                  <a:gd name="connsiteX100" fmla="*/ 3940459 w 4378607"/>
                  <a:gd name="connsiteY100" fmla="*/ 2362794 h 3351243"/>
                  <a:gd name="connsiteX101" fmla="*/ 3950194 w 4378607"/>
                  <a:gd name="connsiteY101" fmla="*/ 2364055 h 3351243"/>
                  <a:gd name="connsiteX102" fmla="*/ 3965573 w 4378607"/>
                  <a:gd name="connsiteY102" fmla="*/ 2374143 h 3351243"/>
                  <a:gd name="connsiteX103" fmla="*/ 3951021 w 4378607"/>
                  <a:gd name="connsiteY103" fmla="*/ 2372820 h 3351243"/>
                  <a:gd name="connsiteX104" fmla="*/ 3937792 w 4378607"/>
                  <a:gd name="connsiteY104" fmla="*/ 2364882 h 3351243"/>
                  <a:gd name="connsiteX105" fmla="*/ 3940459 w 4378607"/>
                  <a:gd name="connsiteY105" fmla="*/ 2362794 h 3351243"/>
                  <a:gd name="connsiteX106" fmla="*/ 4062907 w 4378607"/>
                  <a:gd name="connsiteY106" fmla="*/ 2337575 h 3351243"/>
                  <a:gd name="connsiteX107" fmla="*/ 4070547 w 4378607"/>
                  <a:gd name="connsiteY107" fmla="*/ 2339606 h 3351243"/>
                  <a:gd name="connsiteX108" fmla="*/ 4037210 w 4378607"/>
                  <a:gd name="connsiteY108" fmla="*/ 2357209 h 3351243"/>
                  <a:gd name="connsiteX109" fmla="*/ 4035821 w 4378607"/>
                  <a:gd name="connsiteY109" fmla="*/ 2358563 h 3351243"/>
                  <a:gd name="connsiteX110" fmla="*/ 4033042 w 4378607"/>
                  <a:gd name="connsiteY110" fmla="*/ 2359917 h 3351243"/>
                  <a:gd name="connsiteX111" fmla="*/ 4031653 w 4378607"/>
                  <a:gd name="connsiteY111" fmla="*/ 2363980 h 3351243"/>
                  <a:gd name="connsiteX112" fmla="*/ 4010817 w 4378607"/>
                  <a:gd name="connsiteY112" fmla="*/ 2376166 h 3351243"/>
                  <a:gd name="connsiteX113" fmla="*/ 4019152 w 4378607"/>
                  <a:gd name="connsiteY113" fmla="*/ 2355855 h 3351243"/>
                  <a:gd name="connsiteX114" fmla="*/ 4024708 w 4378607"/>
                  <a:gd name="connsiteY114" fmla="*/ 2354501 h 3351243"/>
                  <a:gd name="connsiteX115" fmla="*/ 4026097 w 4378607"/>
                  <a:gd name="connsiteY115" fmla="*/ 2353147 h 3351243"/>
                  <a:gd name="connsiteX116" fmla="*/ 4031653 w 4378607"/>
                  <a:gd name="connsiteY116" fmla="*/ 2350439 h 3351243"/>
                  <a:gd name="connsiteX117" fmla="*/ 4033042 w 4378607"/>
                  <a:gd name="connsiteY117" fmla="*/ 2350439 h 3351243"/>
                  <a:gd name="connsiteX118" fmla="*/ 4046933 w 4378607"/>
                  <a:gd name="connsiteY118" fmla="*/ 2339606 h 3351243"/>
                  <a:gd name="connsiteX119" fmla="*/ 4062907 w 4378607"/>
                  <a:gd name="connsiteY119" fmla="*/ 2337575 h 3351243"/>
                  <a:gd name="connsiteX120" fmla="*/ 4012028 w 4378607"/>
                  <a:gd name="connsiteY120" fmla="*/ 2337101 h 3351243"/>
                  <a:gd name="connsiteX121" fmla="*/ 4006569 w 4378607"/>
                  <a:gd name="connsiteY121" fmla="*/ 2342393 h 3351243"/>
                  <a:gd name="connsiteX122" fmla="*/ 3975182 w 4378607"/>
                  <a:gd name="connsiteY122" fmla="*/ 2351653 h 3351243"/>
                  <a:gd name="connsiteX123" fmla="*/ 3949253 w 4378607"/>
                  <a:gd name="connsiteY123" fmla="*/ 2346362 h 3351243"/>
                  <a:gd name="connsiteX124" fmla="*/ 3977911 w 4378607"/>
                  <a:gd name="connsiteY124" fmla="*/ 2341070 h 3351243"/>
                  <a:gd name="connsiteX125" fmla="*/ 4012028 w 4378607"/>
                  <a:gd name="connsiteY125" fmla="*/ 2337101 h 3351243"/>
                  <a:gd name="connsiteX126" fmla="*/ 3918611 w 4378607"/>
                  <a:gd name="connsiteY126" fmla="*/ 2334674 h 3351243"/>
                  <a:gd name="connsiteX127" fmla="*/ 3927248 w 4378607"/>
                  <a:gd name="connsiteY127" fmla="*/ 2336222 h 3351243"/>
                  <a:gd name="connsiteX128" fmla="*/ 3937416 w 4378607"/>
                  <a:gd name="connsiteY128" fmla="*/ 2345379 h 3351243"/>
                  <a:gd name="connsiteX129" fmla="*/ 3913979 w 4378607"/>
                  <a:gd name="connsiteY129" fmla="*/ 2353997 h 3351243"/>
                  <a:gd name="connsiteX130" fmla="*/ 3891922 w 4378607"/>
                  <a:gd name="connsiteY130" fmla="*/ 2349688 h 3351243"/>
                  <a:gd name="connsiteX131" fmla="*/ 3898815 w 4378607"/>
                  <a:gd name="connsiteY131" fmla="*/ 2338197 h 3351243"/>
                  <a:gd name="connsiteX132" fmla="*/ 3913979 w 4378607"/>
                  <a:gd name="connsiteY132" fmla="*/ 2336761 h 3351243"/>
                  <a:gd name="connsiteX133" fmla="*/ 3918611 w 4378607"/>
                  <a:gd name="connsiteY133" fmla="*/ 2334674 h 3351243"/>
                  <a:gd name="connsiteX134" fmla="*/ 4246560 w 4378607"/>
                  <a:gd name="connsiteY134" fmla="*/ 2323078 h 3351243"/>
                  <a:gd name="connsiteX135" fmla="*/ 4239417 w 4378607"/>
                  <a:gd name="connsiteY135" fmla="*/ 2340541 h 3351243"/>
                  <a:gd name="connsiteX136" fmla="*/ 4235131 w 4378607"/>
                  <a:gd name="connsiteY136" fmla="*/ 2339086 h 3351243"/>
                  <a:gd name="connsiteX137" fmla="*/ 4246560 w 4378607"/>
                  <a:gd name="connsiteY137" fmla="*/ 2323078 h 3351243"/>
                  <a:gd name="connsiteX138" fmla="*/ 4252117 w 4378607"/>
                  <a:gd name="connsiteY138" fmla="*/ 2308790 h 3351243"/>
                  <a:gd name="connsiteX139" fmla="*/ 4250728 w 4378607"/>
                  <a:gd name="connsiteY139" fmla="*/ 2323078 h 3351243"/>
                  <a:gd name="connsiteX140" fmla="*/ 4246561 w 4378607"/>
                  <a:gd name="connsiteY140" fmla="*/ 2323078 h 3351243"/>
                  <a:gd name="connsiteX141" fmla="*/ 4252117 w 4378607"/>
                  <a:gd name="connsiteY141" fmla="*/ 2308790 h 3351243"/>
                  <a:gd name="connsiteX142" fmla="*/ 3750768 w 4378607"/>
                  <a:gd name="connsiteY142" fmla="*/ 2292158 h 3351243"/>
                  <a:gd name="connsiteX143" fmla="*/ 3769261 w 4378607"/>
                  <a:gd name="connsiteY143" fmla="*/ 2300125 h 3351243"/>
                  <a:gd name="connsiteX144" fmla="*/ 3803507 w 4378607"/>
                  <a:gd name="connsiteY144" fmla="*/ 2308261 h 3351243"/>
                  <a:gd name="connsiteX145" fmla="*/ 3836384 w 4378607"/>
                  <a:gd name="connsiteY145" fmla="*/ 2312329 h 3351243"/>
                  <a:gd name="connsiteX146" fmla="*/ 3855562 w 4378607"/>
                  <a:gd name="connsiteY146" fmla="*/ 2313685 h 3351243"/>
                  <a:gd name="connsiteX147" fmla="*/ 3839123 w 4378607"/>
                  <a:gd name="connsiteY147" fmla="*/ 2325889 h 3351243"/>
                  <a:gd name="connsiteX148" fmla="*/ 3866521 w 4378607"/>
                  <a:gd name="connsiteY148" fmla="*/ 2331313 h 3351243"/>
                  <a:gd name="connsiteX149" fmla="*/ 3882959 w 4378607"/>
                  <a:gd name="connsiteY149" fmla="*/ 2342161 h 3351243"/>
                  <a:gd name="connsiteX150" fmla="*/ 3863781 w 4378607"/>
                  <a:gd name="connsiteY150" fmla="*/ 2342161 h 3351243"/>
                  <a:gd name="connsiteX151" fmla="*/ 3843233 w 4378607"/>
                  <a:gd name="connsiteY151" fmla="*/ 2340805 h 3351243"/>
                  <a:gd name="connsiteX152" fmla="*/ 3803507 w 4378607"/>
                  <a:gd name="connsiteY152" fmla="*/ 2334025 h 3351243"/>
                  <a:gd name="connsiteX153" fmla="*/ 3773370 w 4378607"/>
                  <a:gd name="connsiteY153" fmla="*/ 2324533 h 3351243"/>
                  <a:gd name="connsiteX154" fmla="*/ 3745973 w 4378607"/>
                  <a:gd name="connsiteY154" fmla="*/ 2321821 h 3351243"/>
                  <a:gd name="connsiteX155" fmla="*/ 3736384 w 4378607"/>
                  <a:gd name="connsiteY155" fmla="*/ 2310973 h 3351243"/>
                  <a:gd name="connsiteX156" fmla="*/ 3725425 w 4378607"/>
                  <a:gd name="connsiteY156" fmla="*/ 2308261 h 3351243"/>
                  <a:gd name="connsiteX157" fmla="*/ 3732275 w 4378607"/>
                  <a:gd name="connsiteY157" fmla="*/ 2297413 h 3351243"/>
                  <a:gd name="connsiteX158" fmla="*/ 3750768 w 4378607"/>
                  <a:gd name="connsiteY158" fmla="*/ 2292158 h 3351243"/>
                  <a:gd name="connsiteX159" fmla="*/ 4051885 w 4378607"/>
                  <a:gd name="connsiteY159" fmla="*/ 2238171 h 3351243"/>
                  <a:gd name="connsiteX160" fmla="*/ 4059852 w 4378607"/>
                  <a:gd name="connsiteY160" fmla="*/ 2239068 h 3351243"/>
                  <a:gd name="connsiteX161" fmla="*/ 4069262 w 4378607"/>
                  <a:gd name="connsiteY161" fmla="*/ 2249399 h 3351243"/>
                  <a:gd name="connsiteX162" fmla="*/ 4049377 w 4378607"/>
                  <a:gd name="connsiteY162" fmla="*/ 2242395 h 3351243"/>
                  <a:gd name="connsiteX163" fmla="*/ 4051885 w 4378607"/>
                  <a:gd name="connsiteY163" fmla="*/ 2238171 h 3351243"/>
                  <a:gd name="connsiteX164" fmla="*/ 4092005 w 4378607"/>
                  <a:gd name="connsiteY164" fmla="*/ 2234271 h 3351243"/>
                  <a:gd name="connsiteX165" fmla="*/ 4112681 w 4378607"/>
                  <a:gd name="connsiteY165" fmla="*/ 2234925 h 3351243"/>
                  <a:gd name="connsiteX166" fmla="*/ 4123617 w 4378607"/>
                  <a:gd name="connsiteY166" fmla="*/ 2253228 h 3351243"/>
                  <a:gd name="connsiteX167" fmla="*/ 4103112 w 4378607"/>
                  <a:gd name="connsiteY167" fmla="*/ 2245384 h 3351243"/>
                  <a:gd name="connsiteX168" fmla="*/ 4082607 w 4378607"/>
                  <a:gd name="connsiteY168" fmla="*/ 2241462 h 3351243"/>
                  <a:gd name="connsiteX169" fmla="*/ 4092005 w 4378607"/>
                  <a:gd name="connsiteY169" fmla="*/ 2234271 h 3351243"/>
                  <a:gd name="connsiteX170" fmla="*/ 3761887 w 4378607"/>
                  <a:gd name="connsiteY170" fmla="*/ 2232269 h 3351243"/>
                  <a:gd name="connsiteX171" fmla="*/ 3767135 w 4378607"/>
                  <a:gd name="connsiteY171" fmla="*/ 2234788 h 3351243"/>
                  <a:gd name="connsiteX172" fmla="*/ 3758492 w 4378607"/>
                  <a:gd name="connsiteY172" fmla="*/ 2238818 h 3351243"/>
                  <a:gd name="connsiteX173" fmla="*/ 3761887 w 4378607"/>
                  <a:gd name="connsiteY173" fmla="*/ 2232269 h 3351243"/>
                  <a:gd name="connsiteX174" fmla="*/ 3617447 w 4378607"/>
                  <a:gd name="connsiteY174" fmla="*/ 2197283 h 3351243"/>
                  <a:gd name="connsiteX175" fmla="*/ 3621614 w 4378607"/>
                  <a:gd name="connsiteY175" fmla="*/ 2210762 h 3351243"/>
                  <a:gd name="connsiteX176" fmla="*/ 3614559 w 4378607"/>
                  <a:gd name="connsiteY176" fmla="*/ 2199649 h 3351243"/>
                  <a:gd name="connsiteX177" fmla="*/ 3617447 w 4378607"/>
                  <a:gd name="connsiteY177" fmla="*/ 2197283 h 3351243"/>
                  <a:gd name="connsiteX178" fmla="*/ 4147462 w 4378607"/>
                  <a:gd name="connsiteY178" fmla="*/ 2186298 h 3351243"/>
                  <a:gd name="connsiteX179" fmla="*/ 4158820 w 4378607"/>
                  <a:gd name="connsiteY179" fmla="*/ 2186794 h 3351243"/>
                  <a:gd name="connsiteX180" fmla="*/ 4178439 w 4378607"/>
                  <a:gd name="connsiteY180" fmla="*/ 2196975 h 3351243"/>
                  <a:gd name="connsiteX181" fmla="*/ 4194960 w 4378607"/>
                  <a:gd name="connsiteY181" fmla="*/ 2243909 h 3351243"/>
                  <a:gd name="connsiteX182" fmla="*/ 4221119 w 4378607"/>
                  <a:gd name="connsiteY182" fmla="*/ 2224583 h 3351243"/>
                  <a:gd name="connsiteX183" fmla="*/ 4234886 w 4378607"/>
                  <a:gd name="connsiteY183" fmla="*/ 2209398 h 3351243"/>
                  <a:gd name="connsiteX184" fmla="*/ 4283073 w 4378607"/>
                  <a:gd name="connsiteY184" fmla="*/ 2228725 h 3351243"/>
                  <a:gd name="connsiteX185" fmla="*/ 4252784 w 4378607"/>
                  <a:gd name="connsiteY185" fmla="*/ 2308790 h 3351243"/>
                  <a:gd name="connsiteX186" fmla="*/ 4251408 w 4378607"/>
                  <a:gd name="connsiteY186" fmla="*/ 2307409 h 3351243"/>
                  <a:gd name="connsiteX187" fmla="*/ 4243147 w 4378607"/>
                  <a:gd name="connsiteY187" fmla="*/ 2285322 h 3351243"/>
                  <a:gd name="connsiteX188" fmla="*/ 4197714 w 4378607"/>
                  <a:gd name="connsiteY188" fmla="*/ 2265996 h 3351243"/>
                  <a:gd name="connsiteX189" fmla="*/ 4183946 w 4378607"/>
                  <a:gd name="connsiteY189" fmla="*/ 2257714 h 3351243"/>
                  <a:gd name="connsiteX190" fmla="*/ 4167425 w 4378607"/>
                  <a:gd name="connsiteY190" fmla="*/ 2252192 h 3351243"/>
                  <a:gd name="connsiteX191" fmla="*/ 4156410 w 4378607"/>
                  <a:gd name="connsiteY191" fmla="*/ 2252192 h 3351243"/>
                  <a:gd name="connsiteX192" fmla="*/ 4146773 w 4378607"/>
                  <a:gd name="connsiteY192" fmla="*/ 2234246 h 3351243"/>
                  <a:gd name="connsiteX193" fmla="*/ 4156410 w 4378607"/>
                  <a:gd name="connsiteY193" fmla="*/ 2231485 h 3351243"/>
                  <a:gd name="connsiteX194" fmla="*/ 4170178 w 4378607"/>
                  <a:gd name="connsiteY194" fmla="*/ 2228725 h 3351243"/>
                  <a:gd name="connsiteX195" fmla="*/ 4171555 w 4378607"/>
                  <a:gd name="connsiteY195" fmla="*/ 2223203 h 3351243"/>
                  <a:gd name="connsiteX196" fmla="*/ 4145396 w 4378607"/>
                  <a:gd name="connsiteY196" fmla="*/ 2221822 h 3351243"/>
                  <a:gd name="connsiteX197" fmla="*/ 4137136 w 4378607"/>
                  <a:gd name="connsiteY197" fmla="*/ 2208018 h 3351243"/>
                  <a:gd name="connsiteX198" fmla="*/ 4127498 w 4378607"/>
                  <a:gd name="connsiteY198" fmla="*/ 2203877 h 3351243"/>
                  <a:gd name="connsiteX199" fmla="*/ 4141266 w 4378607"/>
                  <a:gd name="connsiteY199" fmla="*/ 2190072 h 3351243"/>
                  <a:gd name="connsiteX200" fmla="*/ 4147462 w 4378607"/>
                  <a:gd name="connsiteY200" fmla="*/ 2186298 h 3351243"/>
                  <a:gd name="connsiteX201" fmla="*/ 3590792 w 4378607"/>
                  <a:gd name="connsiteY201" fmla="*/ 2152263 h 3351243"/>
                  <a:gd name="connsiteX202" fmla="*/ 3600978 w 4378607"/>
                  <a:gd name="connsiteY202" fmla="*/ 2167106 h 3351243"/>
                  <a:gd name="connsiteX203" fmla="*/ 3590792 w 4378607"/>
                  <a:gd name="connsiteY203" fmla="*/ 2152263 h 3351243"/>
                  <a:gd name="connsiteX204" fmla="*/ 4034583 w 4378607"/>
                  <a:gd name="connsiteY204" fmla="*/ 2147973 h 3351243"/>
                  <a:gd name="connsiteX205" fmla="*/ 4034476 w 4378607"/>
                  <a:gd name="connsiteY205" fmla="*/ 2151700 h 3351243"/>
                  <a:gd name="connsiteX206" fmla="*/ 4006985 w 4378607"/>
                  <a:gd name="connsiteY206" fmla="*/ 2170895 h 3351243"/>
                  <a:gd name="connsiteX207" fmla="*/ 3953378 w 4378607"/>
                  <a:gd name="connsiteY207" fmla="*/ 2184605 h 3351243"/>
                  <a:gd name="connsiteX208" fmla="*/ 3973996 w 4378607"/>
                  <a:gd name="connsiteY208" fmla="*/ 2203799 h 3351243"/>
                  <a:gd name="connsiteX209" fmla="*/ 4005610 w 4378607"/>
                  <a:gd name="connsiteY209" fmla="*/ 2192831 h 3351243"/>
                  <a:gd name="connsiteX210" fmla="*/ 3982243 w 4378607"/>
                  <a:gd name="connsiteY210" fmla="*/ 2213397 h 3351243"/>
                  <a:gd name="connsiteX211" fmla="*/ 3987741 w 4378607"/>
                  <a:gd name="connsiteY211" fmla="*/ 2228478 h 3351243"/>
                  <a:gd name="connsiteX212" fmla="*/ 3990490 w 4378607"/>
                  <a:gd name="connsiteY212" fmla="*/ 2250414 h 3351243"/>
                  <a:gd name="connsiteX213" fmla="*/ 3989116 w 4378607"/>
                  <a:gd name="connsiteY213" fmla="*/ 2265496 h 3351243"/>
                  <a:gd name="connsiteX214" fmla="*/ 3975371 w 4378607"/>
                  <a:gd name="connsiteY214" fmla="*/ 2262754 h 3351243"/>
                  <a:gd name="connsiteX215" fmla="*/ 3967123 w 4378607"/>
                  <a:gd name="connsiteY215" fmla="*/ 2243559 h 3351243"/>
                  <a:gd name="connsiteX216" fmla="*/ 3956127 w 4378607"/>
                  <a:gd name="connsiteY216" fmla="*/ 2236704 h 3351243"/>
                  <a:gd name="connsiteX217" fmla="*/ 3958876 w 4378607"/>
                  <a:gd name="connsiteY217" fmla="*/ 2270980 h 3351243"/>
                  <a:gd name="connsiteX218" fmla="*/ 3950629 w 4378607"/>
                  <a:gd name="connsiteY218" fmla="*/ 2290174 h 3351243"/>
                  <a:gd name="connsiteX219" fmla="*/ 3949254 w 4378607"/>
                  <a:gd name="connsiteY219" fmla="*/ 2268238 h 3351243"/>
                  <a:gd name="connsiteX220" fmla="*/ 3943756 w 4378607"/>
                  <a:gd name="connsiteY220" fmla="*/ 2247672 h 3351243"/>
                  <a:gd name="connsiteX221" fmla="*/ 3934134 w 4378607"/>
                  <a:gd name="connsiteY221" fmla="*/ 2228478 h 3351243"/>
                  <a:gd name="connsiteX222" fmla="*/ 3946505 w 4378607"/>
                  <a:gd name="connsiteY222" fmla="*/ 2191460 h 3351243"/>
                  <a:gd name="connsiteX223" fmla="*/ 3957502 w 4378607"/>
                  <a:gd name="connsiteY223" fmla="*/ 2164040 h 3351243"/>
                  <a:gd name="connsiteX224" fmla="*/ 3976745 w 4378607"/>
                  <a:gd name="connsiteY224" fmla="*/ 2154442 h 3351243"/>
                  <a:gd name="connsiteX225" fmla="*/ 4016607 w 4378607"/>
                  <a:gd name="connsiteY225" fmla="*/ 2159927 h 3351243"/>
                  <a:gd name="connsiteX226" fmla="*/ 4030180 w 4378607"/>
                  <a:gd name="connsiteY226" fmla="*/ 2149644 h 3351243"/>
                  <a:gd name="connsiteX227" fmla="*/ 4034583 w 4378607"/>
                  <a:gd name="connsiteY227" fmla="*/ 2147973 h 3351243"/>
                  <a:gd name="connsiteX228" fmla="*/ 4078371 w 4378607"/>
                  <a:gd name="connsiteY228" fmla="*/ 2141891 h 3351243"/>
                  <a:gd name="connsiteX229" fmla="*/ 4083645 w 4378607"/>
                  <a:gd name="connsiteY229" fmla="*/ 2153612 h 3351243"/>
                  <a:gd name="connsiteX230" fmla="*/ 4093368 w 4378607"/>
                  <a:gd name="connsiteY230" fmla="*/ 2159169 h 3351243"/>
                  <a:gd name="connsiteX231" fmla="*/ 4087812 w 4378607"/>
                  <a:gd name="connsiteY231" fmla="*/ 2173059 h 3351243"/>
                  <a:gd name="connsiteX232" fmla="*/ 4082256 w 4378607"/>
                  <a:gd name="connsiteY232" fmla="*/ 2188339 h 3351243"/>
                  <a:gd name="connsiteX233" fmla="*/ 4073921 w 4378607"/>
                  <a:gd name="connsiteY233" fmla="*/ 2146667 h 3351243"/>
                  <a:gd name="connsiteX234" fmla="*/ 4078371 w 4378607"/>
                  <a:gd name="connsiteY234" fmla="*/ 2141891 h 3351243"/>
                  <a:gd name="connsiteX235" fmla="*/ 3566152 w 4378607"/>
                  <a:gd name="connsiteY235" fmla="*/ 2071122 h 3351243"/>
                  <a:gd name="connsiteX236" fmla="*/ 3584124 w 4378607"/>
                  <a:gd name="connsiteY236" fmla="*/ 2079591 h 3351243"/>
                  <a:gd name="connsiteX237" fmla="*/ 3607486 w 4378607"/>
                  <a:gd name="connsiteY237" fmla="*/ 2093280 h 3351243"/>
                  <a:gd name="connsiteX238" fmla="*/ 3634971 w 4378607"/>
                  <a:gd name="connsiteY238" fmla="*/ 2122026 h 3351243"/>
                  <a:gd name="connsiteX239" fmla="*/ 3647340 w 4378607"/>
                  <a:gd name="connsiteY239" fmla="*/ 2138452 h 3351243"/>
                  <a:gd name="connsiteX240" fmla="*/ 3659708 w 4378607"/>
                  <a:gd name="connsiteY240" fmla="*/ 2143928 h 3351243"/>
                  <a:gd name="connsiteX241" fmla="*/ 3670702 w 4378607"/>
                  <a:gd name="connsiteY241" fmla="*/ 2149404 h 3351243"/>
                  <a:gd name="connsiteX242" fmla="*/ 3677573 w 4378607"/>
                  <a:gd name="connsiteY242" fmla="*/ 2158986 h 3351243"/>
                  <a:gd name="connsiteX243" fmla="*/ 3685819 w 4378607"/>
                  <a:gd name="connsiteY243" fmla="*/ 2167199 h 3351243"/>
                  <a:gd name="connsiteX244" fmla="*/ 3694064 w 4378607"/>
                  <a:gd name="connsiteY244" fmla="*/ 2184994 h 3351243"/>
                  <a:gd name="connsiteX245" fmla="*/ 3698187 w 4378607"/>
                  <a:gd name="connsiteY245" fmla="*/ 2198683 h 3351243"/>
                  <a:gd name="connsiteX246" fmla="*/ 3711930 w 4378607"/>
                  <a:gd name="connsiteY246" fmla="*/ 2215109 h 3351243"/>
                  <a:gd name="connsiteX247" fmla="*/ 3721549 w 4378607"/>
                  <a:gd name="connsiteY247" fmla="*/ 2224691 h 3351243"/>
                  <a:gd name="connsiteX248" fmla="*/ 3731169 w 4378607"/>
                  <a:gd name="connsiteY248" fmla="*/ 2228798 h 3351243"/>
                  <a:gd name="connsiteX249" fmla="*/ 3725672 w 4378607"/>
                  <a:gd name="connsiteY249" fmla="*/ 2219216 h 3351243"/>
                  <a:gd name="connsiteX250" fmla="*/ 3727046 w 4378607"/>
                  <a:gd name="connsiteY250" fmla="*/ 2211003 h 3351243"/>
                  <a:gd name="connsiteX251" fmla="*/ 3740789 w 4378607"/>
                  <a:gd name="connsiteY251" fmla="*/ 2226060 h 3351243"/>
                  <a:gd name="connsiteX252" fmla="*/ 3739415 w 4378607"/>
                  <a:gd name="connsiteY252" fmla="*/ 2238380 h 3351243"/>
                  <a:gd name="connsiteX253" fmla="*/ 3733918 w 4378607"/>
                  <a:gd name="connsiteY253" fmla="*/ 2242486 h 3351243"/>
                  <a:gd name="connsiteX254" fmla="*/ 3731169 w 4378607"/>
                  <a:gd name="connsiteY254" fmla="*/ 2263019 h 3351243"/>
                  <a:gd name="connsiteX255" fmla="*/ 3725672 w 4378607"/>
                  <a:gd name="connsiteY255" fmla="*/ 2290397 h 3351243"/>
                  <a:gd name="connsiteX256" fmla="*/ 3709181 w 4378607"/>
                  <a:gd name="connsiteY256" fmla="*/ 2290397 h 3351243"/>
                  <a:gd name="connsiteX257" fmla="*/ 3700936 w 4378607"/>
                  <a:gd name="connsiteY257" fmla="*/ 2280815 h 3351243"/>
                  <a:gd name="connsiteX258" fmla="*/ 3672076 w 4378607"/>
                  <a:gd name="connsiteY258" fmla="*/ 2250700 h 3351243"/>
                  <a:gd name="connsiteX259" fmla="*/ 3648714 w 4378607"/>
                  <a:gd name="connsiteY259" fmla="*/ 2217847 h 3351243"/>
                  <a:gd name="connsiteX260" fmla="*/ 3623977 w 4378607"/>
                  <a:gd name="connsiteY260" fmla="*/ 2174043 h 3351243"/>
                  <a:gd name="connsiteX261" fmla="*/ 3607486 w 4378607"/>
                  <a:gd name="connsiteY261" fmla="*/ 2135715 h 3351243"/>
                  <a:gd name="connsiteX262" fmla="*/ 3585498 w 4378607"/>
                  <a:gd name="connsiteY262" fmla="*/ 2109706 h 3351243"/>
                  <a:gd name="connsiteX263" fmla="*/ 3563510 w 4378607"/>
                  <a:gd name="connsiteY263" fmla="*/ 2072747 h 3351243"/>
                  <a:gd name="connsiteX264" fmla="*/ 3566152 w 4378607"/>
                  <a:gd name="connsiteY264" fmla="*/ 2071122 h 3351243"/>
                  <a:gd name="connsiteX265" fmla="*/ 3902149 w 4378607"/>
                  <a:gd name="connsiteY265" fmla="*/ 2050028 h 3351243"/>
                  <a:gd name="connsiteX266" fmla="*/ 3917256 w 4378607"/>
                  <a:gd name="connsiteY266" fmla="*/ 2065109 h 3351243"/>
                  <a:gd name="connsiteX267" fmla="*/ 3930989 w 4378607"/>
                  <a:gd name="connsiteY267" fmla="*/ 2069222 h 3351243"/>
                  <a:gd name="connsiteX268" fmla="*/ 3941976 w 4378607"/>
                  <a:gd name="connsiteY268" fmla="*/ 2080190 h 3351243"/>
                  <a:gd name="connsiteX269" fmla="*/ 3928243 w 4378607"/>
                  <a:gd name="connsiteY269" fmla="*/ 2088416 h 3351243"/>
                  <a:gd name="connsiteX270" fmla="*/ 3917256 w 4378607"/>
                  <a:gd name="connsiteY270" fmla="*/ 2099385 h 3351243"/>
                  <a:gd name="connsiteX271" fmla="*/ 3915883 w 4378607"/>
                  <a:gd name="connsiteY271" fmla="*/ 2100756 h 3351243"/>
                  <a:gd name="connsiteX272" fmla="*/ 3914509 w 4378607"/>
                  <a:gd name="connsiteY272" fmla="*/ 2114466 h 3351243"/>
                  <a:gd name="connsiteX273" fmla="*/ 3920002 w 4378607"/>
                  <a:gd name="connsiteY273" fmla="*/ 2132289 h 3351243"/>
                  <a:gd name="connsiteX274" fmla="*/ 3924122 w 4378607"/>
                  <a:gd name="connsiteY274" fmla="*/ 2147371 h 3351243"/>
                  <a:gd name="connsiteX275" fmla="*/ 3935109 w 4378607"/>
                  <a:gd name="connsiteY275" fmla="*/ 2162452 h 3351243"/>
                  <a:gd name="connsiteX276" fmla="*/ 3911763 w 4378607"/>
                  <a:gd name="connsiteY276" fmla="*/ 2178905 h 3351243"/>
                  <a:gd name="connsiteX277" fmla="*/ 3902149 w 4378607"/>
                  <a:gd name="connsiteY277" fmla="*/ 2207696 h 3351243"/>
                  <a:gd name="connsiteX278" fmla="*/ 3889790 w 4378607"/>
                  <a:gd name="connsiteY278" fmla="*/ 2250198 h 3351243"/>
                  <a:gd name="connsiteX279" fmla="*/ 3866443 w 4378607"/>
                  <a:gd name="connsiteY279" fmla="*/ 2254311 h 3351243"/>
                  <a:gd name="connsiteX280" fmla="*/ 3847217 w 4378607"/>
                  <a:gd name="connsiteY280" fmla="*/ 2243343 h 3351243"/>
                  <a:gd name="connsiteX281" fmla="*/ 3825244 w 4378607"/>
                  <a:gd name="connsiteY281" fmla="*/ 2246085 h 3351243"/>
                  <a:gd name="connsiteX282" fmla="*/ 3812884 w 4378607"/>
                  <a:gd name="connsiteY282" fmla="*/ 2237859 h 3351243"/>
                  <a:gd name="connsiteX283" fmla="*/ 3797778 w 4378607"/>
                  <a:gd name="connsiteY283" fmla="*/ 2213180 h 3351243"/>
                  <a:gd name="connsiteX284" fmla="*/ 3784045 w 4378607"/>
                  <a:gd name="connsiteY284" fmla="*/ 2193986 h 3351243"/>
                  <a:gd name="connsiteX285" fmla="*/ 3775805 w 4378607"/>
                  <a:gd name="connsiteY285" fmla="*/ 2167936 h 3351243"/>
                  <a:gd name="connsiteX286" fmla="*/ 3786791 w 4378607"/>
                  <a:gd name="connsiteY286" fmla="*/ 2141886 h 3351243"/>
                  <a:gd name="connsiteX287" fmla="*/ 3788165 w 4378607"/>
                  <a:gd name="connsiteY287" fmla="*/ 2141886 h 3351243"/>
                  <a:gd name="connsiteX288" fmla="*/ 3811511 w 4378607"/>
                  <a:gd name="connsiteY288" fmla="*/ 2148742 h 3351243"/>
                  <a:gd name="connsiteX289" fmla="*/ 3822498 w 4378607"/>
                  <a:gd name="connsiteY289" fmla="*/ 2124063 h 3351243"/>
                  <a:gd name="connsiteX290" fmla="*/ 3844470 w 4378607"/>
                  <a:gd name="connsiteY290" fmla="*/ 2115837 h 3351243"/>
                  <a:gd name="connsiteX291" fmla="*/ 3859577 w 4378607"/>
                  <a:gd name="connsiteY291" fmla="*/ 2089788 h 3351243"/>
                  <a:gd name="connsiteX292" fmla="*/ 3870563 w 4378607"/>
                  <a:gd name="connsiteY292" fmla="*/ 2092530 h 3351243"/>
                  <a:gd name="connsiteX293" fmla="*/ 3878803 w 4378607"/>
                  <a:gd name="connsiteY293" fmla="*/ 2087045 h 3351243"/>
                  <a:gd name="connsiteX294" fmla="*/ 3881550 w 4378607"/>
                  <a:gd name="connsiteY294" fmla="*/ 2082932 h 3351243"/>
                  <a:gd name="connsiteX295" fmla="*/ 3889790 w 4378607"/>
                  <a:gd name="connsiteY295" fmla="*/ 2069222 h 3351243"/>
                  <a:gd name="connsiteX296" fmla="*/ 3902149 w 4378607"/>
                  <a:gd name="connsiteY296" fmla="*/ 2050028 h 3351243"/>
                  <a:gd name="connsiteX297" fmla="*/ 3340544 w 4378607"/>
                  <a:gd name="connsiteY297" fmla="*/ 1992878 h 3351243"/>
                  <a:gd name="connsiteX298" fmla="*/ 3367087 w 4378607"/>
                  <a:gd name="connsiteY298" fmla="*/ 2037439 h 3351243"/>
                  <a:gd name="connsiteX299" fmla="*/ 3341941 w 4378607"/>
                  <a:gd name="connsiteY299" fmla="*/ 2065290 h 3351243"/>
                  <a:gd name="connsiteX300" fmla="*/ 3333559 w 4378607"/>
                  <a:gd name="connsiteY300" fmla="*/ 2036047 h 3351243"/>
                  <a:gd name="connsiteX301" fmla="*/ 3334956 w 4378607"/>
                  <a:gd name="connsiteY301" fmla="*/ 2010981 h 3351243"/>
                  <a:gd name="connsiteX302" fmla="*/ 3340544 w 4378607"/>
                  <a:gd name="connsiteY302" fmla="*/ 1992878 h 3351243"/>
                  <a:gd name="connsiteX303" fmla="*/ 4047361 w 4378607"/>
                  <a:gd name="connsiteY303" fmla="*/ 1991303 h 3351243"/>
                  <a:gd name="connsiteX304" fmla="*/ 4054394 w 4378607"/>
                  <a:gd name="connsiteY304" fmla="*/ 2000170 h 3351243"/>
                  <a:gd name="connsiteX305" fmla="*/ 4058510 w 4378607"/>
                  <a:gd name="connsiteY305" fmla="*/ 2042463 h 3351243"/>
                  <a:gd name="connsiteX306" fmla="*/ 4042043 w 4378607"/>
                  <a:gd name="connsiteY306" fmla="*/ 2050648 h 3351243"/>
                  <a:gd name="connsiteX307" fmla="*/ 4042043 w 4378607"/>
                  <a:gd name="connsiteY307" fmla="*/ 2073841 h 3351243"/>
                  <a:gd name="connsiteX308" fmla="*/ 4025577 w 4378607"/>
                  <a:gd name="connsiteY308" fmla="*/ 2064291 h 3351243"/>
                  <a:gd name="connsiteX309" fmla="*/ 4013226 w 4378607"/>
                  <a:gd name="connsiteY309" fmla="*/ 2031549 h 3351243"/>
                  <a:gd name="connsiteX310" fmla="*/ 4000876 w 4378607"/>
                  <a:gd name="connsiteY310" fmla="*/ 2037006 h 3351243"/>
                  <a:gd name="connsiteX311" fmla="*/ 3987154 w 4378607"/>
                  <a:gd name="connsiteY311" fmla="*/ 2045191 h 3351243"/>
                  <a:gd name="connsiteX312" fmla="*/ 3992643 w 4378607"/>
                  <a:gd name="connsiteY312" fmla="*/ 2026091 h 3351243"/>
                  <a:gd name="connsiteX313" fmla="*/ 4011854 w 4378607"/>
                  <a:gd name="connsiteY313" fmla="*/ 2013813 h 3351243"/>
                  <a:gd name="connsiteX314" fmla="*/ 4025577 w 4378607"/>
                  <a:gd name="connsiteY314" fmla="*/ 2016542 h 3351243"/>
                  <a:gd name="connsiteX315" fmla="*/ 4035182 w 4378607"/>
                  <a:gd name="connsiteY315" fmla="*/ 2008356 h 3351243"/>
                  <a:gd name="connsiteX316" fmla="*/ 4043416 w 4378607"/>
                  <a:gd name="connsiteY316" fmla="*/ 1998806 h 3351243"/>
                  <a:gd name="connsiteX317" fmla="*/ 4047361 w 4378607"/>
                  <a:gd name="connsiteY317" fmla="*/ 1991303 h 3351243"/>
                  <a:gd name="connsiteX318" fmla="*/ 4027853 w 4378607"/>
                  <a:gd name="connsiteY318" fmla="*/ 1988856 h 3351243"/>
                  <a:gd name="connsiteX319" fmla="*/ 4014665 w 4378607"/>
                  <a:gd name="connsiteY319" fmla="*/ 1998487 h 3351243"/>
                  <a:gd name="connsiteX320" fmla="*/ 4027853 w 4378607"/>
                  <a:gd name="connsiteY320" fmla="*/ 1988856 h 3351243"/>
                  <a:gd name="connsiteX321" fmla="*/ 1090555 w 4378607"/>
                  <a:gd name="connsiteY321" fmla="*/ 1970837 h 3351243"/>
                  <a:gd name="connsiteX322" fmla="*/ 1099230 w 4378607"/>
                  <a:gd name="connsiteY322" fmla="*/ 1971509 h 3351243"/>
                  <a:gd name="connsiteX323" fmla="*/ 1099230 w 4378607"/>
                  <a:gd name="connsiteY323" fmla="*/ 1982256 h 3351243"/>
                  <a:gd name="connsiteX324" fmla="*/ 1088344 w 4378607"/>
                  <a:gd name="connsiteY324" fmla="*/ 1983599 h 3351243"/>
                  <a:gd name="connsiteX325" fmla="*/ 1086983 w 4378607"/>
                  <a:gd name="connsiteY325" fmla="*/ 1974196 h 3351243"/>
                  <a:gd name="connsiteX326" fmla="*/ 1090555 w 4378607"/>
                  <a:gd name="connsiteY326" fmla="*/ 1970837 h 3351243"/>
                  <a:gd name="connsiteX327" fmla="*/ 3943284 w 4378607"/>
                  <a:gd name="connsiteY327" fmla="*/ 1965303 h 3351243"/>
                  <a:gd name="connsiteX328" fmla="*/ 3945594 w 4378607"/>
                  <a:gd name="connsiteY328" fmla="*/ 1966320 h 3351243"/>
                  <a:gd name="connsiteX329" fmla="*/ 3941488 w 4378607"/>
                  <a:gd name="connsiteY329" fmla="*/ 1986660 h 3351243"/>
                  <a:gd name="connsiteX330" fmla="*/ 3912749 w 4378607"/>
                  <a:gd name="connsiteY330" fmla="*/ 2017848 h 3351243"/>
                  <a:gd name="connsiteX331" fmla="*/ 3933277 w 4378607"/>
                  <a:gd name="connsiteY331" fmla="*/ 1986660 h 3351243"/>
                  <a:gd name="connsiteX332" fmla="*/ 3943284 w 4378607"/>
                  <a:gd name="connsiteY332" fmla="*/ 1965303 h 3351243"/>
                  <a:gd name="connsiteX333" fmla="*/ 3986705 w 4378607"/>
                  <a:gd name="connsiteY333" fmla="*/ 1951381 h 3351243"/>
                  <a:gd name="connsiteX334" fmla="*/ 4011338 w 4378607"/>
                  <a:gd name="connsiteY334" fmla="*/ 1973237 h 3351243"/>
                  <a:gd name="connsiteX335" fmla="*/ 4016812 w 4378607"/>
                  <a:gd name="connsiteY335" fmla="*/ 1977335 h 3351243"/>
                  <a:gd name="connsiteX336" fmla="*/ 4000390 w 4378607"/>
                  <a:gd name="connsiteY336" fmla="*/ 2007387 h 3351243"/>
                  <a:gd name="connsiteX337" fmla="*/ 3997653 w 4378607"/>
                  <a:gd name="connsiteY337" fmla="*/ 1986897 h 3351243"/>
                  <a:gd name="connsiteX338" fmla="*/ 3996284 w 4378607"/>
                  <a:gd name="connsiteY338" fmla="*/ 1971871 h 3351243"/>
                  <a:gd name="connsiteX339" fmla="*/ 3988073 w 4378607"/>
                  <a:gd name="connsiteY339" fmla="*/ 1977335 h 3351243"/>
                  <a:gd name="connsiteX340" fmla="*/ 3986705 w 4378607"/>
                  <a:gd name="connsiteY340" fmla="*/ 1951381 h 3351243"/>
                  <a:gd name="connsiteX341" fmla="*/ 3962149 w 4378607"/>
                  <a:gd name="connsiteY341" fmla="*/ 1922121 h 3351243"/>
                  <a:gd name="connsiteX342" fmla="*/ 3976854 w 4378607"/>
                  <a:gd name="connsiteY342" fmla="*/ 1942531 h 3351243"/>
                  <a:gd name="connsiteX343" fmla="*/ 3962149 w 4378607"/>
                  <a:gd name="connsiteY343" fmla="*/ 1922121 h 3351243"/>
                  <a:gd name="connsiteX344" fmla="*/ 3963562 w 4378607"/>
                  <a:gd name="connsiteY344" fmla="*/ 1822378 h 3351243"/>
                  <a:gd name="connsiteX345" fmla="*/ 3986749 w 4378607"/>
                  <a:gd name="connsiteY345" fmla="*/ 1825128 h 3351243"/>
                  <a:gd name="connsiteX346" fmla="*/ 3989476 w 4378607"/>
                  <a:gd name="connsiteY346" fmla="*/ 1832003 h 3351243"/>
                  <a:gd name="connsiteX347" fmla="*/ 3990840 w 4378607"/>
                  <a:gd name="connsiteY347" fmla="*/ 1862253 h 3351243"/>
                  <a:gd name="connsiteX348" fmla="*/ 3979929 w 4378607"/>
                  <a:gd name="connsiteY348" fmla="*/ 1889753 h 3351243"/>
                  <a:gd name="connsiteX349" fmla="*/ 3988113 w 4378607"/>
                  <a:gd name="connsiteY349" fmla="*/ 1907628 h 3351243"/>
                  <a:gd name="connsiteX350" fmla="*/ 4009935 w 4378607"/>
                  <a:gd name="connsiteY350" fmla="*/ 1911753 h 3351243"/>
                  <a:gd name="connsiteX351" fmla="*/ 4020846 w 4378607"/>
                  <a:gd name="connsiteY351" fmla="*/ 1928253 h 3351243"/>
                  <a:gd name="connsiteX352" fmla="*/ 4038577 w 4378607"/>
                  <a:gd name="connsiteY352" fmla="*/ 1943378 h 3351243"/>
                  <a:gd name="connsiteX353" fmla="*/ 4042669 w 4378607"/>
                  <a:gd name="connsiteY353" fmla="*/ 1966753 h 3351243"/>
                  <a:gd name="connsiteX354" fmla="*/ 4034485 w 4378607"/>
                  <a:gd name="connsiteY354" fmla="*/ 1977753 h 3351243"/>
                  <a:gd name="connsiteX355" fmla="*/ 4030394 w 4378607"/>
                  <a:gd name="connsiteY355" fmla="*/ 1983253 h 3351243"/>
                  <a:gd name="connsiteX356" fmla="*/ 4022210 w 4378607"/>
                  <a:gd name="connsiteY356" fmla="*/ 1959878 h 3351243"/>
                  <a:gd name="connsiteX357" fmla="*/ 4015391 w 4378607"/>
                  <a:gd name="connsiteY357" fmla="*/ 1951628 h 3351243"/>
                  <a:gd name="connsiteX358" fmla="*/ 4011299 w 4378607"/>
                  <a:gd name="connsiteY358" fmla="*/ 1933753 h 3351243"/>
                  <a:gd name="connsiteX359" fmla="*/ 3992204 w 4378607"/>
                  <a:gd name="connsiteY359" fmla="*/ 1917253 h 3351243"/>
                  <a:gd name="connsiteX360" fmla="*/ 3977201 w 4378607"/>
                  <a:gd name="connsiteY360" fmla="*/ 1911753 h 3351243"/>
                  <a:gd name="connsiteX361" fmla="*/ 3960835 w 4378607"/>
                  <a:gd name="connsiteY361" fmla="*/ 1906253 h 3351243"/>
                  <a:gd name="connsiteX362" fmla="*/ 3956743 w 4378607"/>
                  <a:gd name="connsiteY362" fmla="*/ 1891128 h 3351243"/>
                  <a:gd name="connsiteX363" fmla="*/ 3952651 w 4378607"/>
                  <a:gd name="connsiteY363" fmla="*/ 1865003 h 3351243"/>
                  <a:gd name="connsiteX364" fmla="*/ 3960835 w 4378607"/>
                  <a:gd name="connsiteY364" fmla="*/ 1867753 h 3351243"/>
                  <a:gd name="connsiteX365" fmla="*/ 3963562 w 4378607"/>
                  <a:gd name="connsiteY365" fmla="*/ 1822378 h 3351243"/>
                  <a:gd name="connsiteX366" fmla="*/ 826208 w 4378607"/>
                  <a:gd name="connsiteY366" fmla="*/ 1818970 h 3351243"/>
                  <a:gd name="connsiteX367" fmla="*/ 854527 w 4378607"/>
                  <a:gd name="connsiteY367" fmla="*/ 1828838 h 3351243"/>
                  <a:gd name="connsiteX368" fmla="*/ 821870 w 4378607"/>
                  <a:gd name="connsiteY368" fmla="*/ 1821958 h 3351243"/>
                  <a:gd name="connsiteX369" fmla="*/ 826208 w 4378607"/>
                  <a:gd name="connsiteY369" fmla="*/ 1818970 h 3351243"/>
                  <a:gd name="connsiteX370" fmla="*/ 1013328 w 4378607"/>
                  <a:gd name="connsiteY370" fmla="*/ 1817086 h 3351243"/>
                  <a:gd name="connsiteX371" fmla="*/ 1027600 w 4378607"/>
                  <a:gd name="connsiteY371" fmla="*/ 1823950 h 3351243"/>
                  <a:gd name="connsiteX372" fmla="*/ 1002078 w 4378607"/>
                  <a:gd name="connsiteY372" fmla="*/ 1823950 h 3351243"/>
                  <a:gd name="connsiteX373" fmla="*/ 1013328 w 4378607"/>
                  <a:gd name="connsiteY373" fmla="*/ 1817086 h 3351243"/>
                  <a:gd name="connsiteX374" fmla="*/ 3803668 w 4378607"/>
                  <a:gd name="connsiteY374" fmla="*/ 1790888 h 3351243"/>
                  <a:gd name="connsiteX375" fmla="*/ 3811791 w 4378607"/>
                  <a:gd name="connsiteY375" fmla="*/ 1793826 h 3351243"/>
                  <a:gd name="connsiteX376" fmla="*/ 3803495 w 4378607"/>
                  <a:gd name="connsiteY376" fmla="*/ 1815949 h 3351243"/>
                  <a:gd name="connsiteX377" fmla="*/ 3775842 w 4378607"/>
                  <a:gd name="connsiteY377" fmla="*/ 1817331 h 3351243"/>
                  <a:gd name="connsiteX378" fmla="*/ 3792434 w 4378607"/>
                  <a:gd name="connsiteY378" fmla="*/ 1791061 h 3351243"/>
                  <a:gd name="connsiteX379" fmla="*/ 3803668 w 4378607"/>
                  <a:gd name="connsiteY379" fmla="*/ 1790888 h 3351243"/>
                  <a:gd name="connsiteX380" fmla="*/ 904829 w 4378607"/>
                  <a:gd name="connsiteY380" fmla="*/ 1787448 h 3351243"/>
                  <a:gd name="connsiteX381" fmla="*/ 929782 w 4378607"/>
                  <a:gd name="connsiteY381" fmla="*/ 1792940 h 3351243"/>
                  <a:gd name="connsiteX382" fmla="*/ 938099 w 4378607"/>
                  <a:gd name="connsiteY382" fmla="*/ 1792940 h 3351243"/>
                  <a:gd name="connsiteX383" fmla="*/ 981074 w 4378607"/>
                  <a:gd name="connsiteY383" fmla="*/ 1813535 h 3351243"/>
                  <a:gd name="connsiteX384" fmla="*/ 947803 w 4378607"/>
                  <a:gd name="connsiteY384" fmla="*/ 1821772 h 3351243"/>
                  <a:gd name="connsiteX385" fmla="*/ 927009 w 4378607"/>
                  <a:gd name="connsiteY385" fmla="*/ 1830010 h 3351243"/>
                  <a:gd name="connsiteX386" fmla="*/ 904829 w 4378607"/>
                  <a:gd name="connsiteY386" fmla="*/ 1825891 h 3351243"/>
                  <a:gd name="connsiteX387" fmla="*/ 884035 w 4378607"/>
                  <a:gd name="connsiteY387" fmla="*/ 1820399 h 3351243"/>
                  <a:gd name="connsiteX388" fmla="*/ 914533 w 4378607"/>
                  <a:gd name="connsiteY388" fmla="*/ 1813535 h 3351243"/>
                  <a:gd name="connsiteX389" fmla="*/ 904829 w 4378607"/>
                  <a:gd name="connsiteY389" fmla="*/ 1787448 h 3351243"/>
                  <a:gd name="connsiteX390" fmla="*/ 758716 w 4378607"/>
                  <a:gd name="connsiteY390" fmla="*/ 1726702 h 3351243"/>
                  <a:gd name="connsiteX391" fmla="*/ 781140 w 4378607"/>
                  <a:gd name="connsiteY391" fmla="*/ 1727886 h 3351243"/>
                  <a:gd name="connsiteX392" fmla="*/ 857753 w 4378607"/>
                  <a:gd name="connsiteY392" fmla="*/ 1765087 h 3351243"/>
                  <a:gd name="connsiteX393" fmla="*/ 887851 w 4378607"/>
                  <a:gd name="connsiteY393" fmla="*/ 1785755 h 3351243"/>
                  <a:gd name="connsiteX394" fmla="*/ 835863 w 4378607"/>
                  <a:gd name="connsiteY394" fmla="*/ 1787133 h 3351243"/>
                  <a:gd name="connsiteX395" fmla="*/ 829023 w 4378607"/>
                  <a:gd name="connsiteY395" fmla="*/ 1771977 h 3351243"/>
                  <a:gd name="connsiteX396" fmla="*/ 794820 w 4378607"/>
                  <a:gd name="connsiteY396" fmla="*/ 1751309 h 3351243"/>
                  <a:gd name="connsiteX397" fmla="*/ 768827 w 4378607"/>
                  <a:gd name="connsiteY397" fmla="*/ 1743042 h 3351243"/>
                  <a:gd name="connsiteX398" fmla="*/ 752410 w 4378607"/>
                  <a:gd name="connsiteY398" fmla="*/ 1736153 h 3351243"/>
                  <a:gd name="connsiteX399" fmla="*/ 725048 w 4378607"/>
                  <a:gd name="connsiteY399" fmla="*/ 1751309 h 3351243"/>
                  <a:gd name="connsiteX400" fmla="*/ 758716 w 4378607"/>
                  <a:gd name="connsiteY400" fmla="*/ 1726702 h 3351243"/>
                  <a:gd name="connsiteX401" fmla="*/ 3986917 w 4378607"/>
                  <a:gd name="connsiteY401" fmla="*/ 1688739 h 3351243"/>
                  <a:gd name="connsiteX402" fmla="*/ 3967985 w 4378607"/>
                  <a:gd name="connsiteY402" fmla="*/ 1747047 h 3351243"/>
                  <a:gd name="connsiteX403" fmla="*/ 3959871 w 4378607"/>
                  <a:gd name="connsiteY403" fmla="*/ 1715859 h 3351243"/>
                  <a:gd name="connsiteX404" fmla="*/ 3986917 w 4378607"/>
                  <a:gd name="connsiteY404" fmla="*/ 1688739 h 3351243"/>
                  <a:gd name="connsiteX405" fmla="*/ 824288 w 4378607"/>
                  <a:gd name="connsiteY405" fmla="*/ 1683975 h 3351243"/>
                  <a:gd name="connsiteX406" fmla="*/ 829467 w 4378607"/>
                  <a:gd name="connsiteY406" fmla="*/ 1686809 h 3351243"/>
                  <a:gd name="connsiteX407" fmla="*/ 830896 w 4378607"/>
                  <a:gd name="connsiteY407" fmla="*/ 1700144 h 3351243"/>
                  <a:gd name="connsiteX408" fmla="*/ 835182 w 4378607"/>
                  <a:gd name="connsiteY408" fmla="*/ 1712146 h 3351243"/>
                  <a:gd name="connsiteX409" fmla="*/ 828039 w 4378607"/>
                  <a:gd name="connsiteY409" fmla="*/ 1704144 h 3351243"/>
                  <a:gd name="connsiteX410" fmla="*/ 822324 w 4378607"/>
                  <a:gd name="connsiteY410" fmla="*/ 1692143 h 3351243"/>
                  <a:gd name="connsiteX411" fmla="*/ 824288 w 4378607"/>
                  <a:gd name="connsiteY411" fmla="*/ 1683975 h 3351243"/>
                  <a:gd name="connsiteX412" fmla="*/ 4127138 w 4378607"/>
                  <a:gd name="connsiteY412" fmla="*/ 1508257 h 3351243"/>
                  <a:gd name="connsiteX413" fmla="*/ 4131348 w 4378607"/>
                  <a:gd name="connsiteY413" fmla="*/ 1510999 h 3351243"/>
                  <a:gd name="connsiteX414" fmla="*/ 4142123 w 4378607"/>
                  <a:gd name="connsiteY414" fmla="*/ 1520596 h 3351243"/>
                  <a:gd name="connsiteX415" fmla="*/ 4144817 w 4378607"/>
                  <a:gd name="connsiteY415" fmla="*/ 1532935 h 3351243"/>
                  <a:gd name="connsiteX416" fmla="*/ 4127307 w 4378607"/>
                  <a:gd name="connsiteY416" fmla="*/ 1564469 h 3351243"/>
                  <a:gd name="connsiteX417" fmla="*/ 4121919 w 4378607"/>
                  <a:gd name="connsiteY417" fmla="*/ 1541161 h 3351243"/>
                  <a:gd name="connsiteX418" fmla="*/ 4119225 w 4378607"/>
                  <a:gd name="connsiteY418" fmla="*/ 1521967 h 3351243"/>
                  <a:gd name="connsiteX419" fmla="*/ 4111143 w 4378607"/>
                  <a:gd name="connsiteY419" fmla="*/ 1527451 h 3351243"/>
                  <a:gd name="connsiteX420" fmla="*/ 4117878 w 4378607"/>
                  <a:gd name="connsiteY420" fmla="*/ 1513741 h 3351243"/>
                  <a:gd name="connsiteX421" fmla="*/ 4127138 w 4378607"/>
                  <a:gd name="connsiteY421" fmla="*/ 1508257 h 3351243"/>
                  <a:gd name="connsiteX422" fmla="*/ 4184026 w 4378607"/>
                  <a:gd name="connsiteY422" fmla="*/ 1494686 h 3351243"/>
                  <a:gd name="connsiteX423" fmla="*/ 4190999 w 4378607"/>
                  <a:gd name="connsiteY423" fmla="*/ 1500979 h 3351243"/>
                  <a:gd name="connsiteX424" fmla="*/ 4180114 w 4378607"/>
                  <a:gd name="connsiteY424" fmla="*/ 1518668 h 3351243"/>
                  <a:gd name="connsiteX425" fmla="*/ 4167867 w 4378607"/>
                  <a:gd name="connsiteY425" fmla="*/ 1524111 h 3351243"/>
                  <a:gd name="connsiteX426" fmla="*/ 4158342 w 4378607"/>
                  <a:gd name="connsiteY426" fmla="*/ 1529554 h 3351243"/>
                  <a:gd name="connsiteX427" fmla="*/ 4161064 w 4378607"/>
                  <a:gd name="connsiteY427" fmla="*/ 1503701 h 3351243"/>
                  <a:gd name="connsiteX428" fmla="*/ 4176031 w 4378607"/>
                  <a:gd name="connsiteY428" fmla="*/ 1499618 h 3351243"/>
                  <a:gd name="connsiteX429" fmla="*/ 4184026 w 4378607"/>
                  <a:gd name="connsiteY429" fmla="*/ 1494686 h 3351243"/>
                  <a:gd name="connsiteX430" fmla="*/ 2316120 w 4378607"/>
                  <a:gd name="connsiteY430" fmla="*/ 1407855 h 3351243"/>
                  <a:gd name="connsiteX431" fmla="*/ 2319336 w 4378607"/>
                  <a:gd name="connsiteY431" fmla="*/ 1409534 h 3351243"/>
                  <a:gd name="connsiteX432" fmla="*/ 2312566 w 4378607"/>
                  <a:gd name="connsiteY432" fmla="*/ 1426996 h 3351243"/>
                  <a:gd name="connsiteX433" fmla="*/ 2308504 w 4378607"/>
                  <a:gd name="connsiteY433" fmla="*/ 1440429 h 3351243"/>
                  <a:gd name="connsiteX434" fmla="*/ 2290902 w 4378607"/>
                  <a:gd name="connsiteY434" fmla="*/ 1426996 h 3351243"/>
                  <a:gd name="connsiteX435" fmla="*/ 2274653 w 4378607"/>
                  <a:gd name="connsiteY435" fmla="*/ 1416250 h 3351243"/>
                  <a:gd name="connsiteX436" fmla="*/ 2286840 w 4378607"/>
                  <a:gd name="connsiteY436" fmla="*/ 1408191 h 3351243"/>
                  <a:gd name="connsiteX437" fmla="*/ 2305796 w 4378607"/>
                  <a:gd name="connsiteY437" fmla="*/ 1408191 h 3351243"/>
                  <a:gd name="connsiteX438" fmla="*/ 2316120 w 4378607"/>
                  <a:gd name="connsiteY438" fmla="*/ 1407855 h 3351243"/>
                  <a:gd name="connsiteX439" fmla="*/ 2124202 w 4378607"/>
                  <a:gd name="connsiteY439" fmla="*/ 1370270 h 3351243"/>
                  <a:gd name="connsiteX440" fmla="*/ 2127476 w 4378607"/>
                  <a:gd name="connsiteY440" fmla="*/ 1373860 h 3351243"/>
                  <a:gd name="connsiteX441" fmla="*/ 2113869 w 4378607"/>
                  <a:gd name="connsiteY441" fmla="*/ 1379364 h 3351243"/>
                  <a:gd name="connsiteX442" fmla="*/ 2118631 w 4378607"/>
                  <a:gd name="connsiteY442" fmla="*/ 1371968 h 3351243"/>
                  <a:gd name="connsiteX443" fmla="*/ 2124202 w 4378607"/>
                  <a:gd name="connsiteY443" fmla="*/ 1370270 h 3351243"/>
                  <a:gd name="connsiteX444" fmla="*/ 2225683 w 4378607"/>
                  <a:gd name="connsiteY444" fmla="*/ 1342571 h 3351243"/>
                  <a:gd name="connsiteX445" fmla="*/ 2230653 w 4378607"/>
                  <a:gd name="connsiteY445" fmla="*/ 1351076 h 3351243"/>
                  <a:gd name="connsiteX446" fmla="*/ 2227911 w 4378607"/>
                  <a:gd name="connsiteY446" fmla="*/ 1382372 h 3351243"/>
                  <a:gd name="connsiteX447" fmla="*/ 2216943 w 4378607"/>
                  <a:gd name="connsiteY447" fmla="*/ 1390536 h 3351243"/>
                  <a:gd name="connsiteX448" fmla="*/ 2210088 w 4378607"/>
                  <a:gd name="connsiteY448" fmla="*/ 1371486 h 3351243"/>
                  <a:gd name="connsiteX449" fmla="*/ 2204604 w 4378607"/>
                  <a:gd name="connsiteY449" fmla="*/ 1346993 h 3351243"/>
                  <a:gd name="connsiteX450" fmla="*/ 2215572 w 4378607"/>
                  <a:gd name="connsiteY450" fmla="*/ 1344272 h 3351243"/>
                  <a:gd name="connsiteX451" fmla="*/ 2225683 w 4378607"/>
                  <a:gd name="connsiteY451" fmla="*/ 1342571 h 3351243"/>
                  <a:gd name="connsiteX452" fmla="*/ 4296042 w 4378607"/>
                  <a:gd name="connsiteY452" fmla="*/ 1341927 h 3351243"/>
                  <a:gd name="connsiteX453" fmla="*/ 4299267 w 4378607"/>
                  <a:gd name="connsiteY453" fmla="*/ 1345312 h 3351243"/>
                  <a:gd name="connsiteX454" fmla="*/ 4306146 w 4378607"/>
                  <a:gd name="connsiteY454" fmla="*/ 1396369 h 3351243"/>
                  <a:gd name="connsiteX455" fmla="*/ 4291012 w 4378607"/>
                  <a:gd name="connsiteY455" fmla="*/ 1417067 h 3351243"/>
                  <a:gd name="connsiteX456" fmla="*/ 4288260 w 4378607"/>
                  <a:gd name="connsiteY456" fmla="*/ 1447425 h 3351243"/>
                  <a:gd name="connsiteX457" fmla="*/ 4284133 w 4378607"/>
                  <a:gd name="connsiteY457" fmla="*/ 1473644 h 3351243"/>
                  <a:gd name="connsiteX458" fmla="*/ 4268999 w 4378607"/>
                  <a:gd name="connsiteY458" fmla="*/ 1476403 h 3351243"/>
                  <a:gd name="connsiteX459" fmla="*/ 4259368 w 4378607"/>
                  <a:gd name="connsiteY459" fmla="*/ 1487443 h 3351243"/>
                  <a:gd name="connsiteX460" fmla="*/ 4246985 w 4378607"/>
                  <a:gd name="connsiteY460" fmla="*/ 1487443 h 3351243"/>
                  <a:gd name="connsiteX461" fmla="*/ 4227724 w 4378607"/>
                  <a:gd name="connsiteY461" fmla="*/ 1488823 h 3351243"/>
                  <a:gd name="connsiteX462" fmla="*/ 4222220 w 4378607"/>
                  <a:gd name="connsiteY462" fmla="*/ 1491582 h 3351243"/>
                  <a:gd name="connsiteX463" fmla="*/ 4216717 w 4378607"/>
                  <a:gd name="connsiteY463" fmla="*/ 1504002 h 3351243"/>
                  <a:gd name="connsiteX464" fmla="*/ 4197455 w 4378607"/>
                  <a:gd name="connsiteY464" fmla="*/ 1505382 h 3351243"/>
                  <a:gd name="connsiteX465" fmla="*/ 4191952 w 4378607"/>
                  <a:gd name="connsiteY465" fmla="*/ 1488823 h 3351243"/>
                  <a:gd name="connsiteX466" fmla="*/ 4152053 w 4378607"/>
                  <a:gd name="connsiteY466" fmla="*/ 1499862 h 3351243"/>
                  <a:gd name="connsiteX467" fmla="*/ 4134167 w 4378607"/>
                  <a:gd name="connsiteY467" fmla="*/ 1505382 h 3351243"/>
                  <a:gd name="connsiteX468" fmla="*/ 4134167 w 4378607"/>
                  <a:gd name="connsiteY468" fmla="*/ 1494342 h 3351243"/>
                  <a:gd name="connsiteX469" fmla="*/ 4158932 w 4378607"/>
                  <a:gd name="connsiteY469" fmla="*/ 1472264 h 3351243"/>
                  <a:gd name="connsiteX470" fmla="*/ 4182321 w 4378607"/>
                  <a:gd name="connsiteY470" fmla="*/ 1470884 h 3351243"/>
                  <a:gd name="connsiteX471" fmla="*/ 4201583 w 4378607"/>
                  <a:gd name="connsiteY471" fmla="*/ 1468124 h 3351243"/>
                  <a:gd name="connsiteX472" fmla="*/ 4211214 w 4378607"/>
                  <a:gd name="connsiteY472" fmla="*/ 1463984 h 3351243"/>
                  <a:gd name="connsiteX473" fmla="*/ 4220844 w 4378607"/>
                  <a:gd name="connsiteY473" fmla="*/ 1444666 h 3351243"/>
                  <a:gd name="connsiteX474" fmla="*/ 4233227 w 4378607"/>
                  <a:gd name="connsiteY474" fmla="*/ 1429487 h 3351243"/>
                  <a:gd name="connsiteX475" fmla="*/ 4242858 w 4378607"/>
                  <a:gd name="connsiteY475" fmla="*/ 1435006 h 3351243"/>
                  <a:gd name="connsiteX476" fmla="*/ 4257992 w 4378607"/>
                  <a:gd name="connsiteY476" fmla="*/ 1421207 h 3351243"/>
                  <a:gd name="connsiteX477" fmla="*/ 4267623 w 4378607"/>
                  <a:gd name="connsiteY477" fmla="*/ 1403268 h 3351243"/>
                  <a:gd name="connsiteX478" fmla="*/ 4275878 w 4378607"/>
                  <a:gd name="connsiteY478" fmla="*/ 1378430 h 3351243"/>
                  <a:gd name="connsiteX479" fmla="*/ 4278629 w 4378607"/>
                  <a:gd name="connsiteY479" fmla="*/ 1352212 h 3351243"/>
                  <a:gd name="connsiteX480" fmla="*/ 4289980 w 4378607"/>
                  <a:gd name="connsiteY480" fmla="*/ 1344105 h 3351243"/>
                  <a:gd name="connsiteX481" fmla="*/ 4296042 w 4378607"/>
                  <a:gd name="connsiteY481" fmla="*/ 1341927 h 3351243"/>
                  <a:gd name="connsiteX482" fmla="*/ 2224541 w 4378607"/>
                  <a:gd name="connsiteY482" fmla="*/ 1297554 h 3351243"/>
                  <a:gd name="connsiteX483" fmla="*/ 2220459 w 4378607"/>
                  <a:gd name="connsiteY483" fmla="*/ 1334243 h 3351243"/>
                  <a:gd name="connsiteX484" fmla="*/ 2215016 w 4378607"/>
                  <a:gd name="connsiteY484" fmla="*/ 1307432 h 3351243"/>
                  <a:gd name="connsiteX485" fmla="*/ 2224541 w 4378607"/>
                  <a:gd name="connsiteY485" fmla="*/ 1297554 h 3351243"/>
                  <a:gd name="connsiteX486" fmla="*/ 4305270 w 4378607"/>
                  <a:gd name="connsiteY486" fmla="*/ 1246581 h 3351243"/>
                  <a:gd name="connsiteX487" fmla="*/ 4314322 w 4378607"/>
                  <a:gd name="connsiteY487" fmla="*/ 1250014 h 3351243"/>
                  <a:gd name="connsiteX488" fmla="*/ 4348484 w 4378607"/>
                  <a:gd name="connsiteY488" fmla="*/ 1280219 h 3351243"/>
                  <a:gd name="connsiteX489" fmla="*/ 4364881 w 4378607"/>
                  <a:gd name="connsiteY489" fmla="*/ 1276100 h 3351243"/>
                  <a:gd name="connsiteX490" fmla="*/ 4378546 w 4378607"/>
                  <a:gd name="connsiteY490" fmla="*/ 1270608 h 3351243"/>
                  <a:gd name="connsiteX491" fmla="*/ 4362148 w 4378607"/>
                  <a:gd name="connsiteY491" fmla="*/ 1295322 h 3351243"/>
                  <a:gd name="connsiteX492" fmla="*/ 4353950 w 4378607"/>
                  <a:gd name="connsiteY492" fmla="*/ 1303560 h 3351243"/>
                  <a:gd name="connsiteX493" fmla="*/ 4330720 w 4378607"/>
                  <a:gd name="connsiteY493" fmla="*/ 1315916 h 3351243"/>
                  <a:gd name="connsiteX494" fmla="*/ 4319788 w 4378607"/>
                  <a:gd name="connsiteY494" fmla="*/ 1321408 h 3351243"/>
                  <a:gd name="connsiteX495" fmla="*/ 4296558 w 4378607"/>
                  <a:gd name="connsiteY495" fmla="*/ 1314543 h 3351243"/>
                  <a:gd name="connsiteX496" fmla="*/ 4282894 w 4378607"/>
                  <a:gd name="connsiteY496" fmla="*/ 1315916 h 3351243"/>
                  <a:gd name="connsiteX497" fmla="*/ 4292459 w 4378607"/>
                  <a:gd name="connsiteY497" fmla="*/ 1329646 h 3351243"/>
                  <a:gd name="connsiteX498" fmla="*/ 4284260 w 4378607"/>
                  <a:gd name="connsiteY498" fmla="*/ 1332392 h 3351243"/>
                  <a:gd name="connsiteX499" fmla="*/ 4276062 w 4378607"/>
                  <a:gd name="connsiteY499" fmla="*/ 1336511 h 3351243"/>
                  <a:gd name="connsiteX500" fmla="*/ 4276062 w 4378607"/>
                  <a:gd name="connsiteY500" fmla="*/ 1321408 h 3351243"/>
                  <a:gd name="connsiteX501" fmla="*/ 4278795 w 4378607"/>
                  <a:gd name="connsiteY501" fmla="*/ 1310424 h 3351243"/>
                  <a:gd name="connsiteX502" fmla="*/ 4285627 w 4378607"/>
                  <a:gd name="connsiteY502" fmla="*/ 1299441 h 3351243"/>
                  <a:gd name="connsiteX503" fmla="*/ 4297925 w 4378607"/>
                  <a:gd name="connsiteY503" fmla="*/ 1292576 h 3351243"/>
                  <a:gd name="connsiteX504" fmla="*/ 4303391 w 4378607"/>
                  <a:gd name="connsiteY504" fmla="*/ 1276100 h 3351243"/>
                  <a:gd name="connsiteX505" fmla="*/ 4303391 w 4378607"/>
                  <a:gd name="connsiteY505" fmla="*/ 1255506 h 3351243"/>
                  <a:gd name="connsiteX506" fmla="*/ 4305270 w 4378607"/>
                  <a:gd name="connsiteY506" fmla="*/ 1246581 h 3351243"/>
                  <a:gd name="connsiteX507" fmla="*/ 1052317 w 4378607"/>
                  <a:gd name="connsiteY507" fmla="*/ 1133945 h 3351243"/>
                  <a:gd name="connsiteX508" fmla="*/ 1089257 w 4378607"/>
                  <a:gd name="connsiteY508" fmla="*/ 1152893 h 3351243"/>
                  <a:gd name="connsiteX509" fmla="*/ 1045928 w 4378607"/>
                  <a:gd name="connsiteY509" fmla="*/ 1134835 h 3351243"/>
                  <a:gd name="connsiteX510" fmla="*/ 1052317 w 4378607"/>
                  <a:gd name="connsiteY510" fmla="*/ 1133945 h 3351243"/>
                  <a:gd name="connsiteX511" fmla="*/ 1177235 w 4378607"/>
                  <a:gd name="connsiteY511" fmla="*/ 1092333 h 3351243"/>
                  <a:gd name="connsiteX512" fmla="*/ 1184121 w 4378607"/>
                  <a:gd name="connsiteY512" fmla="*/ 1099188 h 3351243"/>
                  <a:gd name="connsiteX513" fmla="*/ 1173104 w 4378607"/>
                  <a:gd name="connsiteY513" fmla="*/ 1121124 h 3351243"/>
                  <a:gd name="connsiteX514" fmla="*/ 1171727 w 4378607"/>
                  <a:gd name="connsiteY514" fmla="*/ 1133464 h 3351243"/>
                  <a:gd name="connsiteX515" fmla="*/ 1184121 w 4378607"/>
                  <a:gd name="connsiteY515" fmla="*/ 1133464 h 3351243"/>
                  <a:gd name="connsiteX516" fmla="*/ 1191006 w 4378607"/>
                  <a:gd name="connsiteY516" fmla="*/ 1144432 h 3351243"/>
                  <a:gd name="connsiteX517" fmla="*/ 1204777 w 4378607"/>
                  <a:gd name="connsiteY517" fmla="*/ 1148545 h 3351243"/>
                  <a:gd name="connsiteX518" fmla="*/ 1217171 w 4378607"/>
                  <a:gd name="connsiteY518" fmla="*/ 1151287 h 3351243"/>
                  <a:gd name="connsiteX519" fmla="*/ 1217171 w 4378607"/>
                  <a:gd name="connsiteY519" fmla="*/ 1170481 h 3351243"/>
                  <a:gd name="connsiteX520" fmla="*/ 1224057 w 4378607"/>
                  <a:gd name="connsiteY520" fmla="*/ 1174594 h 3351243"/>
                  <a:gd name="connsiteX521" fmla="*/ 1224057 w 4378607"/>
                  <a:gd name="connsiteY521" fmla="*/ 1185562 h 3351243"/>
                  <a:gd name="connsiteX522" fmla="*/ 1230942 w 4378607"/>
                  <a:gd name="connsiteY522" fmla="*/ 1202015 h 3351243"/>
                  <a:gd name="connsiteX523" fmla="*/ 1211663 w 4378607"/>
                  <a:gd name="connsiteY523" fmla="*/ 1199273 h 3351243"/>
                  <a:gd name="connsiteX524" fmla="*/ 1202023 w 4378607"/>
                  <a:gd name="connsiteY524" fmla="*/ 1193789 h 3351243"/>
                  <a:gd name="connsiteX525" fmla="*/ 1188252 w 4378607"/>
                  <a:gd name="connsiteY525" fmla="*/ 1200644 h 3351243"/>
                  <a:gd name="connsiteX526" fmla="*/ 1192383 w 4378607"/>
                  <a:gd name="connsiteY526" fmla="*/ 1186933 h 3351243"/>
                  <a:gd name="connsiteX527" fmla="*/ 1177235 w 4378607"/>
                  <a:gd name="connsiteY527" fmla="*/ 1182820 h 3351243"/>
                  <a:gd name="connsiteX528" fmla="*/ 1155201 w 4378607"/>
                  <a:gd name="connsiteY528" fmla="*/ 1186933 h 3351243"/>
                  <a:gd name="connsiteX529" fmla="*/ 1130414 w 4378607"/>
                  <a:gd name="connsiteY529" fmla="*/ 1188305 h 3351243"/>
                  <a:gd name="connsiteX530" fmla="*/ 1134545 w 4378607"/>
                  <a:gd name="connsiteY530" fmla="*/ 1164997 h 3351243"/>
                  <a:gd name="connsiteX531" fmla="*/ 1144185 w 4378607"/>
                  <a:gd name="connsiteY531" fmla="*/ 1154029 h 3351243"/>
                  <a:gd name="connsiteX532" fmla="*/ 1151070 w 4378607"/>
                  <a:gd name="connsiteY532" fmla="*/ 1136206 h 3351243"/>
                  <a:gd name="connsiteX533" fmla="*/ 1177235 w 4378607"/>
                  <a:gd name="connsiteY533" fmla="*/ 1092333 h 3351243"/>
                  <a:gd name="connsiteX534" fmla="*/ 4317532 w 4378607"/>
                  <a:gd name="connsiteY534" fmla="*/ 1025645 h 3351243"/>
                  <a:gd name="connsiteX535" fmla="*/ 4327337 w 4378607"/>
                  <a:gd name="connsiteY535" fmla="*/ 1048851 h 3351243"/>
                  <a:gd name="connsiteX536" fmla="*/ 4328738 w 4378607"/>
                  <a:gd name="connsiteY536" fmla="*/ 1088437 h 3351243"/>
                  <a:gd name="connsiteX537" fmla="*/ 4346948 w 4378607"/>
                  <a:gd name="connsiteY537" fmla="*/ 1155325 h 3351243"/>
                  <a:gd name="connsiteX538" fmla="*/ 4341345 w 4378607"/>
                  <a:gd name="connsiteY538" fmla="*/ 1159420 h 3351243"/>
                  <a:gd name="connsiteX539" fmla="*/ 4321735 w 4378607"/>
                  <a:gd name="connsiteY539" fmla="*/ 1160785 h 3351243"/>
                  <a:gd name="connsiteX540" fmla="*/ 4317532 w 4378607"/>
                  <a:gd name="connsiteY540" fmla="*/ 1192181 h 3351243"/>
                  <a:gd name="connsiteX541" fmla="*/ 4328738 w 4378607"/>
                  <a:gd name="connsiteY541" fmla="*/ 1214022 h 3351243"/>
                  <a:gd name="connsiteX542" fmla="*/ 4331540 w 4378607"/>
                  <a:gd name="connsiteY542" fmla="*/ 1231768 h 3351243"/>
                  <a:gd name="connsiteX543" fmla="*/ 4317532 w 4378607"/>
                  <a:gd name="connsiteY543" fmla="*/ 1216752 h 3351243"/>
                  <a:gd name="connsiteX544" fmla="*/ 4306326 w 4378607"/>
                  <a:gd name="connsiteY544" fmla="*/ 1229038 h 3351243"/>
                  <a:gd name="connsiteX545" fmla="*/ 4309128 w 4378607"/>
                  <a:gd name="connsiteY545" fmla="*/ 1177166 h 3351243"/>
                  <a:gd name="connsiteX546" fmla="*/ 4310529 w 4378607"/>
                  <a:gd name="connsiteY546" fmla="*/ 1103453 h 3351243"/>
                  <a:gd name="connsiteX547" fmla="*/ 4306326 w 4378607"/>
                  <a:gd name="connsiteY547" fmla="*/ 1066597 h 3351243"/>
                  <a:gd name="connsiteX548" fmla="*/ 4309128 w 4378607"/>
                  <a:gd name="connsiteY548" fmla="*/ 1046121 h 3351243"/>
                  <a:gd name="connsiteX549" fmla="*/ 4317532 w 4378607"/>
                  <a:gd name="connsiteY549" fmla="*/ 1025645 h 3351243"/>
                  <a:gd name="connsiteX550" fmla="*/ 1965122 w 4378607"/>
                  <a:gd name="connsiteY550" fmla="*/ 994354 h 3351243"/>
                  <a:gd name="connsiteX551" fmla="*/ 1975413 w 4378607"/>
                  <a:gd name="connsiteY551" fmla="*/ 994870 h 3351243"/>
                  <a:gd name="connsiteX552" fmla="*/ 1983647 w 4378607"/>
                  <a:gd name="connsiteY552" fmla="*/ 1016884 h 3351243"/>
                  <a:gd name="connsiteX553" fmla="*/ 1971297 w 4378607"/>
                  <a:gd name="connsiteY553" fmla="*/ 1026514 h 3351243"/>
                  <a:gd name="connsiteX554" fmla="*/ 1972669 w 4378607"/>
                  <a:gd name="connsiteY554" fmla="*/ 1029266 h 3351243"/>
                  <a:gd name="connsiteX555" fmla="*/ 1972669 w 4378607"/>
                  <a:gd name="connsiteY555" fmla="*/ 1073293 h 3351243"/>
                  <a:gd name="connsiteX556" fmla="*/ 1952085 w 4378607"/>
                  <a:gd name="connsiteY556" fmla="*/ 1077420 h 3351243"/>
                  <a:gd name="connsiteX557" fmla="*/ 1924641 w 4378607"/>
                  <a:gd name="connsiteY557" fmla="*/ 1091179 h 3351243"/>
                  <a:gd name="connsiteX558" fmla="*/ 1909546 w 4378607"/>
                  <a:gd name="connsiteY558" fmla="*/ 1076045 h 3351243"/>
                  <a:gd name="connsiteX559" fmla="*/ 1920524 w 4378607"/>
                  <a:gd name="connsiteY559" fmla="*/ 1063662 h 3351243"/>
                  <a:gd name="connsiteX560" fmla="*/ 1924641 w 4378607"/>
                  <a:gd name="connsiteY560" fmla="*/ 1047152 h 3351243"/>
                  <a:gd name="connsiteX561" fmla="*/ 1916407 w 4378607"/>
                  <a:gd name="connsiteY561" fmla="*/ 1034769 h 3351243"/>
                  <a:gd name="connsiteX562" fmla="*/ 1915035 w 4378607"/>
                  <a:gd name="connsiteY562" fmla="*/ 1019635 h 3351243"/>
                  <a:gd name="connsiteX563" fmla="*/ 1931502 w 4378607"/>
                  <a:gd name="connsiteY563" fmla="*/ 1019635 h 3351243"/>
                  <a:gd name="connsiteX564" fmla="*/ 1945224 w 4378607"/>
                  <a:gd name="connsiteY564" fmla="*/ 1011380 h 3351243"/>
                  <a:gd name="connsiteX565" fmla="*/ 1936991 w 4378607"/>
                  <a:gd name="connsiteY565" fmla="*/ 1003125 h 3351243"/>
                  <a:gd name="connsiteX566" fmla="*/ 1953458 w 4378607"/>
                  <a:gd name="connsiteY566" fmla="*/ 998998 h 3351243"/>
                  <a:gd name="connsiteX567" fmla="*/ 1954830 w 4378607"/>
                  <a:gd name="connsiteY567" fmla="*/ 998998 h 3351243"/>
                  <a:gd name="connsiteX568" fmla="*/ 1965122 w 4378607"/>
                  <a:gd name="connsiteY568" fmla="*/ 994354 h 3351243"/>
                  <a:gd name="connsiteX569" fmla="*/ 2264455 w 4378607"/>
                  <a:gd name="connsiteY569" fmla="*/ 975638 h 3351243"/>
                  <a:gd name="connsiteX570" fmla="*/ 2269898 w 4378607"/>
                  <a:gd name="connsiteY570" fmla="*/ 979657 h 3351243"/>
                  <a:gd name="connsiteX571" fmla="*/ 2275341 w 4378607"/>
                  <a:gd name="connsiteY571" fmla="*/ 975638 h 3351243"/>
                  <a:gd name="connsiteX572" fmla="*/ 2271259 w 4378607"/>
                  <a:gd name="connsiteY572" fmla="*/ 995730 h 3351243"/>
                  <a:gd name="connsiteX573" fmla="*/ 2260373 w 4378607"/>
                  <a:gd name="connsiteY573" fmla="*/ 1010464 h 3351243"/>
                  <a:gd name="connsiteX574" fmla="*/ 2256291 w 4378607"/>
                  <a:gd name="connsiteY574" fmla="*/ 1002428 h 3351243"/>
                  <a:gd name="connsiteX575" fmla="*/ 2260373 w 4378607"/>
                  <a:gd name="connsiteY575" fmla="*/ 997070 h 3351243"/>
                  <a:gd name="connsiteX576" fmla="*/ 2254930 w 4378607"/>
                  <a:gd name="connsiteY576" fmla="*/ 980996 h 3351243"/>
                  <a:gd name="connsiteX577" fmla="*/ 2264455 w 4378607"/>
                  <a:gd name="connsiteY577" fmla="*/ 975638 h 3351243"/>
                  <a:gd name="connsiteX578" fmla="*/ 2369740 w 4378607"/>
                  <a:gd name="connsiteY578" fmla="*/ 922904 h 3351243"/>
                  <a:gd name="connsiteX579" fmla="*/ 2358627 w 4378607"/>
                  <a:gd name="connsiteY579" fmla="*/ 947193 h 3351243"/>
                  <a:gd name="connsiteX580" fmla="*/ 2369740 w 4378607"/>
                  <a:gd name="connsiteY580" fmla="*/ 922904 h 3351243"/>
                  <a:gd name="connsiteX581" fmla="*/ 1972162 w 4378607"/>
                  <a:gd name="connsiteY581" fmla="*/ 908021 h 3351243"/>
                  <a:gd name="connsiteX582" fmla="*/ 1962760 w 4378607"/>
                  <a:gd name="connsiteY582" fmla="*/ 924690 h 3351243"/>
                  <a:gd name="connsiteX583" fmla="*/ 1972162 w 4378607"/>
                  <a:gd name="connsiteY583" fmla="*/ 908021 h 3351243"/>
                  <a:gd name="connsiteX584" fmla="*/ 2434927 w 4378607"/>
                  <a:gd name="connsiteY584" fmla="*/ 901302 h 3351243"/>
                  <a:gd name="connsiteX585" fmla="*/ 2435621 w 4378607"/>
                  <a:gd name="connsiteY585" fmla="*/ 905894 h 3351243"/>
                  <a:gd name="connsiteX586" fmla="*/ 2418952 w 4378607"/>
                  <a:gd name="connsiteY586" fmla="*/ 918141 h 3351243"/>
                  <a:gd name="connsiteX587" fmla="*/ 2425898 w 4378607"/>
                  <a:gd name="connsiteY587" fmla="*/ 901812 h 3351243"/>
                  <a:gd name="connsiteX588" fmla="*/ 2434927 w 4378607"/>
                  <a:gd name="connsiteY588" fmla="*/ 901302 h 3351243"/>
                  <a:gd name="connsiteX589" fmla="*/ 2024217 w 4378607"/>
                  <a:gd name="connsiteY589" fmla="*/ 895267 h 3351243"/>
                  <a:gd name="connsiteX590" fmla="*/ 2021478 w 4378607"/>
                  <a:gd name="connsiteY590" fmla="*/ 906235 h 3351243"/>
                  <a:gd name="connsiteX591" fmla="*/ 2010521 w 4378607"/>
                  <a:gd name="connsiteY591" fmla="*/ 922687 h 3351243"/>
                  <a:gd name="connsiteX592" fmla="*/ 2015999 w 4378607"/>
                  <a:gd name="connsiteY592" fmla="*/ 928171 h 3351243"/>
                  <a:gd name="connsiteX593" fmla="*/ 2044761 w 4378607"/>
                  <a:gd name="connsiteY593" fmla="*/ 929543 h 3351243"/>
                  <a:gd name="connsiteX594" fmla="*/ 2032435 w 4378607"/>
                  <a:gd name="connsiteY594" fmla="*/ 962447 h 3351243"/>
                  <a:gd name="connsiteX595" fmla="*/ 2026956 w 4378607"/>
                  <a:gd name="connsiteY595" fmla="*/ 974786 h 3351243"/>
                  <a:gd name="connsiteX596" fmla="*/ 2040652 w 4378607"/>
                  <a:gd name="connsiteY596" fmla="*/ 977528 h 3351243"/>
                  <a:gd name="connsiteX597" fmla="*/ 2051609 w 4378607"/>
                  <a:gd name="connsiteY597" fmla="*/ 987125 h 3351243"/>
                  <a:gd name="connsiteX598" fmla="*/ 2062566 w 4378607"/>
                  <a:gd name="connsiteY598" fmla="*/ 1010433 h 3351243"/>
                  <a:gd name="connsiteX599" fmla="*/ 2074892 w 4378607"/>
                  <a:gd name="connsiteY599" fmla="*/ 1033740 h 3351243"/>
                  <a:gd name="connsiteX600" fmla="*/ 2079001 w 4378607"/>
                  <a:gd name="connsiteY600" fmla="*/ 1044708 h 3351243"/>
                  <a:gd name="connsiteX601" fmla="*/ 2080371 w 4378607"/>
                  <a:gd name="connsiteY601" fmla="*/ 1054306 h 3351243"/>
                  <a:gd name="connsiteX602" fmla="*/ 2087219 w 4378607"/>
                  <a:gd name="connsiteY602" fmla="*/ 1055677 h 3351243"/>
                  <a:gd name="connsiteX603" fmla="*/ 2103654 w 4378607"/>
                  <a:gd name="connsiteY603" fmla="*/ 1065274 h 3351243"/>
                  <a:gd name="connsiteX604" fmla="*/ 2091328 w 4378607"/>
                  <a:gd name="connsiteY604" fmla="*/ 1084468 h 3351243"/>
                  <a:gd name="connsiteX605" fmla="*/ 2089958 w 4378607"/>
                  <a:gd name="connsiteY605" fmla="*/ 1095436 h 3351243"/>
                  <a:gd name="connsiteX606" fmla="*/ 2096806 w 4378607"/>
                  <a:gd name="connsiteY606" fmla="*/ 1099549 h 3351243"/>
                  <a:gd name="connsiteX607" fmla="*/ 2074892 w 4378607"/>
                  <a:gd name="connsiteY607" fmla="*/ 1110518 h 3351243"/>
                  <a:gd name="connsiteX608" fmla="*/ 2057087 w 4378607"/>
                  <a:gd name="connsiteY608" fmla="*/ 1113260 h 3351243"/>
                  <a:gd name="connsiteX609" fmla="*/ 2044761 w 4378607"/>
                  <a:gd name="connsiteY609" fmla="*/ 1110518 h 3351243"/>
                  <a:gd name="connsiteX610" fmla="*/ 2031065 w 4378607"/>
                  <a:gd name="connsiteY610" fmla="*/ 1114631 h 3351243"/>
                  <a:gd name="connsiteX611" fmla="*/ 2020108 w 4378607"/>
                  <a:gd name="connsiteY611" fmla="*/ 1116002 h 3351243"/>
                  <a:gd name="connsiteX612" fmla="*/ 2013260 w 4378607"/>
                  <a:gd name="connsiteY612" fmla="*/ 1124228 h 3351243"/>
                  <a:gd name="connsiteX613" fmla="*/ 2000934 w 4378607"/>
                  <a:gd name="connsiteY613" fmla="*/ 1121486 h 3351243"/>
                  <a:gd name="connsiteX614" fmla="*/ 1989977 w 4378607"/>
                  <a:gd name="connsiteY614" fmla="*/ 1129712 h 3351243"/>
                  <a:gd name="connsiteX615" fmla="*/ 2010521 w 4378607"/>
                  <a:gd name="connsiteY615" fmla="*/ 1099549 h 3351243"/>
                  <a:gd name="connsiteX616" fmla="*/ 2026956 w 4378607"/>
                  <a:gd name="connsiteY616" fmla="*/ 1096807 h 3351243"/>
                  <a:gd name="connsiteX617" fmla="*/ 2025586 w 4378607"/>
                  <a:gd name="connsiteY617" fmla="*/ 1092694 h 3351243"/>
                  <a:gd name="connsiteX618" fmla="*/ 2009151 w 4378607"/>
                  <a:gd name="connsiteY618" fmla="*/ 1089952 h 3351243"/>
                  <a:gd name="connsiteX619" fmla="*/ 1999564 w 4378607"/>
                  <a:gd name="connsiteY619" fmla="*/ 1087210 h 3351243"/>
                  <a:gd name="connsiteX620" fmla="*/ 1994086 w 4378607"/>
                  <a:gd name="connsiteY620" fmla="*/ 1078984 h 3351243"/>
                  <a:gd name="connsiteX621" fmla="*/ 2009151 w 4378607"/>
                  <a:gd name="connsiteY621" fmla="*/ 1066645 h 3351243"/>
                  <a:gd name="connsiteX622" fmla="*/ 1999564 w 4378607"/>
                  <a:gd name="connsiteY622" fmla="*/ 1058419 h 3351243"/>
                  <a:gd name="connsiteX623" fmla="*/ 2005042 w 4378607"/>
                  <a:gd name="connsiteY623" fmla="*/ 1047450 h 3351243"/>
                  <a:gd name="connsiteX624" fmla="*/ 2009151 w 4378607"/>
                  <a:gd name="connsiteY624" fmla="*/ 1044708 h 3351243"/>
                  <a:gd name="connsiteX625" fmla="*/ 2025586 w 4378607"/>
                  <a:gd name="connsiteY625" fmla="*/ 1043337 h 3351243"/>
                  <a:gd name="connsiteX626" fmla="*/ 2026956 w 4378607"/>
                  <a:gd name="connsiteY626" fmla="*/ 1026885 h 3351243"/>
                  <a:gd name="connsiteX627" fmla="*/ 2022847 w 4378607"/>
                  <a:gd name="connsiteY627" fmla="*/ 1018659 h 3351243"/>
                  <a:gd name="connsiteX628" fmla="*/ 2020108 w 4378607"/>
                  <a:gd name="connsiteY628" fmla="*/ 1007691 h 3351243"/>
                  <a:gd name="connsiteX629" fmla="*/ 2015999 w 4378607"/>
                  <a:gd name="connsiteY629" fmla="*/ 1002207 h 3351243"/>
                  <a:gd name="connsiteX630" fmla="*/ 1992716 w 4378607"/>
                  <a:gd name="connsiteY630" fmla="*/ 1004949 h 3351243"/>
                  <a:gd name="connsiteX631" fmla="*/ 1999564 w 4378607"/>
                  <a:gd name="connsiteY631" fmla="*/ 985754 h 3351243"/>
                  <a:gd name="connsiteX632" fmla="*/ 1998194 w 4378607"/>
                  <a:gd name="connsiteY632" fmla="*/ 972044 h 3351243"/>
                  <a:gd name="connsiteX633" fmla="*/ 1988607 w 4378607"/>
                  <a:gd name="connsiteY633" fmla="*/ 987125 h 3351243"/>
                  <a:gd name="connsiteX634" fmla="*/ 1981759 w 4378607"/>
                  <a:gd name="connsiteY634" fmla="*/ 974786 h 3351243"/>
                  <a:gd name="connsiteX635" fmla="*/ 1970802 w 4378607"/>
                  <a:gd name="connsiteY635" fmla="*/ 980270 h 3351243"/>
                  <a:gd name="connsiteX636" fmla="*/ 1984498 w 4378607"/>
                  <a:gd name="connsiteY636" fmla="*/ 967931 h 3351243"/>
                  <a:gd name="connsiteX637" fmla="*/ 1974911 w 4378607"/>
                  <a:gd name="connsiteY637" fmla="*/ 958334 h 3351243"/>
                  <a:gd name="connsiteX638" fmla="*/ 1981759 w 4378607"/>
                  <a:gd name="connsiteY638" fmla="*/ 944624 h 3351243"/>
                  <a:gd name="connsiteX639" fmla="*/ 1969433 w 4378607"/>
                  <a:gd name="connsiteY639" fmla="*/ 933656 h 3351243"/>
                  <a:gd name="connsiteX640" fmla="*/ 1979020 w 4378607"/>
                  <a:gd name="connsiteY640" fmla="*/ 937769 h 3351243"/>
                  <a:gd name="connsiteX641" fmla="*/ 1983129 w 4378607"/>
                  <a:gd name="connsiteY641" fmla="*/ 932285 h 3351243"/>
                  <a:gd name="connsiteX642" fmla="*/ 1989977 w 4378607"/>
                  <a:gd name="connsiteY642" fmla="*/ 918574 h 3351243"/>
                  <a:gd name="connsiteX643" fmla="*/ 2000934 w 4378607"/>
                  <a:gd name="connsiteY643" fmla="*/ 903493 h 3351243"/>
                  <a:gd name="connsiteX644" fmla="*/ 2017369 w 4378607"/>
                  <a:gd name="connsiteY644" fmla="*/ 902122 h 3351243"/>
                  <a:gd name="connsiteX645" fmla="*/ 2024217 w 4378607"/>
                  <a:gd name="connsiteY645" fmla="*/ 895267 h 3351243"/>
                  <a:gd name="connsiteX646" fmla="*/ 2426655 w 4378607"/>
                  <a:gd name="connsiteY646" fmla="*/ 891220 h 3351243"/>
                  <a:gd name="connsiteX647" fmla="*/ 2432337 w 4378607"/>
                  <a:gd name="connsiteY647" fmla="*/ 893535 h 3351243"/>
                  <a:gd name="connsiteX648" fmla="*/ 2421947 w 4378607"/>
                  <a:gd name="connsiteY648" fmla="*/ 894858 h 3351243"/>
                  <a:gd name="connsiteX649" fmla="*/ 2426655 w 4378607"/>
                  <a:gd name="connsiteY649" fmla="*/ 891220 h 3351243"/>
                  <a:gd name="connsiteX650" fmla="*/ 2056517 w 4378607"/>
                  <a:gd name="connsiteY650" fmla="*/ 843176 h 3351243"/>
                  <a:gd name="connsiteX651" fmla="*/ 2053695 w 4378607"/>
                  <a:gd name="connsiteY651" fmla="*/ 864343 h 3351243"/>
                  <a:gd name="connsiteX652" fmla="*/ 2056517 w 4378607"/>
                  <a:gd name="connsiteY652" fmla="*/ 843176 h 3351243"/>
                  <a:gd name="connsiteX653" fmla="*/ 802480 w 4378607"/>
                  <a:gd name="connsiteY653" fmla="*/ 795904 h 3351243"/>
                  <a:gd name="connsiteX654" fmla="*/ 801157 w 4378607"/>
                  <a:gd name="connsiteY654" fmla="*/ 818316 h 3351243"/>
                  <a:gd name="connsiteX655" fmla="*/ 802480 w 4378607"/>
                  <a:gd name="connsiteY655" fmla="*/ 795904 h 3351243"/>
                  <a:gd name="connsiteX656" fmla="*/ 758786 w 4378607"/>
                  <a:gd name="connsiteY656" fmla="*/ 776472 h 3351243"/>
                  <a:gd name="connsiteX657" fmla="*/ 765386 w 4378607"/>
                  <a:gd name="connsiteY657" fmla="*/ 777526 h 3351243"/>
                  <a:gd name="connsiteX658" fmla="*/ 739245 w 4378607"/>
                  <a:gd name="connsiteY658" fmla="*/ 798591 h 3351243"/>
                  <a:gd name="connsiteX659" fmla="*/ 758786 w 4378607"/>
                  <a:gd name="connsiteY659" fmla="*/ 776472 h 3351243"/>
                  <a:gd name="connsiteX660" fmla="*/ 709001 w 4378607"/>
                  <a:gd name="connsiteY660" fmla="*/ 688100 h 3351243"/>
                  <a:gd name="connsiteX661" fmla="*/ 717936 w 4378607"/>
                  <a:gd name="connsiteY661" fmla="*/ 691178 h 3351243"/>
                  <a:gd name="connsiteX662" fmla="*/ 737179 w 4378607"/>
                  <a:gd name="connsiteY662" fmla="*/ 708958 h 3351243"/>
                  <a:gd name="connsiteX663" fmla="*/ 768794 w 4378607"/>
                  <a:gd name="connsiteY663" fmla="*/ 730841 h 3351243"/>
                  <a:gd name="connsiteX664" fmla="*/ 789412 w 4378607"/>
                  <a:gd name="connsiteY664" fmla="*/ 751356 h 3351243"/>
                  <a:gd name="connsiteX665" fmla="*/ 757797 w 4378607"/>
                  <a:gd name="connsiteY665" fmla="*/ 751356 h 3351243"/>
                  <a:gd name="connsiteX666" fmla="*/ 737179 w 4378607"/>
                  <a:gd name="connsiteY666" fmla="*/ 751356 h 3351243"/>
                  <a:gd name="connsiteX667" fmla="*/ 711063 w 4378607"/>
                  <a:gd name="connsiteY667" fmla="*/ 769136 h 3351243"/>
                  <a:gd name="connsiteX668" fmla="*/ 701441 w 4378607"/>
                  <a:gd name="connsiteY668" fmla="*/ 754092 h 3351243"/>
                  <a:gd name="connsiteX669" fmla="*/ 682198 w 4378607"/>
                  <a:gd name="connsiteY669" fmla="*/ 755459 h 3351243"/>
                  <a:gd name="connsiteX670" fmla="*/ 695943 w 4378607"/>
                  <a:gd name="connsiteY670" fmla="*/ 729473 h 3351243"/>
                  <a:gd name="connsiteX671" fmla="*/ 700067 w 4378607"/>
                  <a:gd name="connsiteY671" fmla="*/ 703487 h 3351243"/>
                  <a:gd name="connsiteX672" fmla="*/ 709001 w 4378607"/>
                  <a:gd name="connsiteY672" fmla="*/ 688100 h 3351243"/>
                  <a:gd name="connsiteX673" fmla="*/ 1811016 w 4378607"/>
                  <a:gd name="connsiteY673" fmla="*/ 666893 h 3351243"/>
                  <a:gd name="connsiteX674" fmla="*/ 1826084 w 4378607"/>
                  <a:gd name="connsiteY674" fmla="*/ 675148 h 3351243"/>
                  <a:gd name="connsiteX675" fmla="*/ 1837043 w 4378607"/>
                  <a:gd name="connsiteY675" fmla="*/ 673772 h 3351243"/>
                  <a:gd name="connsiteX676" fmla="*/ 1839783 w 4378607"/>
                  <a:gd name="connsiteY676" fmla="*/ 686154 h 3351243"/>
                  <a:gd name="connsiteX677" fmla="*/ 1849372 w 4378607"/>
                  <a:gd name="connsiteY677" fmla="*/ 695785 h 3351243"/>
                  <a:gd name="connsiteX678" fmla="*/ 1857591 w 4378607"/>
                  <a:gd name="connsiteY678" fmla="*/ 710919 h 3351243"/>
                  <a:gd name="connsiteX679" fmla="*/ 1845262 w 4378607"/>
                  <a:gd name="connsiteY679" fmla="*/ 726054 h 3351243"/>
                  <a:gd name="connsiteX680" fmla="*/ 1832934 w 4378607"/>
                  <a:gd name="connsiteY680" fmla="*/ 737060 h 3351243"/>
                  <a:gd name="connsiteX681" fmla="*/ 1811016 w 4378607"/>
                  <a:gd name="connsiteY681" fmla="*/ 748067 h 3351243"/>
                  <a:gd name="connsiteX682" fmla="*/ 1791838 w 4378607"/>
                  <a:gd name="connsiteY682" fmla="*/ 754946 h 3351243"/>
                  <a:gd name="connsiteX683" fmla="*/ 1764441 w 4378607"/>
                  <a:gd name="connsiteY683" fmla="*/ 763201 h 3351243"/>
                  <a:gd name="connsiteX684" fmla="*/ 1735674 w 4378607"/>
                  <a:gd name="connsiteY684" fmla="*/ 749443 h 3351243"/>
                  <a:gd name="connsiteX685" fmla="*/ 1715126 w 4378607"/>
                  <a:gd name="connsiteY685" fmla="*/ 749443 h 3351243"/>
                  <a:gd name="connsiteX686" fmla="*/ 1723345 w 4378607"/>
                  <a:gd name="connsiteY686" fmla="*/ 743940 h 3351243"/>
                  <a:gd name="connsiteX687" fmla="*/ 1728825 w 4378607"/>
                  <a:gd name="connsiteY687" fmla="*/ 735685 h 3351243"/>
                  <a:gd name="connsiteX688" fmla="*/ 1723345 w 4378607"/>
                  <a:gd name="connsiteY688" fmla="*/ 728805 h 3351243"/>
                  <a:gd name="connsiteX689" fmla="*/ 1717866 w 4378607"/>
                  <a:gd name="connsiteY689" fmla="*/ 721926 h 3351243"/>
                  <a:gd name="connsiteX690" fmla="*/ 1694578 w 4378607"/>
                  <a:gd name="connsiteY690" fmla="*/ 720550 h 3351243"/>
                  <a:gd name="connsiteX691" fmla="*/ 1713756 w 4378607"/>
                  <a:gd name="connsiteY691" fmla="*/ 715047 h 3351243"/>
                  <a:gd name="connsiteX692" fmla="*/ 1721975 w 4378607"/>
                  <a:gd name="connsiteY692" fmla="*/ 709544 h 3351243"/>
                  <a:gd name="connsiteX693" fmla="*/ 1724715 w 4378607"/>
                  <a:gd name="connsiteY693" fmla="*/ 699913 h 3351243"/>
                  <a:gd name="connsiteX694" fmla="*/ 1705537 w 4378607"/>
                  <a:gd name="connsiteY694" fmla="*/ 699913 h 3351243"/>
                  <a:gd name="connsiteX695" fmla="*/ 1690469 w 4378607"/>
                  <a:gd name="connsiteY695" fmla="*/ 695785 h 3351243"/>
                  <a:gd name="connsiteX696" fmla="*/ 1697318 w 4378607"/>
                  <a:gd name="connsiteY696" fmla="*/ 683403 h 3351243"/>
                  <a:gd name="connsiteX697" fmla="*/ 1708277 w 4378607"/>
                  <a:gd name="connsiteY697" fmla="*/ 677899 h 3351243"/>
                  <a:gd name="connsiteX698" fmla="*/ 1713756 w 4378607"/>
                  <a:gd name="connsiteY698" fmla="*/ 679275 h 3351243"/>
                  <a:gd name="connsiteX699" fmla="*/ 1712386 w 4378607"/>
                  <a:gd name="connsiteY699" fmla="*/ 668268 h 3351243"/>
                  <a:gd name="connsiteX700" fmla="*/ 1735674 w 4378607"/>
                  <a:gd name="connsiteY700" fmla="*/ 687530 h 3351243"/>
                  <a:gd name="connsiteX701" fmla="*/ 1739783 w 4378607"/>
                  <a:gd name="connsiteY701" fmla="*/ 702664 h 3351243"/>
                  <a:gd name="connsiteX702" fmla="*/ 1750742 w 4378607"/>
                  <a:gd name="connsiteY702" fmla="*/ 697161 h 3351243"/>
                  <a:gd name="connsiteX703" fmla="*/ 1752112 w 4378607"/>
                  <a:gd name="connsiteY703" fmla="*/ 688906 h 3351243"/>
                  <a:gd name="connsiteX704" fmla="*/ 1760331 w 4378607"/>
                  <a:gd name="connsiteY704" fmla="*/ 682027 h 3351243"/>
                  <a:gd name="connsiteX705" fmla="*/ 1765811 w 4378607"/>
                  <a:gd name="connsiteY705" fmla="*/ 686154 h 3351243"/>
                  <a:gd name="connsiteX706" fmla="*/ 1776769 w 4378607"/>
                  <a:gd name="connsiteY706" fmla="*/ 677899 h 3351243"/>
                  <a:gd name="connsiteX707" fmla="*/ 1784989 w 4378607"/>
                  <a:gd name="connsiteY707" fmla="*/ 680651 h 3351243"/>
                  <a:gd name="connsiteX708" fmla="*/ 1794578 w 4378607"/>
                  <a:gd name="connsiteY708" fmla="*/ 679275 h 3351243"/>
                  <a:gd name="connsiteX709" fmla="*/ 1800057 w 4378607"/>
                  <a:gd name="connsiteY709" fmla="*/ 679275 h 3351243"/>
                  <a:gd name="connsiteX710" fmla="*/ 1809646 w 4378607"/>
                  <a:gd name="connsiteY710" fmla="*/ 677899 h 3351243"/>
                  <a:gd name="connsiteX711" fmla="*/ 1811016 w 4378607"/>
                  <a:gd name="connsiteY711" fmla="*/ 666893 h 3351243"/>
                  <a:gd name="connsiteX712" fmla="*/ 853620 w 4378607"/>
                  <a:gd name="connsiteY712" fmla="*/ 606991 h 3351243"/>
                  <a:gd name="connsiteX713" fmla="*/ 872670 w 4378607"/>
                  <a:gd name="connsiteY713" fmla="*/ 612349 h 3351243"/>
                  <a:gd name="connsiteX714" fmla="*/ 871309 w 4378607"/>
                  <a:gd name="connsiteY714" fmla="*/ 637799 h 3351243"/>
                  <a:gd name="connsiteX715" fmla="*/ 838652 w 4378607"/>
                  <a:gd name="connsiteY715" fmla="*/ 636459 h 3351243"/>
                  <a:gd name="connsiteX716" fmla="*/ 853620 w 4378607"/>
                  <a:gd name="connsiteY716" fmla="*/ 606991 h 3351243"/>
                  <a:gd name="connsiteX717" fmla="*/ 1206809 w 4378607"/>
                  <a:gd name="connsiteY717" fmla="*/ 542938 h 3351243"/>
                  <a:gd name="connsiteX718" fmla="*/ 1232400 w 4378607"/>
                  <a:gd name="connsiteY718" fmla="*/ 553546 h 3351243"/>
                  <a:gd name="connsiteX719" fmla="*/ 1246186 w 4378607"/>
                  <a:gd name="connsiteY719" fmla="*/ 567015 h 3351243"/>
                  <a:gd name="connsiteX720" fmla="*/ 1217235 w 4378607"/>
                  <a:gd name="connsiteY720" fmla="*/ 575097 h 3351243"/>
                  <a:gd name="connsiteX721" fmla="*/ 1199313 w 4378607"/>
                  <a:gd name="connsiteY721" fmla="*/ 562974 h 3351243"/>
                  <a:gd name="connsiteX722" fmla="*/ 1202070 w 4378607"/>
                  <a:gd name="connsiteY722" fmla="*/ 546811 h 3351243"/>
                  <a:gd name="connsiteX723" fmla="*/ 1206809 w 4378607"/>
                  <a:gd name="connsiteY723" fmla="*/ 542938 h 3351243"/>
                  <a:gd name="connsiteX724" fmla="*/ 3333898 w 4378607"/>
                  <a:gd name="connsiteY724" fmla="*/ 444778 h 3351243"/>
                  <a:gd name="connsiteX725" fmla="*/ 3337151 w 4378607"/>
                  <a:gd name="connsiteY725" fmla="*/ 448346 h 3351243"/>
                  <a:gd name="connsiteX726" fmla="*/ 3324904 w 4378607"/>
                  <a:gd name="connsiteY726" fmla="*/ 455226 h 3351243"/>
                  <a:gd name="connsiteX727" fmla="*/ 3333898 w 4378607"/>
                  <a:gd name="connsiteY727" fmla="*/ 444778 h 3351243"/>
                  <a:gd name="connsiteX728" fmla="*/ 259215 w 4378607"/>
                  <a:gd name="connsiteY728" fmla="*/ 443479 h 3351243"/>
                  <a:gd name="connsiteX729" fmla="*/ 252412 w 4378607"/>
                  <a:gd name="connsiteY729" fmla="*/ 457767 h 3351243"/>
                  <a:gd name="connsiteX730" fmla="*/ 259215 w 4378607"/>
                  <a:gd name="connsiteY730" fmla="*/ 443479 h 3351243"/>
                  <a:gd name="connsiteX731" fmla="*/ 3195360 w 4378607"/>
                  <a:gd name="connsiteY731" fmla="*/ 430778 h 3351243"/>
                  <a:gd name="connsiteX732" fmla="*/ 3213306 w 4378607"/>
                  <a:gd name="connsiteY732" fmla="*/ 438716 h 3351243"/>
                  <a:gd name="connsiteX733" fmla="*/ 3188458 w 4378607"/>
                  <a:gd name="connsiteY733" fmla="*/ 445330 h 3351243"/>
                  <a:gd name="connsiteX734" fmla="*/ 3195360 w 4378607"/>
                  <a:gd name="connsiteY734" fmla="*/ 430778 h 3351243"/>
                  <a:gd name="connsiteX735" fmla="*/ 401072 w 4378607"/>
                  <a:gd name="connsiteY735" fmla="*/ 417205 h 3351243"/>
                  <a:gd name="connsiteX736" fmla="*/ 398346 w 4378607"/>
                  <a:gd name="connsiteY736" fmla="*/ 444583 h 3351243"/>
                  <a:gd name="connsiteX737" fmla="*/ 405161 w 4378607"/>
                  <a:gd name="connsiteY737" fmla="*/ 487020 h 3351243"/>
                  <a:gd name="connsiteX738" fmla="*/ 411976 w 4378607"/>
                  <a:gd name="connsiteY738" fmla="*/ 514399 h 3351243"/>
                  <a:gd name="connsiteX739" fmla="*/ 436512 w 4378607"/>
                  <a:gd name="connsiteY739" fmla="*/ 529457 h 3351243"/>
                  <a:gd name="connsiteX740" fmla="*/ 465137 w 4378607"/>
                  <a:gd name="connsiteY740" fmla="*/ 555467 h 3351243"/>
                  <a:gd name="connsiteX741" fmla="*/ 441964 w 4378607"/>
                  <a:gd name="connsiteY741" fmla="*/ 555467 h 3351243"/>
                  <a:gd name="connsiteX742" fmla="*/ 426970 w 4378607"/>
                  <a:gd name="connsiteY742" fmla="*/ 567787 h 3351243"/>
                  <a:gd name="connsiteX743" fmla="*/ 439238 w 4378607"/>
                  <a:gd name="connsiteY743" fmla="*/ 569156 h 3351243"/>
                  <a:gd name="connsiteX744" fmla="*/ 448780 w 4378607"/>
                  <a:gd name="connsiteY744" fmla="*/ 585584 h 3351243"/>
                  <a:gd name="connsiteX745" fmla="*/ 399709 w 4378607"/>
                  <a:gd name="connsiteY745" fmla="*/ 585584 h 3351243"/>
                  <a:gd name="connsiteX746" fmla="*/ 379262 w 4378607"/>
                  <a:gd name="connsiteY746" fmla="*/ 577370 h 3351243"/>
                  <a:gd name="connsiteX747" fmla="*/ 366994 w 4378607"/>
                  <a:gd name="connsiteY747" fmla="*/ 576001 h 3351243"/>
                  <a:gd name="connsiteX748" fmla="*/ 343822 w 4378607"/>
                  <a:gd name="connsiteY748" fmla="*/ 588321 h 3351243"/>
                  <a:gd name="connsiteX749" fmla="*/ 297477 w 4378607"/>
                  <a:gd name="connsiteY749" fmla="*/ 600642 h 3351243"/>
                  <a:gd name="connsiteX750" fmla="*/ 262037 w 4378607"/>
                  <a:gd name="connsiteY750" fmla="*/ 581477 h 3351243"/>
                  <a:gd name="connsiteX751" fmla="*/ 226596 w 4378607"/>
                  <a:gd name="connsiteY751" fmla="*/ 573263 h 3351243"/>
                  <a:gd name="connsiteX752" fmla="*/ 204787 w 4378607"/>
                  <a:gd name="connsiteY752" fmla="*/ 555467 h 3351243"/>
                  <a:gd name="connsiteX753" fmla="*/ 204787 w 4378607"/>
                  <a:gd name="connsiteY753" fmla="*/ 554098 h 3351243"/>
                  <a:gd name="connsiteX754" fmla="*/ 215692 w 4378607"/>
                  <a:gd name="connsiteY754" fmla="*/ 530826 h 3351243"/>
                  <a:gd name="connsiteX755" fmla="*/ 229322 w 4378607"/>
                  <a:gd name="connsiteY755" fmla="*/ 502079 h 3351243"/>
                  <a:gd name="connsiteX756" fmla="*/ 232049 w 4378607"/>
                  <a:gd name="connsiteY756" fmla="*/ 497972 h 3351243"/>
                  <a:gd name="connsiteX757" fmla="*/ 249769 w 4378607"/>
                  <a:gd name="connsiteY757" fmla="*/ 461011 h 3351243"/>
                  <a:gd name="connsiteX758" fmla="*/ 263400 w 4378607"/>
                  <a:gd name="connsiteY758" fmla="*/ 462379 h 3351243"/>
                  <a:gd name="connsiteX759" fmla="*/ 274304 w 4378607"/>
                  <a:gd name="connsiteY759" fmla="*/ 444583 h 3351243"/>
                  <a:gd name="connsiteX760" fmla="*/ 300203 w 4378607"/>
                  <a:gd name="connsiteY760" fmla="*/ 459642 h 3351243"/>
                  <a:gd name="connsiteX761" fmla="*/ 304292 w 4378607"/>
                  <a:gd name="connsiteY761" fmla="*/ 463748 h 3351243"/>
                  <a:gd name="connsiteX762" fmla="*/ 323376 w 4378607"/>
                  <a:gd name="connsiteY762" fmla="*/ 462379 h 3351243"/>
                  <a:gd name="connsiteX763" fmla="*/ 311108 w 4378607"/>
                  <a:gd name="connsiteY763" fmla="*/ 445952 h 3351243"/>
                  <a:gd name="connsiteX764" fmla="*/ 339733 w 4378607"/>
                  <a:gd name="connsiteY764" fmla="*/ 459642 h 3351243"/>
                  <a:gd name="connsiteX765" fmla="*/ 352000 w 4378607"/>
                  <a:gd name="connsiteY765" fmla="*/ 492496 h 3351243"/>
                  <a:gd name="connsiteX766" fmla="*/ 361542 w 4378607"/>
                  <a:gd name="connsiteY766" fmla="*/ 482913 h 3351243"/>
                  <a:gd name="connsiteX767" fmla="*/ 352000 w 4378607"/>
                  <a:gd name="connsiteY767" fmla="*/ 436370 h 3351243"/>
                  <a:gd name="connsiteX768" fmla="*/ 368358 w 4378607"/>
                  <a:gd name="connsiteY768" fmla="*/ 436370 h 3351243"/>
                  <a:gd name="connsiteX769" fmla="*/ 390167 w 4378607"/>
                  <a:gd name="connsiteY769" fmla="*/ 445952 h 3351243"/>
                  <a:gd name="connsiteX770" fmla="*/ 369721 w 4378607"/>
                  <a:gd name="connsiteY770" fmla="*/ 426787 h 3351243"/>
                  <a:gd name="connsiteX771" fmla="*/ 401072 w 4378607"/>
                  <a:gd name="connsiteY771" fmla="*/ 417205 h 3351243"/>
                  <a:gd name="connsiteX772" fmla="*/ 711572 w 4378607"/>
                  <a:gd name="connsiteY772" fmla="*/ 415789 h 3351243"/>
                  <a:gd name="connsiteX773" fmla="*/ 718103 w 4378607"/>
                  <a:gd name="connsiteY773" fmla="*/ 418567 h 3351243"/>
                  <a:gd name="connsiteX774" fmla="*/ 701711 w 4378607"/>
                  <a:gd name="connsiteY774" fmla="*/ 436346 h 3351243"/>
                  <a:gd name="connsiteX775" fmla="*/ 693515 w 4378607"/>
                  <a:gd name="connsiteY775" fmla="*/ 462330 h 3351243"/>
                  <a:gd name="connsiteX776" fmla="*/ 697613 w 4378607"/>
                  <a:gd name="connsiteY776" fmla="*/ 486948 h 3351243"/>
                  <a:gd name="connsiteX777" fmla="*/ 723567 w 4378607"/>
                  <a:gd name="connsiteY777" fmla="*/ 499256 h 3351243"/>
                  <a:gd name="connsiteX778" fmla="*/ 707175 w 4378607"/>
                  <a:gd name="connsiteY778" fmla="*/ 485580 h 3351243"/>
                  <a:gd name="connsiteX779" fmla="*/ 715371 w 4378607"/>
                  <a:gd name="connsiteY779" fmla="*/ 467801 h 3351243"/>
                  <a:gd name="connsiteX780" fmla="*/ 711273 w 4378607"/>
                  <a:gd name="connsiteY780" fmla="*/ 440449 h 3351243"/>
                  <a:gd name="connsiteX781" fmla="*/ 744057 w 4378607"/>
                  <a:gd name="connsiteY781" fmla="*/ 424037 h 3351243"/>
                  <a:gd name="connsiteX782" fmla="*/ 775475 w 4378607"/>
                  <a:gd name="connsiteY782" fmla="*/ 424037 h 3351243"/>
                  <a:gd name="connsiteX783" fmla="*/ 786402 w 4378607"/>
                  <a:gd name="connsiteY783" fmla="*/ 447287 h 3351243"/>
                  <a:gd name="connsiteX784" fmla="*/ 785036 w 4378607"/>
                  <a:gd name="connsiteY784" fmla="*/ 478742 h 3351243"/>
                  <a:gd name="connsiteX785" fmla="*/ 810990 w 4378607"/>
                  <a:gd name="connsiteY785" fmla="*/ 469169 h 3351243"/>
                  <a:gd name="connsiteX786" fmla="*/ 821918 w 4378607"/>
                  <a:gd name="connsiteY786" fmla="*/ 473271 h 3351243"/>
                  <a:gd name="connsiteX787" fmla="*/ 838310 w 4378607"/>
                  <a:gd name="connsiteY787" fmla="*/ 456860 h 3351243"/>
                  <a:gd name="connsiteX788" fmla="*/ 872460 w 4378607"/>
                  <a:gd name="connsiteY788" fmla="*/ 473271 h 3351243"/>
                  <a:gd name="connsiteX789" fmla="*/ 891584 w 4378607"/>
                  <a:gd name="connsiteY789" fmla="*/ 486948 h 3351243"/>
                  <a:gd name="connsiteX790" fmla="*/ 910707 w 4378607"/>
                  <a:gd name="connsiteY790" fmla="*/ 504726 h 3351243"/>
                  <a:gd name="connsiteX791" fmla="*/ 933929 w 4378607"/>
                  <a:gd name="connsiteY791" fmla="*/ 503359 h 3351243"/>
                  <a:gd name="connsiteX792" fmla="*/ 920269 w 4378607"/>
                  <a:gd name="connsiteY792" fmla="*/ 518403 h 3351243"/>
                  <a:gd name="connsiteX793" fmla="*/ 925733 w 4378607"/>
                  <a:gd name="connsiteY793" fmla="*/ 523873 h 3351243"/>
                  <a:gd name="connsiteX794" fmla="*/ 946223 w 4378607"/>
                  <a:gd name="connsiteY794" fmla="*/ 519770 h 3351243"/>
                  <a:gd name="connsiteX795" fmla="*/ 958517 w 4378607"/>
                  <a:gd name="connsiteY795" fmla="*/ 527976 h 3351243"/>
                  <a:gd name="connsiteX796" fmla="*/ 981739 w 4378607"/>
                  <a:gd name="connsiteY796" fmla="*/ 537549 h 3351243"/>
                  <a:gd name="connsiteX797" fmla="*/ 979007 w 4378607"/>
                  <a:gd name="connsiteY797" fmla="*/ 552593 h 3351243"/>
                  <a:gd name="connsiteX798" fmla="*/ 991301 w 4378607"/>
                  <a:gd name="connsiteY798" fmla="*/ 545755 h 3351243"/>
                  <a:gd name="connsiteX799" fmla="*/ 999497 w 4378607"/>
                  <a:gd name="connsiteY799" fmla="*/ 562166 h 3351243"/>
                  <a:gd name="connsiteX800" fmla="*/ 989935 w 4378607"/>
                  <a:gd name="connsiteY800" fmla="*/ 570372 h 3351243"/>
                  <a:gd name="connsiteX801" fmla="*/ 1007693 w 4378607"/>
                  <a:gd name="connsiteY801" fmla="*/ 581313 h 3351243"/>
                  <a:gd name="connsiteX802" fmla="*/ 987203 w 4378607"/>
                  <a:gd name="connsiteY802" fmla="*/ 586783 h 3351243"/>
                  <a:gd name="connsiteX803" fmla="*/ 1007693 w 4378607"/>
                  <a:gd name="connsiteY803" fmla="*/ 608665 h 3351243"/>
                  <a:gd name="connsiteX804" fmla="*/ 1035012 w 4378607"/>
                  <a:gd name="connsiteY804" fmla="*/ 619606 h 3351243"/>
                  <a:gd name="connsiteX805" fmla="*/ 1063698 w 4378607"/>
                  <a:gd name="connsiteY805" fmla="*/ 637385 h 3351243"/>
                  <a:gd name="connsiteX806" fmla="*/ 1077358 w 4378607"/>
                  <a:gd name="connsiteY806" fmla="*/ 652428 h 3351243"/>
                  <a:gd name="connsiteX807" fmla="*/ 1095116 w 4378607"/>
                  <a:gd name="connsiteY807" fmla="*/ 666105 h 3351243"/>
                  <a:gd name="connsiteX808" fmla="*/ 1074626 w 4378607"/>
                  <a:gd name="connsiteY808" fmla="*/ 689354 h 3351243"/>
                  <a:gd name="connsiteX809" fmla="*/ 1058234 w 4378607"/>
                  <a:gd name="connsiteY809" fmla="*/ 700295 h 3351243"/>
                  <a:gd name="connsiteX810" fmla="*/ 1041842 w 4378607"/>
                  <a:gd name="connsiteY810" fmla="*/ 705765 h 3351243"/>
                  <a:gd name="connsiteX811" fmla="*/ 1018620 w 4378607"/>
                  <a:gd name="connsiteY811" fmla="*/ 678413 h 3351243"/>
                  <a:gd name="connsiteX812" fmla="*/ 996765 w 4378607"/>
                  <a:gd name="connsiteY812" fmla="*/ 670207 h 3351243"/>
                  <a:gd name="connsiteX813" fmla="*/ 992667 w 4378607"/>
                  <a:gd name="connsiteY813" fmla="*/ 690722 h 3351243"/>
                  <a:gd name="connsiteX814" fmla="*/ 1018620 w 4378607"/>
                  <a:gd name="connsiteY814" fmla="*/ 719441 h 3351243"/>
                  <a:gd name="connsiteX815" fmla="*/ 1033646 w 4378607"/>
                  <a:gd name="connsiteY815" fmla="*/ 745426 h 3351243"/>
                  <a:gd name="connsiteX816" fmla="*/ 1043208 w 4378607"/>
                  <a:gd name="connsiteY816" fmla="*/ 767308 h 3351243"/>
                  <a:gd name="connsiteX817" fmla="*/ 999497 w 4378607"/>
                  <a:gd name="connsiteY817" fmla="*/ 763205 h 3351243"/>
                  <a:gd name="connsiteX818" fmla="*/ 976275 w 4378607"/>
                  <a:gd name="connsiteY818" fmla="*/ 759102 h 3351243"/>
                  <a:gd name="connsiteX819" fmla="*/ 1017254 w 4378607"/>
                  <a:gd name="connsiteY819" fmla="*/ 809704 h 3351243"/>
                  <a:gd name="connsiteX820" fmla="*/ 968079 w 4378607"/>
                  <a:gd name="connsiteY820" fmla="*/ 786454 h 3351243"/>
                  <a:gd name="connsiteX821" fmla="*/ 931197 w 4378607"/>
                  <a:gd name="connsiteY821" fmla="*/ 772778 h 3351243"/>
                  <a:gd name="connsiteX822" fmla="*/ 921635 w 4378607"/>
                  <a:gd name="connsiteY822" fmla="*/ 748161 h 3351243"/>
                  <a:gd name="connsiteX823" fmla="*/ 903877 w 4378607"/>
                  <a:gd name="connsiteY823" fmla="*/ 729015 h 3351243"/>
                  <a:gd name="connsiteX824" fmla="*/ 879290 w 4378607"/>
                  <a:gd name="connsiteY824" fmla="*/ 730382 h 3351243"/>
                  <a:gd name="connsiteX825" fmla="*/ 864264 w 4378607"/>
                  <a:gd name="connsiteY825" fmla="*/ 733118 h 3351243"/>
                  <a:gd name="connsiteX826" fmla="*/ 828748 w 4378607"/>
                  <a:gd name="connsiteY826" fmla="*/ 731750 h 3351243"/>
                  <a:gd name="connsiteX827" fmla="*/ 838310 w 4378607"/>
                  <a:gd name="connsiteY827" fmla="*/ 708501 h 3351243"/>
                  <a:gd name="connsiteX828" fmla="*/ 858800 w 4378607"/>
                  <a:gd name="connsiteY828" fmla="*/ 703030 h 3351243"/>
                  <a:gd name="connsiteX829" fmla="*/ 895682 w 4378607"/>
                  <a:gd name="connsiteY829" fmla="*/ 693457 h 3351243"/>
                  <a:gd name="connsiteX830" fmla="*/ 899779 w 4378607"/>
                  <a:gd name="connsiteY830" fmla="*/ 662002 h 3351243"/>
                  <a:gd name="connsiteX831" fmla="*/ 940759 w 4378607"/>
                  <a:gd name="connsiteY831" fmla="*/ 679781 h 3351243"/>
                  <a:gd name="connsiteX832" fmla="*/ 963981 w 4378607"/>
                  <a:gd name="connsiteY832" fmla="*/ 666105 h 3351243"/>
                  <a:gd name="connsiteX833" fmla="*/ 939393 w 4378607"/>
                  <a:gd name="connsiteY833" fmla="*/ 652428 h 3351243"/>
                  <a:gd name="connsiteX834" fmla="*/ 913439 w 4378607"/>
                  <a:gd name="connsiteY834" fmla="*/ 655164 h 3351243"/>
                  <a:gd name="connsiteX835" fmla="*/ 913439 w 4378607"/>
                  <a:gd name="connsiteY835" fmla="*/ 622341 h 3351243"/>
                  <a:gd name="connsiteX836" fmla="*/ 888852 w 4378607"/>
                  <a:gd name="connsiteY836" fmla="*/ 603194 h 3351243"/>
                  <a:gd name="connsiteX837" fmla="*/ 875192 w 4378607"/>
                  <a:gd name="connsiteY837" fmla="*/ 585416 h 3351243"/>
                  <a:gd name="connsiteX838" fmla="*/ 850604 w 4378607"/>
                  <a:gd name="connsiteY838" fmla="*/ 593621 h 3351243"/>
                  <a:gd name="connsiteX839" fmla="*/ 865630 w 4378607"/>
                  <a:gd name="connsiteY839" fmla="*/ 577210 h 3351243"/>
                  <a:gd name="connsiteX840" fmla="*/ 841042 w 4378607"/>
                  <a:gd name="connsiteY840" fmla="*/ 558063 h 3351243"/>
                  <a:gd name="connsiteX841" fmla="*/ 832846 w 4378607"/>
                  <a:gd name="connsiteY841" fmla="*/ 548490 h 3351243"/>
                  <a:gd name="connsiteX842" fmla="*/ 813722 w 4378607"/>
                  <a:gd name="connsiteY842" fmla="*/ 534814 h 3351243"/>
                  <a:gd name="connsiteX843" fmla="*/ 810990 w 4378607"/>
                  <a:gd name="connsiteY843" fmla="*/ 543020 h 3351243"/>
                  <a:gd name="connsiteX844" fmla="*/ 812356 w 4378607"/>
                  <a:gd name="connsiteY844" fmla="*/ 555328 h 3351243"/>
                  <a:gd name="connsiteX845" fmla="*/ 776841 w 4378607"/>
                  <a:gd name="connsiteY845" fmla="*/ 549858 h 3351243"/>
                  <a:gd name="connsiteX846" fmla="*/ 760449 w 4378607"/>
                  <a:gd name="connsiteY846" fmla="*/ 558063 h 3351243"/>
                  <a:gd name="connsiteX847" fmla="*/ 726299 w 4378607"/>
                  <a:gd name="connsiteY847" fmla="*/ 549858 h 3351243"/>
                  <a:gd name="connsiteX848" fmla="*/ 694881 w 4378607"/>
                  <a:gd name="connsiteY848" fmla="*/ 544387 h 3351243"/>
                  <a:gd name="connsiteX849" fmla="*/ 678489 w 4378607"/>
                  <a:gd name="connsiteY849" fmla="*/ 540284 h 3351243"/>
                  <a:gd name="connsiteX850" fmla="*/ 647072 w 4378607"/>
                  <a:gd name="connsiteY850" fmla="*/ 521138 h 3351243"/>
                  <a:gd name="connsiteX851" fmla="*/ 671659 w 4378607"/>
                  <a:gd name="connsiteY851" fmla="*/ 519770 h 3351243"/>
                  <a:gd name="connsiteX852" fmla="*/ 674391 w 4378607"/>
                  <a:gd name="connsiteY852" fmla="*/ 510197 h 3351243"/>
                  <a:gd name="connsiteX853" fmla="*/ 641608 w 4378607"/>
                  <a:gd name="connsiteY853" fmla="*/ 503359 h 3351243"/>
                  <a:gd name="connsiteX854" fmla="*/ 656634 w 4378607"/>
                  <a:gd name="connsiteY854" fmla="*/ 437713 h 3351243"/>
                  <a:gd name="connsiteX855" fmla="*/ 711572 w 4378607"/>
                  <a:gd name="connsiteY855" fmla="*/ 415789 h 3351243"/>
                  <a:gd name="connsiteX856" fmla="*/ 788597 w 4378607"/>
                  <a:gd name="connsiteY856" fmla="*/ 415533 h 3351243"/>
                  <a:gd name="connsiteX857" fmla="*/ 796589 w 4378607"/>
                  <a:gd name="connsiteY857" fmla="*/ 417170 h 3351243"/>
                  <a:gd name="connsiteX858" fmla="*/ 814733 w 4378607"/>
                  <a:gd name="connsiteY858" fmla="*/ 420962 h 3351243"/>
                  <a:gd name="connsiteX859" fmla="*/ 854074 w 4378607"/>
                  <a:gd name="connsiteY859" fmla="*/ 445777 h 3351243"/>
                  <a:gd name="connsiteX860" fmla="*/ 816089 w 4378607"/>
                  <a:gd name="connsiteY860" fmla="*/ 452670 h 3351243"/>
                  <a:gd name="connsiteX861" fmla="*/ 793028 w 4378607"/>
                  <a:gd name="connsiteY861" fmla="*/ 443020 h 3351243"/>
                  <a:gd name="connsiteX862" fmla="*/ 783531 w 4378607"/>
                  <a:gd name="connsiteY862" fmla="*/ 419583 h 3351243"/>
                  <a:gd name="connsiteX863" fmla="*/ 788597 w 4378607"/>
                  <a:gd name="connsiteY863" fmla="*/ 415533 h 3351243"/>
                  <a:gd name="connsiteX864" fmla="*/ 587418 w 4378607"/>
                  <a:gd name="connsiteY864" fmla="*/ 403572 h 3351243"/>
                  <a:gd name="connsiteX865" fmla="*/ 613434 w 4378607"/>
                  <a:gd name="connsiteY865" fmla="*/ 409045 h 3351243"/>
                  <a:gd name="connsiteX866" fmla="*/ 629865 w 4378607"/>
                  <a:gd name="connsiteY866" fmla="*/ 418623 h 3351243"/>
                  <a:gd name="connsiteX867" fmla="*/ 606587 w 4378607"/>
                  <a:gd name="connsiteY867" fmla="*/ 455566 h 3351243"/>
                  <a:gd name="connsiteX868" fmla="*/ 581940 w 4378607"/>
                  <a:gd name="connsiteY868" fmla="*/ 452829 h 3351243"/>
                  <a:gd name="connsiteX869" fmla="*/ 580571 w 4378607"/>
                  <a:gd name="connsiteY869" fmla="*/ 459670 h 3351243"/>
                  <a:gd name="connsiteX870" fmla="*/ 579202 w 4378607"/>
                  <a:gd name="connsiteY870" fmla="*/ 471985 h 3351243"/>
                  <a:gd name="connsiteX871" fmla="*/ 566878 w 4378607"/>
                  <a:gd name="connsiteY871" fmla="*/ 481563 h 3351243"/>
                  <a:gd name="connsiteX872" fmla="*/ 570986 w 4378607"/>
                  <a:gd name="connsiteY872" fmla="*/ 489772 h 3351243"/>
                  <a:gd name="connsiteX873" fmla="*/ 591525 w 4378607"/>
                  <a:gd name="connsiteY873" fmla="*/ 506191 h 3351243"/>
                  <a:gd name="connsiteX874" fmla="*/ 590156 w 4378607"/>
                  <a:gd name="connsiteY874" fmla="*/ 523978 h 3351243"/>
                  <a:gd name="connsiteX875" fmla="*/ 605218 w 4378607"/>
                  <a:gd name="connsiteY875" fmla="*/ 533556 h 3351243"/>
                  <a:gd name="connsiteX876" fmla="*/ 614803 w 4378607"/>
                  <a:gd name="connsiteY876" fmla="*/ 545870 h 3351243"/>
                  <a:gd name="connsiteX877" fmla="*/ 605218 w 4378607"/>
                  <a:gd name="connsiteY877" fmla="*/ 549975 h 3351243"/>
                  <a:gd name="connsiteX878" fmla="*/ 605218 w 4378607"/>
                  <a:gd name="connsiteY878" fmla="*/ 566394 h 3351243"/>
                  <a:gd name="connsiteX879" fmla="*/ 616172 w 4378607"/>
                  <a:gd name="connsiteY879" fmla="*/ 562289 h 3351243"/>
                  <a:gd name="connsiteX880" fmla="*/ 632604 w 4378607"/>
                  <a:gd name="connsiteY880" fmla="*/ 569131 h 3351243"/>
                  <a:gd name="connsiteX881" fmla="*/ 628496 w 4378607"/>
                  <a:gd name="connsiteY881" fmla="*/ 577340 h 3351243"/>
                  <a:gd name="connsiteX882" fmla="*/ 627126 w 4378607"/>
                  <a:gd name="connsiteY882" fmla="*/ 585550 h 3351243"/>
                  <a:gd name="connsiteX883" fmla="*/ 631234 w 4378607"/>
                  <a:gd name="connsiteY883" fmla="*/ 607442 h 3351243"/>
                  <a:gd name="connsiteX884" fmla="*/ 639450 w 4378607"/>
                  <a:gd name="connsiteY884" fmla="*/ 592391 h 3351243"/>
                  <a:gd name="connsiteX885" fmla="*/ 644927 w 4378607"/>
                  <a:gd name="connsiteY885" fmla="*/ 580077 h 3351243"/>
                  <a:gd name="connsiteX886" fmla="*/ 659989 w 4378607"/>
                  <a:gd name="connsiteY886" fmla="*/ 584181 h 3351243"/>
                  <a:gd name="connsiteX887" fmla="*/ 669574 w 4378607"/>
                  <a:gd name="connsiteY887" fmla="*/ 596496 h 3351243"/>
                  <a:gd name="connsiteX888" fmla="*/ 670943 w 4378607"/>
                  <a:gd name="connsiteY888" fmla="*/ 608810 h 3351243"/>
                  <a:gd name="connsiteX889" fmla="*/ 664097 w 4378607"/>
                  <a:gd name="connsiteY889" fmla="*/ 618388 h 3351243"/>
                  <a:gd name="connsiteX890" fmla="*/ 673682 w 4378607"/>
                  <a:gd name="connsiteY890" fmla="*/ 637543 h 3351243"/>
                  <a:gd name="connsiteX891" fmla="*/ 683267 w 4378607"/>
                  <a:gd name="connsiteY891" fmla="*/ 645753 h 3351243"/>
                  <a:gd name="connsiteX892" fmla="*/ 694221 w 4378607"/>
                  <a:gd name="connsiteY892" fmla="*/ 636175 h 3351243"/>
                  <a:gd name="connsiteX893" fmla="*/ 688744 w 4378607"/>
                  <a:gd name="connsiteY893" fmla="*/ 625229 h 3351243"/>
                  <a:gd name="connsiteX894" fmla="*/ 690113 w 4378607"/>
                  <a:gd name="connsiteY894" fmla="*/ 610178 h 3351243"/>
                  <a:gd name="connsiteX895" fmla="*/ 696959 w 4378607"/>
                  <a:gd name="connsiteY895" fmla="*/ 622493 h 3351243"/>
                  <a:gd name="connsiteX896" fmla="*/ 705175 w 4378607"/>
                  <a:gd name="connsiteY896" fmla="*/ 603337 h 3351243"/>
                  <a:gd name="connsiteX897" fmla="*/ 714760 w 4378607"/>
                  <a:gd name="connsiteY897" fmla="*/ 595128 h 3351243"/>
                  <a:gd name="connsiteX898" fmla="*/ 717498 w 4378607"/>
                  <a:gd name="connsiteY898" fmla="*/ 585550 h 3351243"/>
                  <a:gd name="connsiteX899" fmla="*/ 713391 w 4378607"/>
                  <a:gd name="connsiteY899" fmla="*/ 577340 h 3351243"/>
                  <a:gd name="connsiteX900" fmla="*/ 712021 w 4378607"/>
                  <a:gd name="connsiteY900" fmla="*/ 558185 h 3351243"/>
                  <a:gd name="connsiteX901" fmla="*/ 736668 w 4378607"/>
                  <a:gd name="connsiteY901" fmla="*/ 560921 h 3351243"/>
                  <a:gd name="connsiteX902" fmla="*/ 754469 w 4378607"/>
                  <a:gd name="connsiteY902" fmla="*/ 567762 h 3351243"/>
                  <a:gd name="connsiteX903" fmla="*/ 766792 w 4378607"/>
                  <a:gd name="connsiteY903" fmla="*/ 577340 h 3351243"/>
                  <a:gd name="connsiteX904" fmla="*/ 772269 w 4378607"/>
                  <a:gd name="connsiteY904" fmla="*/ 585550 h 3351243"/>
                  <a:gd name="connsiteX905" fmla="*/ 776377 w 4378607"/>
                  <a:gd name="connsiteY905" fmla="*/ 596496 h 3351243"/>
                  <a:gd name="connsiteX906" fmla="*/ 759946 w 4378607"/>
                  <a:gd name="connsiteY906" fmla="*/ 603337 h 3351243"/>
                  <a:gd name="connsiteX907" fmla="*/ 759946 w 4378607"/>
                  <a:gd name="connsiteY907" fmla="*/ 611547 h 3351243"/>
                  <a:gd name="connsiteX908" fmla="*/ 765423 w 4378607"/>
                  <a:gd name="connsiteY908" fmla="*/ 625229 h 3351243"/>
                  <a:gd name="connsiteX909" fmla="*/ 772269 w 4378607"/>
                  <a:gd name="connsiteY909" fmla="*/ 645753 h 3351243"/>
                  <a:gd name="connsiteX910" fmla="*/ 764054 w 4378607"/>
                  <a:gd name="connsiteY910" fmla="*/ 652594 h 3351243"/>
                  <a:gd name="connsiteX911" fmla="*/ 748992 w 4378607"/>
                  <a:gd name="connsiteY911" fmla="*/ 666277 h 3351243"/>
                  <a:gd name="connsiteX912" fmla="*/ 735299 w 4378607"/>
                  <a:gd name="connsiteY912" fmla="*/ 666277 h 3351243"/>
                  <a:gd name="connsiteX913" fmla="*/ 724345 w 4378607"/>
                  <a:gd name="connsiteY913" fmla="*/ 653962 h 3351243"/>
                  <a:gd name="connsiteX914" fmla="*/ 721606 w 4378607"/>
                  <a:gd name="connsiteY914" fmla="*/ 659435 h 3351243"/>
                  <a:gd name="connsiteX915" fmla="*/ 731191 w 4378607"/>
                  <a:gd name="connsiteY915" fmla="*/ 673118 h 3351243"/>
                  <a:gd name="connsiteX916" fmla="*/ 713391 w 4378607"/>
                  <a:gd name="connsiteY916" fmla="*/ 674486 h 3351243"/>
                  <a:gd name="connsiteX917" fmla="*/ 703806 w 4378607"/>
                  <a:gd name="connsiteY917" fmla="*/ 666277 h 3351243"/>
                  <a:gd name="connsiteX918" fmla="*/ 691482 w 4378607"/>
                  <a:gd name="connsiteY918" fmla="*/ 671750 h 3351243"/>
                  <a:gd name="connsiteX919" fmla="*/ 701067 w 4378607"/>
                  <a:gd name="connsiteY919" fmla="*/ 682696 h 3351243"/>
                  <a:gd name="connsiteX920" fmla="*/ 676420 w 4378607"/>
                  <a:gd name="connsiteY920" fmla="*/ 703219 h 3351243"/>
                  <a:gd name="connsiteX921" fmla="*/ 644927 w 4378607"/>
                  <a:gd name="connsiteY921" fmla="*/ 685432 h 3351243"/>
                  <a:gd name="connsiteX922" fmla="*/ 643558 w 4378607"/>
                  <a:gd name="connsiteY922" fmla="*/ 696378 h 3351243"/>
                  <a:gd name="connsiteX923" fmla="*/ 670943 w 4378607"/>
                  <a:gd name="connsiteY923" fmla="*/ 707324 h 3351243"/>
                  <a:gd name="connsiteX924" fmla="*/ 683267 w 4378607"/>
                  <a:gd name="connsiteY924" fmla="*/ 715534 h 3351243"/>
                  <a:gd name="connsiteX925" fmla="*/ 661358 w 4378607"/>
                  <a:gd name="connsiteY925" fmla="*/ 744267 h 3351243"/>
                  <a:gd name="connsiteX926" fmla="*/ 638081 w 4378607"/>
                  <a:gd name="connsiteY926" fmla="*/ 738794 h 3351243"/>
                  <a:gd name="connsiteX927" fmla="*/ 633973 w 4378607"/>
                  <a:gd name="connsiteY927" fmla="*/ 755213 h 3351243"/>
                  <a:gd name="connsiteX928" fmla="*/ 614803 w 4378607"/>
                  <a:gd name="connsiteY928" fmla="*/ 752477 h 3351243"/>
                  <a:gd name="connsiteX929" fmla="*/ 579202 w 4378607"/>
                  <a:gd name="connsiteY929" fmla="*/ 744267 h 3351243"/>
                  <a:gd name="connsiteX930" fmla="*/ 603849 w 4378607"/>
                  <a:gd name="connsiteY930" fmla="*/ 757950 h 3351243"/>
                  <a:gd name="connsiteX931" fmla="*/ 627126 w 4378607"/>
                  <a:gd name="connsiteY931" fmla="*/ 767527 h 3351243"/>
                  <a:gd name="connsiteX932" fmla="*/ 607957 w 4378607"/>
                  <a:gd name="connsiteY932" fmla="*/ 781210 h 3351243"/>
                  <a:gd name="connsiteX933" fmla="*/ 601110 w 4378607"/>
                  <a:gd name="connsiteY933" fmla="*/ 786683 h 3351243"/>
                  <a:gd name="connsiteX934" fmla="*/ 597002 w 4378607"/>
                  <a:gd name="connsiteY934" fmla="*/ 792156 h 3351243"/>
                  <a:gd name="connsiteX935" fmla="*/ 590156 w 4378607"/>
                  <a:gd name="connsiteY935" fmla="*/ 800365 h 3351243"/>
                  <a:gd name="connsiteX936" fmla="*/ 584679 w 4378607"/>
                  <a:gd name="connsiteY936" fmla="*/ 815416 h 3351243"/>
                  <a:gd name="connsiteX937" fmla="*/ 573725 w 4378607"/>
                  <a:gd name="connsiteY937" fmla="*/ 826362 h 3351243"/>
                  <a:gd name="connsiteX938" fmla="*/ 562771 w 4378607"/>
                  <a:gd name="connsiteY938" fmla="*/ 857832 h 3351243"/>
                  <a:gd name="connsiteX939" fmla="*/ 562771 w 4378607"/>
                  <a:gd name="connsiteY939" fmla="*/ 893407 h 3351243"/>
                  <a:gd name="connsiteX940" fmla="*/ 580571 w 4378607"/>
                  <a:gd name="connsiteY940" fmla="*/ 898880 h 3351243"/>
                  <a:gd name="connsiteX941" fmla="*/ 591525 w 4378607"/>
                  <a:gd name="connsiteY941" fmla="*/ 915299 h 3351243"/>
                  <a:gd name="connsiteX942" fmla="*/ 599741 w 4378607"/>
                  <a:gd name="connsiteY942" fmla="*/ 939927 h 3351243"/>
                  <a:gd name="connsiteX943" fmla="*/ 597002 w 4378607"/>
                  <a:gd name="connsiteY943" fmla="*/ 948137 h 3351243"/>
                  <a:gd name="connsiteX944" fmla="*/ 620280 w 4378607"/>
                  <a:gd name="connsiteY944" fmla="*/ 939927 h 3351243"/>
                  <a:gd name="connsiteX945" fmla="*/ 642188 w 4378607"/>
                  <a:gd name="connsiteY945" fmla="*/ 950873 h 3351243"/>
                  <a:gd name="connsiteX946" fmla="*/ 658620 w 4378607"/>
                  <a:gd name="connsiteY946" fmla="*/ 954978 h 3351243"/>
                  <a:gd name="connsiteX947" fmla="*/ 673682 w 4378607"/>
                  <a:gd name="connsiteY947" fmla="*/ 965924 h 3351243"/>
                  <a:gd name="connsiteX948" fmla="*/ 690113 w 4378607"/>
                  <a:gd name="connsiteY948" fmla="*/ 979607 h 3351243"/>
                  <a:gd name="connsiteX949" fmla="*/ 712021 w 4378607"/>
                  <a:gd name="connsiteY949" fmla="*/ 991921 h 3351243"/>
                  <a:gd name="connsiteX950" fmla="*/ 728453 w 4378607"/>
                  <a:gd name="connsiteY950" fmla="*/ 996026 h 3351243"/>
                  <a:gd name="connsiteX951" fmla="*/ 751730 w 4378607"/>
                  <a:gd name="connsiteY951" fmla="*/ 997394 h 3351243"/>
                  <a:gd name="connsiteX952" fmla="*/ 761315 w 4378607"/>
                  <a:gd name="connsiteY952" fmla="*/ 1009708 h 3351243"/>
                  <a:gd name="connsiteX953" fmla="*/ 758577 w 4378607"/>
                  <a:gd name="connsiteY953" fmla="*/ 1024759 h 3351243"/>
                  <a:gd name="connsiteX954" fmla="*/ 759946 w 4378607"/>
                  <a:gd name="connsiteY954" fmla="*/ 1053492 h 3351243"/>
                  <a:gd name="connsiteX955" fmla="*/ 770900 w 4378607"/>
                  <a:gd name="connsiteY955" fmla="*/ 1069911 h 3351243"/>
                  <a:gd name="connsiteX956" fmla="*/ 781854 w 4378607"/>
                  <a:gd name="connsiteY956" fmla="*/ 1083594 h 3351243"/>
                  <a:gd name="connsiteX957" fmla="*/ 787331 w 4378607"/>
                  <a:gd name="connsiteY957" fmla="*/ 1095908 h 3351243"/>
                  <a:gd name="connsiteX958" fmla="*/ 801024 w 4378607"/>
                  <a:gd name="connsiteY958" fmla="*/ 1102749 h 3351243"/>
                  <a:gd name="connsiteX959" fmla="*/ 810609 w 4378607"/>
                  <a:gd name="connsiteY959" fmla="*/ 1090435 h 3351243"/>
                  <a:gd name="connsiteX960" fmla="*/ 817455 w 4378607"/>
                  <a:gd name="connsiteY960" fmla="*/ 1091803 h 3351243"/>
                  <a:gd name="connsiteX961" fmla="*/ 814717 w 4378607"/>
                  <a:gd name="connsiteY961" fmla="*/ 1082225 h 3351243"/>
                  <a:gd name="connsiteX962" fmla="*/ 818825 w 4378607"/>
                  <a:gd name="connsiteY962" fmla="*/ 1065806 h 3351243"/>
                  <a:gd name="connsiteX963" fmla="*/ 813347 w 4378607"/>
                  <a:gd name="connsiteY963" fmla="*/ 1042546 h 3351243"/>
                  <a:gd name="connsiteX964" fmla="*/ 809240 w 4378607"/>
                  <a:gd name="connsiteY964" fmla="*/ 1024759 h 3351243"/>
                  <a:gd name="connsiteX965" fmla="*/ 805132 w 4378607"/>
                  <a:gd name="connsiteY965" fmla="*/ 1005603 h 3351243"/>
                  <a:gd name="connsiteX966" fmla="*/ 827040 w 4378607"/>
                  <a:gd name="connsiteY966" fmla="*/ 996026 h 3351243"/>
                  <a:gd name="connsiteX967" fmla="*/ 850318 w 4378607"/>
                  <a:gd name="connsiteY967" fmla="*/ 970029 h 3351243"/>
                  <a:gd name="connsiteX968" fmla="*/ 846210 w 4378607"/>
                  <a:gd name="connsiteY968" fmla="*/ 927613 h 3351243"/>
                  <a:gd name="connsiteX969" fmla="*/ 822932 w 4378607"/>
                  <a:gd name="connsiteY969" fmla="*/ 905721 h 3351243"/>
                  <a:gd name="connsiteX970" fmla="*/ 827040 w 4378607"/>
                  <a:gd name="connsiteY970" fmla="*/ 886565 h 3351243"/>
                  <a:gd name="connsiteX971" fmla="*/ 832517 w 4378607"/>
                  <a:gd name="connsiteY971" fmla="*/ 874251 h 3351243"/>
                  <a:gd name="connsiteX972" fmla="*/ 837994 w 4378607"/>
                  <a:gd name="connsiteY972" fmla="*/ 864673 h 3351243"/>
                  <a:gd name="connsiteX973" fmla="*/ 832517 w 4378607"/>
                  <a:gd name="connsiteY973" fmla="*/ 848254 h 3351243"/>
                  <a:gd name="connsiteX974" fmla="*/ 827040 w 4378607"/>
                  <a:gd name="connsiteY974" fmla="*/ 837308 h 3351243"/>
                  <a:gd name="connsiteX975" fmla="*/ 832517 w 4378607"/>
                  <a:gd name="connsiteY975" fmla="*/ 827730 h 3351243"/>
                  <a:gd name="connsiteX976" fmla="*/ 836625 w 4378607"/>
                  <a:gd name="connsiteY976" fmla="*/ 819521 h 3351243"/>
                  <a:gd name="connsiteX977" fmla="*/ 825671 w 4378607"/>
                  <a:gd name="connsiteY977" fmla="*/ 805838 h 3351243"/>
                  <a:gd name="connsiteX978" fmla="*/ 832517 w 4378607"/>
                  <a:gd name="connsiteY978" fmla="*/ 792156 h 3351243"/>
                  <a:gd name="connsiteX979" fmla="*/ 853056 w 4378607"/>
                  <a:gd name="connsiteY979" fmla="*/ 792156 h 3351243"/>
                  <a:gd name="connsiteX980" fmla="*/ 866749 w 4378607"/>
                  <a:gd name="connsiteY980" fmla="*/ 797629 h 3351243"/>
                  <a:gd name="connsiteX981" fmla="*/ 880442 w 4378607"/>
                  <a:gd name="connsiteY981" fmla="*/ 800365 h 3351243"/>
                  <a:gd name="connsiteX982" fmla="*/ 896873 w 4378607"/>
                  <a:gd name="connsiteY982" fmla="*/ 793524 h 3351243"/>
                  <a:gd name="connsiteX983" fmla="*/ 907827 w 4378607"/>
                  <a:gd name="connsiteY983" fmla="*/ 800365 h 3351243"/>
                  <a:gd name="connsiteX984" fmla="*/ 914674 w 4378607"/>
                  <a:gd name="connsiteY984" fmla="*/ 808575 h 3351243"/>
                  <a:gd name="connsiteX985" fmla="*/ 921520 w 4378607"/>
                  <a:gd name="connsiteY985" fmla="*/ 815416 h 3351243"/>
                  <a:gd name="connsiteX986" fmla="*/ 929736 w 4378607"/>
                  <a:gd name="connsiteY986" fmla="*/ 826362 h 3351243"/>
                  <a:gd name="connsiteX987" fmla="*/ 948905 w 4378607"/>
                  <a:gd name="connsiteY987" fmla="*/ 833203 h 3351243"/>
                  <a:gd name="connsiteX988" fmla="*/ 957121 w 4378607"/>
                  <a:gd name="connsiteY988" fmla="*/ 837308 h 3351243"/>
                  <a:gd name="connsiteX989" fmla="*/ 965337 w 4378607"/>
                  <a:gd name="connsiteY989" fmla="*/ 838677 h 3351243"/>
                  <a:gd name="connsiteX990" fmla="*/ 959860 w 4378607"/>
                  <a:gd name="connsiteY990" fmla="*/ 855096 h 3351243"/>
                  <a:gd name="connsiteX991" fmla="*/ 962598 w 4378607"/>
                  <a:gd name="connsiteY991" fmla="*/ 875619 h 3351243"/>
                  <a:gd name="connsiteX992" fmla="*/ 968075 w 4378607"/>
                  <a:gd name="connsiteY992" fmla="*/ 889302 h 3351243"/>
                  <a:gd name="connsiteX993" fmla="*/ 976291 w 4378607"/>
                  <a:gd name="connsiteY993" fmla="*/ 896143 h 3351243"/>
                  <a:gd name="connsiteX994" fmla="*/ 985876 w 4378607"/>
                  <a:gd name="connsiteY994" fmla="*/ 905721 h 3351243"/>
                  <a:gd name="connsiteX995" fmla="*/ 994091 w 4378607"/>
                  <a:gd name="connsiteY995" fmla="*/ 913930 h 3351243"/>
                  <a:gd name="connsiteX996" fmla="*/ 1010523 w 4378607"/>
                  <a:gd name="connsiteY996" fmla="*/ 902984 h 3351243"/>
                  <a:gd name="connsiteX997" fmla="*/ 1020108 w 4378607"/>
                  <a:gd name="connsiteY997" fmla="*/ 901616 h 3351243"/>
                  <a:gd name="connsiteX998" fmla="*/ 1025585 w 4378607"/>
                  <a:gd name="connsiteY998" fmla="*/ 893407 h 3351243"/>
                  <a:gd name="connsiteX999" fmla="*/ 1028323 w 4378607"/>
                  <a:gd name="connsiteY999" fmla="*/ 883829 h 3351243"/>
                  <a:gd name="connsiteX1000" fmla="*/ 1031062 w 4378607"/>
                  <a:gd name="connsiteY1000" fmla="*/ 871515 h 3351243"/>
                  <a:gd name="connsiteX1001" fmla="*/ 1037908 w 4378607"/>
                  <a:gd name="connsiteY1001" fmla="*/ 859200 h 3351243"/>
                  <a:gd name="connsiteX1002" fmla="*/ 1044754 w 4378607"/>
                  <a:gd name="connsiteY1002" fmla="*/ 852359 h 3351243"/>
                  <a:gd name="connsiteX1003" fmla="*/ 1052970 w 4378607"/>
                  <a:gd name="connsiteY1003" fmla="*/ 870146 h 3351243"/>
                  <a:gd name="connsiteX1004" fmla="*/ 1063924 w 4378607"/>
                  <a:gd name="connsiteY1004" fmla="*/ 890670 h 3351243"/>
                  <a:gd name="connsiteX1005" fmla="*/ 1069401 w 4378607"/>
                  <a:gd name="connsiteY1005" fmla="*/ 905721 h 3351243"/>
                  <a:gd name="connsiteX1006" fmla="*/ 1076248 w 4378607"/>
                  <a:gd name="connsiteY1006" fmla="*/ 916667 h 3351243"/>
                  <a:gd name="connsiteX1007" fmla="*/ 1085833 w 4378607"/>
                  <a:gd name="connsiteY1007" fmla="*/ 930349 h 3351243"/>
                  <a:gd name="connsiteX1008" fmla="*/ 1088571 w 4378607"/>
                  <a:gd name="connsiteY1008" fmla="*/ 939927 h 3351243"/>
                  <a:gd name="connsiteX1009" fmla="*/ 1094048 w 4378607"/>
                  <a:gd name="connsiteY1009" fmla="*/ 948137 h 3351243"/>
                  <a:gd name="connsiteX1010" fmla="*/ 1081725 w 4378607"/>
                  <a:gd name="connsiteY1010" fmla="*/ 956346 h 3351243"/>
                  <a:gd name="connsiteX1011" fmla="*/ 1080356 w 4378607"/>
                  <a:gd name="connsiteY1011" fmla="*/ 961819 h 3351243"/>
                  <a:gd name="connsiteX1012" fmla="*/ 1106372 w 4378607"/>
                  <a:gd name="connsiteY1012" fmla="*/ 986448 h 3351243"/>
                  <a:gd name="connsiteX1013" fmla="*/ 1117326 w 4378607"/>
                  <a:gd name="connsiteY1013" fmla="*/ 996026 h 3351243"/>
                  <a:gd name="connsiteX1014" fmla="*/ 1126911 w 4378607"/>
                  <a:gd name="connsiteY1014" fmla="*/ 997394 h 3351243"/>
                  <a:gd name="connsiteX1015" fmla="*/ 1144711 w 4378607"/>
                  <a:gd name="connsiteY1015" fmla="*/ 1005603 h 3351243"/>
                  <a:gd name="connsiteX1016" fmla="*/ 1157035 w 4378607"/>
                  <a:gd name="connsiteY1016" fmla="*/ 1015181 h 3351243"/>
                  <a:gd name="connsiteX1017" fmla="*/ 1139234 w 4378607"/>
                  <a:gd name="connsiteY1017" fmla="*/ 1023391 h 3351243"/>
                  <a:gd name="connsiteX1018" fmla="*/ 1125542 w 4378607"/>
                  <a:gd name="connsiteY1018" fmla="*/ 1028864 h 3351243"/>
                  <a:gd name="connsiteX1019" fmla="*/ 1115957 w 4378607"/>
                  <a:gd name="connsiteY1019" fmla="*/ 1034337 h 3351243"/>
                  <a:gd name="connsiteX1020" fmla="*/ 1120065 w 4378607"/>
                  <a:gd name="connsiteY1020" fmla="*/ 1041178 h 3351243"/>
                  <a:gd name="connsiteX1021" fmla="*/ 1135126 w 4378607"/>
                  <a:gd name="connsiteY1021" fmla="*/ 1032968 h 3351243"/>
                  <a:gd name="connsiteX1022" fmla="*/ 1159773 w 4378607"/>
                  <a:gd name="connsiteY1022" fmla="*/ 1026127 h 3351243"/>
                  <a:gd name="connsiteX1023" fmla="*/ 1159773 w 4378607"/>
                  <a:gd name="connsiteY1023" fmla="*/ 1041178 h 3351243"/>
                  <a:gd name="connsiteX1024" fmla="*/ 1177574 w 4378607"/>
                  <a:gd name="connsiteY1024" fmla="*/ 1038441 h 3351243"/>
                  <a:gd name="connsiteX1025" fmla="*/ 1185790 w 4378607"/>
                  <a:gd name="connsiteY1025" fmla="*/ 1053492 h 3351243"/>
                  <a:gd name="connsiteX1026" fmla="*/ 1176205 w 4378607"/>
                  <a:gd name="connsiteY1026" fmla="*/ 1064438 h 3351243"/>
                  <a:gd name="connsiteX1027" fmla="*/ 1180312 w 4378607"/>
                  <a:gd name="connsiteY1027" fmla="*/ 1069911 h 3351243"/>
                  <a:gd name="connsiteX1028" fmla="*/ 1181682 w 4378607"/>
                  <a:gd name="connsiteY1028" fmla="*/ 1078121 h 3351243"/>
                  <a:gd name="connsiteX1029" fmla="*/ 1159773 w 4378607"/>
                  <a:gd name="connsiteY1029" fmla="*/ 1094540 h 3351243"/>
                  <a:gd name="connsiteX1030" fmla="*/ 1137865 w 4378607"/>
                  <a:gd name="connsiteY1030" fmla="*/ 1101381 h 3351243"/>
                  <a:gd name="connsiteX1031" fmla="*/ 1110480 w 4378607"/>
                  <a:gd name="connsiteY1031" fmla="*/ 1123273 h 3351243"/>
                  <a:gd name="connsiteX1032" fmla="*/ 1010523 w 4378607"/>
                  <a:gd name="connsiteY1032" fmla="*/ 1128746 h 3351243"/>
                  <a:gd name="connsiteX1033" fmla="*/ 999569 w 4378607"/>
                  <a:gd name="connsiteY1033" fmla="*/ 1145165 h 3351243"/>
                  <a:gd name="connsiteX1034" fmla="*/ 983137 w 4378607"/>
                  <a:gd name="connsiteY1034" fmla="*/ 1152006 h 3351243"/>
                  <a:gd name="connsiteX1035" fmla="*/ 961229 w 4378607"/>
                  <a:gd name="connsiteY1035" fmla="*/ 1176635 h 3351243"/>
                  <a:gd name="connsiteX1036" fmla="*/ 957121 w 4378607"/>
                  <a:gd name="connsiteY1036" fmla="*/ 1184844 h 3351243"/>
                  <a:gd name="connsiteX1037" fmla="*/ 943428 w 4378607"/>
                  <a:gd name="connsiteY1037" fmla="*/ 1205368 h 3351243"/>
                  <a:gd name="connsiteX1038" fmla="*/ 977660 w 4378607"/>
                  <a:gd name="connsiteY1038" fmla="*/ 1169794 h 3351243"/>
                  <a:gd name="connsiteX1039" fmla="*/ 1046124 w 4378607"/>
                  <a:gd name="connsiteY1039" fmla="*/ 1156111 h 3351243"/>
                  <a:gd name="connsiteX1040" fmla="*/ 1031062 w 4378607"/>
                  <a:gd name="connsiteY1040" fmla="*/ 1180740 h 3351243"/>
                  <a:gd name="connsiteX1041" fmla="*/ 1032431 w 4378607"/>
                  <a:gd name="connsiteY1041" fmla="*/ 1187581 h 3351243"/>
                  <a:gd name="connsiteX1042" fmla="*/ 1039277 w 4378607"/>
                  <a:gd name="connsiteY1042" fmla="*/ 1194422 h 3351243"/>
                  <a:gd name="connsiteX1043" fmla="*/ 1040647 w 4378607"/>
                  <a:gd name="connsiteY1043" fmla="*/ 1213578 h 3351243"/>
                  <a:gd name="connsiteX1044" fmla="*/ 1058447 w 4378607"/>
                  <a:gd name="connsiteY1044" fmla="*/ 1229997 h 3351243"/>
                  <a:gd name="connsiteX1045" fmla="*/ 1085833 w 4378607"/>
                  <a:gd name="connsiteY1045" fmla="*/ 1236838 h 3351243"/>
                  <a:gd name="connsiteX1046" fmla="*/ 1092679 w 4378607"/>
                  <a:gd name="connsiteY1046" fmla="*/ 1228629 h 3351243"/>
                  <a:gd name="connsiteX1047" fmla="*/ 1100895 w 4378607"/>
                  <a:gd name="connsiteY1047" fmla="*/ 1217683 h 3351243"/>
                  <a:gd name="connsiteX1048" fmla="*/ 1111849 w 4378607"/>
                  <a:gd name="connsiteY1048" fmla="*/ 1209473 h 3351243"/>
                  <a:gd name="connsiteX1049" fmla="*/ 1111849 w 4378607"/>
                  <a:gd name="connsiteY1049" fmla="*/ 1223156 h 3351243"/>
                  <a:gd name="connsiteX1050" fmla="*/ 1118695 w 4378607"/>
                  <a:gd name="connsiteY1050" fmla="*/ 1229997 h 3351243"/>
                  <a:gd name="connsiteX1051" fmla="*/ 1096787 w 4378607"/>
                  <a:gd name="connsiteY1051" fmla="*/ 1239575 h 3351243"/>
                  <a:gd name="connsiteX1052" fmla="*/ 1094048 w 4378607"/>
                  <a:gd name="connsiteY1052" fmla="*/ 1249152 h 3351243"/>
                  <a:gd name="connsiteX1053" fmla="*/ 1057078 w 4378607"/>
                  <a:gd name="connsiteY1053" fmla="*/ 1261467 h 3351243"/>
                  <a:gd name="connsiteX1054" fmla="*/ 1042016 w 4378607"/>
                  <a:gd name="connsiteY1054" fmla="*/ 1276517 h 3351243"/>
                  <a:gd name="connsiteX1055" fmla="*/ 1021477 w 4378607"/>
                  <a:gd name="connsiteY1055" fmla="*/ 1281990 h 3351243"/>
                  <a:gd name="connsiteX1056" fmla="*/ 1022846 w 4378607"/>
                  <a:gd name="connsiteY1056" fmla="*/ 1260098 h 3351243"/>
                  <a:gd name="connsiteX1057" fmla="*/ 1043385 w 4378607"/>
                  <a:gd name="connsiteY1057" fmla="*/ 1247784 h 3351243"/>
                  <a:gd name="connsiteX1058" fmla="*/ 1055709 w 4378607"/>
                  <a:gd name="connsiteY1058" fmla="*/ 1243679 h 3351243"/>
                  <a:gd name="connsiteX1059" fmla="*/ 1042016 w 4378607"/>
                  <a:gd name="connsiteY1059" fmla="*/ 1236838 h 3351243"/>
                  <a:gd name="connsiteX1060" fmla="*/ 1040647 w 4378607"/>
                  <a:gd name="connsiteY1060" fmla="*/ 1228629 h 3351243"/>
                  <a:gd name="connsiteX1061" fmla="*/ 1021477 w 4378607"/>
                  <a:gd name="connsiteY1061" fmla="*/ 1245048 h 3351243"/>
                  <a:gd name="connsiteX1062" fmla="*/ 1005046 w 4378607"/>
                  <a:gd name="connsiteY1062" fmla="*/ 1253257 h 3351243"/>
                  <a:gd name="connsiteX1063" fmla="*/ 992722 w 4378607"/>
                  <a:gd name="connsiteY1063" fmla="*/ 1264203 h 3351243"/>
                  <a:gd name="connsiteX1064" fmla="*/ 973552 w 4378607"/>
                  <a:gd name="connsiteY1064" fmla="*/ 1262835 h 3351243"/>
                  <a:gd name="connsiteX1065" fmla="*/ 962598 w 4378607"/>
                  <a:gd name="connsiteY1065" fmla="*/ 1277886 h 3351243"/>
                  <a:gd name="connsiteX1066" fmla="*/ 953013 w 4378607"/>
                  <a:gd name="connsiteY1066" fmla="*/ 1283359 h 3351243"/>
                  <a:gd name="connsiteX1067" fmla="*/ 943428 w 4378607"/>
                  <a:gd name="connsiteY1067" fmla="*/ 1303882 h 3351243"/>
                  <a:gd name="connsiteX1068" fmla="*/ 940690 w 4378607"/>
                  <a:gd name="connsiteY1068" fmla="*/ 1314828 h 3351243"/>
                  <a:gd name="connsiteX1069" fmla="*/ 944798 w 4378607"/>
                  <a:gd name="connsiteY1069" fmla="*/ 1328511 h 3351243"/>
                  <a:gd name="connsiteX1070" fmla="*/ 931105 w 4378607"/>
                  <a:gd name="connsiteY1070" fmla="*/ 1327143 h 3351243"/>
                  <a:gd name="connsiteX1071" fmla="*/ 924259 w 4378607"/>
                  <a:gd name="connsiteY1071" fmla="*/ 1335352 h 3351243"/>
                  <a:gd name="connsiteX1072" fmla="*/ 898242 w 4378607"/>
                  <a:gd name="connsiteY1072" fmla="*/ 1344930 h 3351243"/>
                  <a:gd name="connsiteX1073" fmla="*/ 922889 w 4378607"/>
                  <a:gd name="connsiteY1073" fmla="*/ 1346299 h 3351243"/>
                  <a:gd name="connsiteX1074" fmla="*/ 899612 w 4378607"/>
                  <a:gd name="connsiteY1074" fmla="*/ 1353140 h 3351243"/>
                  <a:gd name="connsiteX1075" fmla="*/ 890027 w 4378607"/>
                  <a:gd name="connsiteY1075" fmla="*/ 1358613 h 3351243"/>
                  <a:gd name="connsiteX1076" fmla="*/ 881811 w 4378607"/>
                  <a:gd name="connsiteY1076" fmla="*/ 1383241 h 3351243"/>
                  <a:gd name="connsiteX1077" fmla="*/ 870857 w 4378607"/>
                  <a:gd name="connsiteY1077" fmla="*/ 1383241 h 3351243"/>
                  <a:gd name="connsiteX1078" fmla="*/ 869488 w 4378607"/>
                  <a:gd name="connsiteY1078" fmla="*/ 1391451 h 3351243"/>
                  <a:gd name="connsiteX1079" fmla="*/ 868118 w 4378607"/>
                  <a:gd name="connsiteY1079" fmla="*/ 1416079 h 3351243"/>
                  <a:gd name="connsiteX1080" fmla="*/ 861272 w 4378607"/>
                  <a:gd name="connsiteY1080" fmla="*/ 1421552 h 3351243"/>
                  <a:gd name="connsiteX1081" fmla="*/ 855795 w 4378607"/>
                  <a:gd name="connsiteY1081" fmla="*/ 1399660 h 3351243"/>
                  <a:gd name="connsiteX1082" fmla="*/ 857164 w 4378607"/>
                  <a:gd name="connsiteY1082" fmla="*/ 1380505 h 3351243"/>
                  <a:gd name="connsiteX1083" fmla="*/ 853056 w 4378607"/>
                  <a:gd name="connsiteY1083" fmla="*/ 1380505 h 3351243"/>
                  <a:gd name="connsiteX1084" fmla="*/ 850318 w 4378607"/>
                  <a:gd name="connsiteY1084" fmla="*/ 1405133 h 3351243"/>
                  <a:gd name="connsiteX1085" fmla="*/ 843471 w 4378607"/>
                  <a:gd name="connsiteY1085" fmla="*/ 1411975 h 3351243"/>
                  <a:gd name="connsiteX1086" fmla="*/ 854426 w 4378607"/>
                  <a:gd name="connsiteY1086" fmla="*/ 1428394 h 3351243"/>
                  <a:gd name="connsiteX1087" fmla="*/ 854426 w 4378607"/>
                  <a:gd name="connsiteY1087" fmla="*/ 1437972 h 3351243"/>
                  <a:gd name="connsiteX1088" fmla="*/ 859903 w 4378607"/>
                  <a:gd name="connsiteY1088" fmla="*/ 1450286 h 3351243"/>
                  <a:gd name="connsiteX1089" fmla="*/ 865380 w 4378607"/>
                  <a:gd name="connsiteY1089" fmla="*/ 1457127 h 3351243"/>
                  <a:gd name="connsiteX1090" fmla="*/ 861272 w 4378607"/>
                  <a:gd name="connsiteY1090" fmla="*/ 1468073 h 3351243"/>
                  <a:gd name="connsiteX1091" fmla="*/ 850318 w 4378607"/>
                  <a:gd name="connsiteY1091" fmla="*/ 1466705 h 3351243"/>
                  <a:gd name="connsiteX1092" fmla="*/ 846210 w 4378607"/>
                  <a:gd name="connsiteY1092" fmla="*/ 1473546 h 3351243"/>
                  <a:gd name="connsiteX1093" fmla="*/ 844841 w 4378607"/>
                  <a:gd name="connsiteY1093" fmla="*/ 1487229 h 3351243"/>
                  <a:gd name="connsiteX1094" fmla="*/ 828409 w 4378607"/>
                  <a:gd name="connsiteY1094" fmla="*/ 1500911 h 3351243"/>
                  <a:gd name="connsiteX1095" fmla="*/ 818825 w 4378607"/>
                  <a:gd name="connsiteY1095" fmla="*/ 1505016 h 3351243"/>
                  <a:gd name="connsiteX1096" fmla="*/ 805132 w 4378607"/>
                  <a:gd name="connsiteY1096" fmla="*/ 1520067 h 3351243"/>
                  <a:gd name="connsiteX1097" fmla="*/ 791439 w 4378607"/>
                  <a:gd name="connsiteY1097" fmla="*/ 1529645 h 3351243"/>
                  <a:gd name="connsiteX1098" fmla="*/ 772269 w 4378607"/>
                  <a:gd name="connsiteY1098" fmla="*/ 1569324 h 3351243"/>
                  <a:gd name="connsiteX1099" fmla="*/ 781854 w 4378607"/>
                  <a:gd name="connsiteY1099" fmla="*/ 1606267 h 3351243"/>
                  <a:gd name="connsiteX1100" fmla="*/ 785962 w 4378607"/>
                  <a:gd name="connsiteY1100" fmla="*/ 1624054 h 3351243"/>
                  <a:gd name="connsiteX1101" fmla="*/ 795547 w 4378607"/>
                  <a:gd name="connsiteY1101" fmla="*/ 1662365 h 3351243"/>
                  <a:gd name="connsiteX1102" fmla="*/ 787331 w 4378607"/>
                  <a:gd name="connsiteY1102" fmla="*/ 1684257 h 3351243"/>
                  <a:gd name="connsiteX1103" fmla="*/ 776377 w 4378607"/>
                  <a:gd name="connsiteY1103" fmla="*/ 1681521 h 3351243"/>
                  <a:gd name="connsiteX1104" fmla="*/ 765423 w 4378607"/>
                  <a:gd name="connsiteY1104" fmla="*/ 1665102 h 3351243"/>
                  <a:gd name="connsiteX1105" fmla="*/ 758577 w 4378607"/>
                  <a:gd name="connsiteY1105" fmla="*/ 1645946 h 3351243"/>
                  <a:gd name="connsiteX1106" fmla="*/ 751730 w 4378607"/>
                  <a:gd name="connsiteY1106" fmla="*/ 1626790 h 3351243"/>
                  <a:gd name="connsiteX1107" fmla="*/ 751730 w 4378607"/>
                  <a:gd name="connsiteY1107" fmla="*/ 1604898 h 3351243"/>
                  <a:gd name="connsiteX1108" fmla="*/ 736668 w 4378607"/>
                  <a:gd name="connsiteY1108" fmla="*/ 1584375 h 3351243"/>
                  <a:gd name="connsiteX1109" fmla="*/ 721606 w 4378607"/>
                  <a:gd name="connsiteY1109" fmla="*/ 1589848 h 3351243"/>
                  <a:gd name="connsiteX1110" fmla="*/ 710652 w 4378607"/>
                  <a:gd name="connsiteY1110" fmla="*/ 1588479 h 3351243"/>
                  <a:gd name="connsiteX1111" fmla="*/ 695590 w 4378607"/>
                  <a:gd name="connsiteY1111" fmla="*/ 1576165 h 3351243"/>
                  <a:gd name="connsiteX1112" fmla="*/ 675051 w 4378607"/>
                  <a:gd name="connsiteY1112" fmla="*/ 1578902 h 3351243"/>
                  <a:gd name="connsiteX1113" fmla="*/ 668205 w 4378607"/>
                  <a:gd name="connsiteY1113" fmla="*/ 1573429 h 3351243"/>
                  <a:gd name="connsiteX1114" fmla="*/ 657250 w 4378607"/>
                  <a:gd name="connsiteY1114" fmla="*/ 1576165 h 3351243"/>
                  <a:gd name="connsiteX1115" fmla="*/ 643558 w 4378607"/>
                  <a:gd name="connsiteY1115" fmla="*/ 1584375 h 3351243"/>
                  <a:gd name="connsiteX1116" fmla="*/ 646296 w 4378607"/>
                  <a:gd name="connsiteY1116" fmla="*/ 1595321 h 3351243"/>
                  <a:gd name="connsiteX1117" fmla="*/ 650404 w 4378607"/>
                  <a:gd name="connsiteY1117" fmla="*/ 1604898 h 3351243"/>
                  <a:gd name="connsiteX1118" fmla="*/ 635342 w 4378607"/>
                  <a:gd name="connsiteY1118" fmla="*/ 1593952 h 3351243"/>
                  <a:gd name="connsiteX1119" fmla="*/ 628496 w 4378607"/>
                  <a:gd name="connsiteY1119" fmla="*/ 1599425 h 3351243"/>
                  <a:gd name="connsiteX1120" fmla="*/ 616172 w 4378607"/>
                  <a:gd name="connsiteY1120" fmla="*/ 1595321 h 3351243"/>
                  <a:gd name="connsiteX1121" fmla="*/ 605218 w 4378607"/>
                  <a:gd name="connsiteY1121" fmla="*/ 1589848 h 3351243"/>
                  <a:gd name="connsiteX1122" fmla="*/ 591525 w 4378607"/>
                  <a:gd name="connsiteY1122" fmla="*/ 1588479 h 3351243"/>
                  <a:gd name="connsiteX1123" fmla="*/ 584679 w 4378607"/>
                  <a:gd name="connsiteY1123" fmla="*/ 1587111 h 3351243"/>
                  <a:gd name="connsiteX1124" fmla="*/ 576463 w 4378607"/>
                  <a:gd name="connsiteY1124" fmla="*/ 1585743 h 3351243"/>
                  <a:gd name="connsiteX1125" fmla="*/ 566878 w 4378607"/>
                  <a:gd name="connsiteY1125" fmla="*/ 1593952 h 3351243"/>
                  <a:gd name="connsiteX1126" fmla="*/ 558663 w 4378607"/>
                  <a:gd name="connsiteY1126" fmla="*/ 1598057 h 3351243"/>
                  <a:gd name="connsiteX1127" fmla="*/ 543601 w 4378607"/>
                  <a:gd name="connsiteY1127" fmla="*/ 1613108 h 3351243"/>
                  <a:gd name="connsiteX1128" fmla="*/ 534016 w 4378607"/>
                  <a:gd name="connsiteY1128" fmla="*/ 1617213 h 3351243"/>
                  <a:gd name="connsiteX1129" fmla="*/ 521693 w 4378607"/>
                  <a:gd name="connsiteY1129" fmla="*/ 1629527 h 3351243"/>
                  <a:gd name="connsiteX1130" fmla="*/ 518954 w 4378607"/>
                  <a:gd name="connsiteY1130" fmla="*/ 1647314 h 3351243"/>
                  <a:gd name="connsiteX1131" fmla="*/ 523062 w 4378607"/>
                  <a:gd name="connsiteY1131" fmla="*/ 1671943 h 3351243"/>
                  <a:gd name="connsiteX1132" fmla="*/ 521693 w 4378607"/>
                  <a:gd name="connsiteY1132" fmla="*/ 1680152 h 3351243"/>
                  <a:gd name="connsiteX1133" fmla="*/ 516215 w 4378607"/>
                  <a:gd name="connsiteY1133" fmla="*/ 1732146 h 3351243"/>
                  <a:gd name="connsiteX1134" fmla="*/ 521693 w 4378607"/>
                  <a:gd name="connsiteY1134" fmla="*/ 1769089 h 3351243"/>
                  <a:gd name="connsiteX1135" fmla="*/ 539493 w 4378607"/>
                  <a:gd name="connsiteY1135" fmla="*/ 1793717 h 3351243"/>
                  <a:gd name="connsiteX1136" fmla="*/ 547709 w 4378607"/>
                  <a:gd name="connsiteY1136" fmla="*/ 1814241 h 3351243"/>
                  <a:gd name="connsiteX1137" fmla="*/ 565509 w 4378607"/>
                  <a:gd name="connsiteY1137" fmla="*/ 1823819 h 3351243"/>
                  <a:gd name="connsiteX1138" fmla="*/ 603849 w 4378607"/>
                  <a:gd name="connsiteY1138" fmla="*/ 1814241 h 3351243"/>
                  <a:gd name="connsiteX1139" fmla="*/ 614803 w 4378607"/>
                  <a:gd name="connsiteY1139" fmla="*/ 1815609 h 3351243"/>
                  <a:gd name="connsiteX1140" fmla="*/ 625757 w 4378607"/>
                  <a:gd name="connsiteY1140" fmla="*/ 1799190 h 3351243"/>
                  <a:gd name="connsiteX1141" fmla="*/ 629865 w 4378607"/>
                  <a:gd name="connsiteY1141" fmla="*/ 1781403 h 3351243"/>
                  <a:gd name="connsiteX1142" fmla="*/ 650404 w 4378607"/>
                  <a:gd name="connsiteY1142" fmla="*/ 1759511 h 3351243"/>
                  <a:gd name="connsiteX1143" fmla="*/ 676420 w 4378607"/>
                  <a:gd name="connsiteY1143" fmla="*/ 1758143 h 3351243"/>
                  <a:gd name="connsiteX1144" fmla="*/ 690113 w 4378607"/>
                  <a:gd name="connsiteY1144" fmla="*/ 1762247 h 3351243"/>
                  <a:gd name="connsiteX1145" fmla="*/ 681897 w 4378607"/>
                  <a:gd name="connsiteY1145" fmla="*/ 1778667 h 3351243"/>
                  <a:gd name="connsiteX1146" fmla="*/ 679159 w 4378607"/>
                  <a:gd name="connsiteY1146" fmla="*/ 1799190 h 3351243"/>
                  <a:gd name="connsiteX1147" fmla="*/ 673682 w 4378607"/>
                  <a:gd name="connsiteY1147" fmla="*/ 1825187 h 3351243"/>
                  <a:gd name="connsiteX1148" fmla="*/ 669574 w 4378607"/>
                  <a:gd name="connsiteY1148" fmla="*/ 1827924 h 3351243"/>
                  <a:gd name="connsiteX1149" fmla="*/ 662728 w 4378607"/>
                  <a:gd name="connsiteY1149" fmla="*/ 1859393 h 3351243"/>
                  <a:gd name="connsiteX1150" fmla="*/ 658620 w 4378607"/>
                  <a:gd name="connsiteY1150" fmla="*/ 1868971 h 3351243"/>
                  <a:gd name="connsiteX1151" fmla="*/ 664097 w 4378607"/>
                  <a:gd name="connsiteY1151" fmla="*/ 1873076 h 3351243"/>
                  <a:gd name="connsiteX1152" fmla="*/ 694221 w 4378607"/>
                  <a:gd name="connsiteY1152" fmla="*/ 1871708 h 3351243"/>
                  <a:gd name="connsiteX1153" fmla="*/ 728453 w 4378607"/>
                  <a:gd name="connsiteY1153" fmla="*/ 1871708 h 3351243"/>
                  <a:gd name="connsiteX1154" fmla="*/ 744884 w 4378607"/>
                  <a:gd name="connsiteY1154" fmla="*/ 1886758 h 3351243"/>
                  <a:gd name="connsiteX1155" fmla="*/ 744884 w 4378607"/>
                  <a:gd name="connsiteY1155" fmla="*/ 1889495 h 3351243"/>
                  <a:gd name="connsiteX1156" fmla="*/ 742145 w 4378607"/>
                  <a:gd name="connsiteY1156" fmla="*/ 1908651 h 3351243"/>
                  <a:gd name="connsiteX1157" fmla="*/ 739407 w 4378607"/>
                  <a:gd name="connsiteY1157" fmla="*/ 1941489 h 3351243"/>
                  <a:gd name="connsiteX1158" fmla="*/ 736668 w 4378607"/>
                  <a:gd name="connsiteY1158" fmla="*/ 1964749 h 3351243"/>
                  <a:gd name="connsiteX1159" fmla="*/ 738038 w 4378607"/>
                  <a:gd name="connsiteY1159" fmla="*/ 1968854 h 3351243"/>
                  <a:gd name="connsiteX1160" fmla="*/ 754469 w 4378607"/>
                  <a:gd name="connsiteY1160" fmla="*/ 1992114 h 3351243"/>
                  <a:gd name="connsiteX1161" fmla="*/ 761315 w 4378607"/>
                  <a:gd name="connsiteY1161" fmla="*/ 2001692 h 3351243"/>
                  <a:gd name="connsiteX1162" fmla="*/ 787331 w 4378607"/>
                  <a:gd name="connsiteY1162" fmla="*/ 2001692 h 3351243"/>
                  <a:gd name="connsiteX1163" fmla="*/ 809240 w 4378607"/>
                  <a:gd name="connsiteY1163" fmla="*/ 1992114 h 3351243"/>
                  <a:gd name="connsiteX1164" fmla="*/ 832517 w 4378607"/>
                  <a:gd name="connsiteY1164" fmla="*/ 2004428 h 3351243"/>
                  <a:gd name="connsiteX1165" fmla="*/ 842102 w 4378607"/>
                  <a:gd name="connsiteY1165" fmla="*/ 2019479 h 3351243"/>
                  <a:gd name="connsiteX1166" fmla="*/ 844841 w 4378607"/>
                  <a:gd name="connsiteY1166" fmla="*/ 2018111 h 3351243"/>
                  <a:gd name="connsiteX1167" fmla="*/ 861272 w 4378607"/>
                  <a:gd name="connsiteY1167" fmla="*/ 1996219 h 3351243"/>
                  <a:gd name="connsiteX1168" fmla="*/ 866749 w 4378607"/>
                  <a:gd name="connsiteY1168" fmla="*/ 1978431 h 3351243"/>
                  <a:gd name="connsiteX1169" fmla="*/ 881811 w 4378607"/>
                  <a:gd name="connsiteY1169" fmla="*/ 1962012 h 3351243"/>
                  <a:gd name="connsiteX1170" fmla="*/ 888657 w 4378607"/>
                  <a:gd name="connsiteY1170" fmla="*/ 1963381 h 3351243"/>
                  <a:gd name="connsiteX1171" fmla="*/ 903719 w 4378607"/>
                  <a:gd name="connsiteY1171" fmla="*/ 1957908 h 3351243"/>
                  <a:gd name="connsiteX1172" fmla="*/ 917412 w 4378607"/>
                  <a:gd name="connsiteY1172" fmla="*/ 1948330 h 3351243"/>
                  <a:gd name="connsiteX1173" fmla="*/ 935213 w 4378607"/>
                  <a:gd name="connsiteY1173" fmla="*/ 1938752 h 3351243"/>
                  <a:gd name="connsiteX1174" fmla="*/ 931105 w 4378607"/>
                  <a:gd name="connsiteY1174" fmla="*/ 1949698 h 3351243"/>
                  <a:gd name="connsiteX1175" fmla="*/ 926997 w 4378607"/>
                  <a:gd name="connsiteY1175" fmla="*/ 1953803 h 3351243"/>
                  <a:gd name="connsiteX1176" fmla="*/ 929736 w 4378607"/>
                  <a:gd name="connsiteY1176" fmla="*/ 1967485 h 3351243"/>
                  <a:gd name="connsiteX1177" fmla="*/ 921520 w 4378607"/>
                  <a:gd name="connsiteY1177" fmla="*/ 1992114 h 3351243"/>
                  <a:gd name="connsiteX1178" fmla="*/ 939321 w 4378607"/>
                  <a:gd name="connsiteY1178" fmla="*/ 1998955 h 3351243"/>
                  <a:gd name="connsiteX1179" fmla="*/ 933843 w 4378607"/>
                  <a:gd name="connsiteY1179" fmla="*/ 1970222 h 3351243"/>
                  <a:gd name="connsiteX1180" fmla="*/ 954383 w 4378607"/>
                  <a:gd name="connsiteY1180" fmla="*/ 1956539 h 3351243"/>
                  <a:gd name="connsiteX1181" fmla="*/ 959860 w 4378607"/>
                  <a:gd name="connsiteY1181" fmla="*/ 1944225 h 3351243"/>
                  <a:gd name="connsiteX1182" fmla="*/ 973552 w 4378607"/>
                  <a:gd name="connsiteY1182" fmla="*/ 1953803 h 3351243"/>
                  <a:gd name="connsiteX1183" fmla="*/ 985876 w 4378607"/>
                  <a:gd name="connsiteY1183" fmla="*/ 1968854 h 3351243"/>
                  <a:gd name="connsiteX1184" fmla="*/ 1006415 w 4378607"/>
                  <a:gd name="connsiteY1184" fmla="*/ 1972958 h 3351243"/>
                  <a:gd name="connsiteX1185" fmla="*/ 1035170 w 4378607"/>
                  <a:gd name="connsiteY1185" fmla="*/ 1983904 h 3351243"/>
                  <a:gd name="connsiteX1186" fmla="*/ 1066663 w 4378607"/>
                  <a:gd name="connsiteY1186" fmla="*/ 1970222 h 3351243"/>
                  <a:gd name="connsiteX1187" fmla="*/ 1078986 w 4378607"/>
                  <a:gd name="connsiteY1187" fmla="*/ 1975695 h 3351243"/>
                  <a:gd name="connsiteX1188" fmla="*/ 1077617 w 4378607"/>
                  <a:gd name="connsiteY1188" fmla="*/ 1985273 h 3351243"/>
                  <a:gd name="connsiteX1189" fmla="*/ 1100895 w 4378607"/>
                  <a:gd name="connsiteY1189" fmla="*/ 1996219 h 3351243"/>
                  <a:gd name="connsiteX1190" fmla="*/ 1096787 w 4378607"/>
                  <a:gd name="connsiteY1190" fmla="*/ 2012638 h 3351243"/>
                  <a:gd name="connsiteX1191" fmla="*/ 1120065 w 4378607"/>
                  <a:gd name="connsiteY1191" fmla="*/ 2015374 h 3351243"/>
                  <a:gd name="connsiteX1192" fmla="*/ 1125542 w 4378607"/>
                  <a:gd name="connsiteY1192" fmla="*/ 2019479 h 3351243"/>
                  <a:gd name="connsiteX1193" fmla="*/ 1141973 w 4378607"/>
                  <a:gd name="connsiteY1193" fmla="*/ 2034530 h 3351243"/>
                  <a:gd name="connsiteX1194" fmla="*/ 1150188 w 4378607"/>
                  <a:gd name="connsiteY1194" fmla="*/ 2046844 h 3351243"/>
                  <a:gd name="connsiteX1195" fmla="*/ 1163881 w 4378607"/>
                  <a:gd name="connsiteY1195" fmla="*/ 2061895 h 3351243"/>
                  <a:gd name="connsiteX1196" fmla="*/ 1165250 w 4378607"/>
                  <a:gd name="connsiteY1196" fmla="*/ 2061895 h 3351243"/>
                  <a:gd name="connsiteX1197" fmla="*/ 1177574 w 4378607"/>
                  <a:gd name="connsiteY1197" fmla="*/ 2061895 h 3351243"/>
                  <a:gd name="connsiteX1198" fmla="*/ 1198113 w 4378607"/>
                  <a:gd name="connsiteY1198" fmla="*/ 2061895 h 3351243"/>
                  <a:gd name="connsiteX1199" fmla="*/ 1213175 w 4378607"/>
                  <a:gd name="connsiteY1199" fmla="*/ 2066000 h 3351243"/>
                  <a:gd name="connsiteX1200" fmla="*/ 1226868 w 4378607"/>
                  <a:gd name="connsiteY1200" fmla="*/ 2071473 h 3351243"/>
                  <a:gd name="connsiteX1201" fmla="*/ 1254253 w 4378607"/>
                  <a:gd name="connsiteY1201" fmla="*/ 2096101 h 3351243"/>
                  <a:gd name="connsiteX1202" fmla="*/ 1265207 w 4378607"/>
                  <a:gd name="connsiteY1202" fmla="*/ 2133044 h 3351243"/>
                  <a:gd name="connsiteX1203" fmla="*/ 1278900 w 4378607"/>
                  <a:gd name="connsiteY1203" fmla="*/ 2153568 h 3351243"/>
                  <a:gd name="connsiteX1204" fmla="*/ 1262469 w 4378607"/>
                  <a:gd name="connsiteY1204" fmla="*/ 2176828 h 3351243"/>
                  <a:gd name="connsiteX1205" fmla="*/ 1258361 w 4378607"/>
                  <a:gd name="connsiteY1205" fmla="*/ 2191879 h 3351243"/>
                  <a:gd name="connsiteX1206" fmla="*/ 1269315 w 4378607"/>
                  <a:gd name="connsiteY1206" fmla="*/ 2178196 h 3351243"/>
                  <a:gd name="connsiteX1207" fmla="*/ 1300808 w 4378607"/>
                  <a:gd name="connsiteY1207" fmla="*/ 2187774 h 3351243"/>
                  <a:gd name="connsiteX1208" fmla="*/ 1287116 w 4378607"/>
                  <a:gd name="connsiteY1208" fmla="*/ 2209666 h 3351243"/>
                  <a:gd name="connsiteX1209" fmla="*/ 1295331 w 4378607"/>
                  <a:gd name="connsiteY1209" fmla="*/ 2209666 h 3351243"/>
                  <a:gd name="connsiteX1210" fmla="*/ 1306286 w 4378607"/>
                  <a:gd name="connsiteY1210" fmla="*/ 2200088 h 3351243"/>
                  <a:gd name="connsiteX1211" fmla="*/ 1329563 w 4378607"/>
                  <a:gd name="connsiteY1211" fmla="*/ 2191879 h 3351243"/>
                  <a:gd name="connsiteX1212" fmla="*/ 1366534 w 4378607"/>
                  <a:gd name="connsiteY1212" fmla="*/ 2217876 h 3351243"/>
                  <a:gd name="connsiteX1213" fmla="*/ 1363795 w 4378607"/>
                  <a:gd name="connsiteY1213" fmla="*/ 2237031 h 3351243"/>
                  <a:gd name="connsiteX1214" fmla="*/ 1384334 w 4378607"/>
                  <a:gd name="connsiteY1214" fmla="*/ 2224717 h 3351243"/>
                  <a:gd name="connsiteX1215" fmla="*/ 1415827 w 4378607"/>
                  <a:gd name="connsiteY1215" fmla="*/ 2232926 h 3351243"/>
                  <a:gd name="connsiteX1216" fmla="*/ 1462383 w 4378607"/>
                  <a:gd name="connsiteY1216" fmla="*/ 2250714 h 3351243"/>
                  <a:gd name="connsiteX1217" fmla="*/ 1499353 w 4378607"/>
                  <a:gd name="connsiteY1217" fmla="*/ 2275342 h 3351243"/>
                  <a:gd name="connsiteX1218" fmla="*/ 1513046 w 4378607"/>
                  <a:gd name="connsiteY1218" fmla="*/ 2286288 h 3351243"/>
                  <a:gd name="connsiteX1219" fmla="*/ 1517153 w 4378607"/>
                  <a:gd name="connsiteY1219" fmla="*/ 2341018 h 3351243"/>
                  <a:gd name="connsiteX1220" fmla="*/ 1495245 w 4378607"/>
                  <a:gd name="connsiteY1220" fmla="*/ 2377961 h 3351243"/>
                  <a:gd name="connsiteX1221" fmla="*/ 1478814 w 4378607"/>
                  <a:gd name="connsiteY1221" fmla="*/ 2391644 h 3351243"/>
                  <a:gd name="connsiteX1222" fmla="*/ 1466490 w 4378607"/>
                  <a:gd name="connsiteY1222" fmla="*/ 2421745 h 3351243"/>
                  <a:gd name="connsiteX1223" fmla="*/ 1456905 w 4378607"/>
                  <a:gd name="connsiteY1223" fmla="*/ 2417641 h 3351243"/>
                  <a:gd name="connsiteX1224" fmla="*/ 1454167 w 4378607"/>
                  <a:gd name="connsiteY1224" fmla="*/ 2423114 h 3351243"/>
                  <a:gd name="connsiteX1225" fmla="*/ 1455536 w 4378607"/>
                  <a:gd name="connsiteY1225" fmla="*/ 2429955 h 3351243"/>
                  <a:gd name="connsiteX1226" fmla="*/ 1451428 w 4378607"/>
                  <a:gd name="connsiteY1226" fmla="*/ 2458688 h 3351243"/>
                  <a:gd name="connsiteX1227" fmla="*/ 1451428 w 4378607"/>
                  <a:gd name="connsiteY1227" fmla="*/ 2495631 h 3351243"/>
                  <a:gd name="connsiteX1228" fmla="*/ 1450059 w 4378607"/>
                  <a:gd name="connsiteY1228" fmla="*/ 2518891 h 3351243"/>
                  <a:gd name="connsiteX1229" fmla="*/ 1441843 w 4378607"/>
                  <a:gd name="connsiteY1229" fmla="*/ 2528469 h 3351243"/>
                  <a:gd name="connsiteX1230" fmla="*/ 1439105 w 4378607"/>
                  <a:gd name="connsiteY1230" fmla="*/ 2551729 h 3351243"/>
                  <a:gd name="connsiteX1231" fmla="*/ 1433628 w 4378607"/>
                  <a:gd name="connsiteY1231" fmla="*/ 2562675 h 3351243"/>
                  <a:gd name="connsiteX1232" fmla="*/ 1426781 w 4378607"/>
                  <a:gd name="connsiteY1232" fmla="*/ 2580463 h 3351243"/>
                  <a:gd name="connsiteX1233" fmla="*/ 1421304 w 4378607"/>
                  <a:gd name="connsiteY1233" fmla="*/ 2596882 h 3351243"/>
                  <a:gd name="connsiteX1234" fmla="*/ 1414458 w 4378607"/>
                  <a:gd name="connsiteY1234" fmla="*/ 2607828 h 3351243"/>
                  <a:gd name="connsiteX1235" fmla="*/ 1404873 w 4378607"/>
                  <a:gd name="connsiteY1235" fmla="*/ 2618774 h 3351243"/>
                  <a:gd name="connsiteX1236" fmla="*/ 1391180 w 4378607"/>
                  <a:gd name="connsiteY1236" fmla="*/ 2624247 h 3351243"/>
                  <a:gd name="connsiteX1237" fmla="*/ 1365164 w 4378607"/>
                  <a:gd name="connsiteY1237" fmla="*/ 2624247 h 3351243"/>
                  <a:gd name="connsiteX1238" fmla="*/ 1352841 w 4378607"/>
                  <a:gd name="connsiteY1238" fmla="*/ 2635193 h 3351243"/>
                  <a:gd name="connsiteX1239" fmla="*/ 1343256 w 4378607"/>
                  <a:gd name="connsiteY1239" fmla="*/ 2640666 h 3351243"/>
                  <a:gd name="connsiteX1240" fmla="*/ 1322717 w 4378607"/>
                  <a:gd name="connsiteY1240" fmla="*/ 2651612 h 3351243"/>
                  <a:gd name="connsiteX1241" fmla="*/ 1303547 w 4378607"/>
                  <a:gd name="connsiteY1241" fmla="*/ 2669399 h 3351243"/>
                  <a:gd name="connsiteX1242" fmla="*/ 1298070 w 4378607"/>
                  <a:gd name="connsiteY1242" fmla="*/ 2683082 h 3351243"/>
                  <a:gd name="connsiteX1243" fmla="*/ 1298070 w 4378607"/>
                  <a:gd name="connsiteY1243" fmla="*/ 2711815 h 3351243"/>
                  <a:gd name="connsiteX1244" fmla="*/ 1292593 w 4378607"/>
                  <a:gd name="connsiteY1244" fmla="*/ 2739180 h 3351243"/>
                  <a:gd name="connsiteX1245" fmla="*/ 1277531 w 4378607"/>
                  <a:gd name="connsiteY1245" fmla="*/ 2759704 h 3351243"/>
                  <a:gd name="connsiteX1246" fmla="*/ 1256992 w 4378607"/>
                  <a:gd name="connsiteY1246" fmla="*/ 2796647 h 3351243"/>
                  <a:gd name="connsiteX1247" fmla="*/ 1255622 w 4378607"/>
                  <a:gd name="connsiteY1247" fmla="*/ 2789805 h 3351243"/>
                  <a:gd name="connsiteX1248" fmla="*/ 1255622 w 4378607"/>
                  <a:gd name="connsiteY1248" fmla="*/ 2773386 h 3351243"/>
                  <a:gd name="connsiteX1249" fmla="*/ 1247407 w 4378607"/>
                  <a:gd name="connsiteY1249" fmla="*/ 2792542 h 3351243"/>
                  <a:gd name="connsiteX1250" fmla="*/ 1239191 w 4378607"/>
                  <a:gd name="connsiteY1250" fmla="*/ 2815802 h 3351243"/>
                  <a:gd name="connsiteX1251" fmla="*/ 1226868 w 4378607"/>
                  <a:gd name="connsiteY1251" fmla="*/ 2839062 h 3351243"/>
                  <a:gd name="connsiteX1252" fmla="*/ 1220021 w 4378607"/>
                  <a:gd name="connsiteY1252" fmla="*/ 2848640 h 3351243"/>
                  <a:gd name="connsiteX1253" fmla="*/ 1206329 w 4378607"/>
                  <a:gd name="connsiteY1253" fmla="*/ 2866427 h 3351243"/>
                  <a:gd name="connsiteX1254" fmla="*/ 1183051 w 4378607"/>
                  <a:gd name="connsiteY1254" fmla="*/ 2870532 h 3351243"/>
                  <a:gd name="connsiteX1255" fmla="*/ 1170728 w 4378607"/>
                  <a:gd name="connsiteY1255" fmla="*/ 2870532 h 3351243"/>
                  <a:gd name="connsiteX1256" fmla="*/ 1150188 w 4378607"/>
                  <a:gd name="connsiteY1256" fmla="*/ 2863691 h 3351243"/>
                  <a:gd name="connsiteX1257" fmla="*/ 1143342 w 4378607"/>
                  <a:gd name="connsiteY1257" fmla="*/ 2859586 h 3351243"/>
                  <a:gd name="connsiteX1258" fmla="*/ 1137865 w 4378607"/>
                  <a:gd name="connsiteY1258" fmla="*/ 2860954 h 3351243"/>
                  <a:gd name="connsiteX1259" fmla="*/ 1150188 w 4378607"/>
                  <a:gd name="connsiteY1259" fmla="*/ 2874637 h 3351243"/>
                  <a:gd name="connsiteX1260" fmla="*/ 1158404 w 4378607"/>
                  <a:gd name="connsiteY1260" fmla="*/ 2885583 h 3351243"/>
                  <a:gd name="connsiteX1261" fmla="*/ 1161143 w 4378607"/>
                  <a:gd name="connsiteY1261" fmla="*/ 2902002 h 3351243"/>
                  <a:gd name="connsiteX1262" fmla="*/ 1167989 w 4378607"/>
                  <a:gd name="connsiteY1262" fmla="*/ 2914316 h 3351243"/>
                  <a:gd name="connsiteX1263" fmla="*/ 1152927 w 4378607"/>
                  <a:gd name="connsiteY1263" fmla="*/ 2938945 h 3351243"/>
                  <a:gd name="connsiteX1264" fmla="*/ 1122803 w 4378607"/>
                  <a:gd name="connsiteY1264" fmla="*/ 2956732 h 3351243"/>
                  <a:gd name="connsiteX1265" fmla="*/ 1083094 w 4378607"/>
                  <a:gd name="connsiteY1265" fmla="*/ 2959469 h 3351243"/>
                  <a:gd name="connsiteX1266" fmla="*/ 1076248 w 4378607"/>
                  <a:gd name="connsiteY1266" fmla="*/ 2967678 h 3351243"/>
                  <a:gd name="connsiteX1267" fmla="*/ 1077617 w 4378607"/>
                  <a:gd name="connsiteY1267" fmla="*/ 2981361 h 3351243"/>
                  <a:gd name="connsiteX1268" fmla="*/ 1076248 w 4378607"/>
                  <a:gd name="connsiteY1268" fmla="*/ 2999148 h 3351243"/>
                  <a:gd name="connsiteX1269" fmla="*/ 1058447 w 4378607"/>
                  <a:gd name="connsiteY1269" fmla="*/ 3010094 h 3351243"/>
                  <a:gd name="connsiteX1270" fmla="*/ 1032431 w 4378607"/>
                  <a:gd name="connsiteY1270" fmla="*/ 3001884 h 3351243"/>
                  <a:gd name="connsiteX1271" fmla="*/ 1033800 w 4378607"/>
                  <a:gd name="connsiteY1271" fmla="*/ 3019672 h 3351243"/>
                  <a:gd name="connsiteX1272" fmla="*/ 1035170 w 4378607"/>
                  <a:gd name="connsiteY1272" fmla="*/ 3033354 h 3351243"/>
                  <a:gd name="connsiteX1273" fmla="*/ 1044754 w 4378607"/>
                  <a:gd name="connsiteY1273" fmla="*/ 3038827 h 3351243"/>
                  <a:gd name="connsiteX1274" fmla="*/ 1055709 w 4378607"/>
                  <a:gd name="connsiteY1274" fmla="*/ 3036091 h 3351243"/>
                  <a:gd name="connsiteX1275" fmla="*/ 1048862 w 4378607"/>
                  <a:gd name="connsiteY1275" fmla="*/ 3049773 h 3351243"/>
                  <a:gd name="connsiteX1276" fmla="*/ 1040647 w 4378607"/>
                  <a:gd name="connsiteY1276" fmla="*/ 3044300 h 3351243"/>
                  <a:gd name="connsiteX1277" fmla="*/ 1039277 w 4378607"/>
                  <a:gd name="connsiteY1277" fmla="*/ 3051142 h 3351243"/>
                  <a:gd name="connsiteX1278" fmla="*/ 1035170 w 4378607"/>
                  <a:gd name="connsiteY1278" fmla="*/ 3057983 h 3351243"/>
                  <a:gd name="connsiteX1279" fmla="*/ 1029693 w 4378607"/>
                  <a:gd name="connsiteY1279" fmla="*/ 3077138 h 3351243"/>
                  <a:gd name="connsiteX1280" fmla="*/ 1025585 w 4378607"/>
                  <a:gd name="connsiteY1280" fmla="*/ 3090821 h 3351243"/>
                  <a:gd name="connsiteX1281" fmla="*/ 1021477 w 4378607"/>
                  <a:gd name="connsiteY1281" fmla="*/ 3100399 h 3351243"/>
                  <a:gd name="connsiteX1282" fmla="*/ 995461 w 4378607"/>
                  <a:gd name="connsiteY1282" fmla="*/ 3118186 h 3351243"/>
                  <a:gd name="connsiteX1283" fmla="*/ 1006415 w 4378607"/>
                  <a:gd name="connsiteY1283" fmla="*/ 3146919 h 3351243"/>
                  <a:gd name="connsiteX1284" fmla="*/ 1021477 w 4378607"/>
                  <a:gd name="connsiteY1284" fmla="*/ 3152392 h 3351243"/>
                  <a:gd name="connsiteX1285" fmla="*/ 1018738 w 4378607"/>
                  <a:gd name="connsiteY1285" fmla="*/ 3170180 h 3351243"/>
                  <a:gd name="connsiteX1286" fmla="*/ 1000938 w 4378607"/>
                  <a:gd name="connsiteY1286" fmla="*/ 3189335 h 3351243"/>
                  <a:gd name="connsiteX1287" fmla="*/ 988614 w 4378607"/>
                  <a:gd name="connsiteY1287" fmla="*/ 3209859 h 3351243"/>
                  <a:gd name="connsiteX1288" fmla="*/ 979029 w 4378607"/>
                  <a:gd name="connsiteY1288" fmla="*/ 3223541 h 3351243"/>
                  <a:gd name="connsiteX1289" fmla="*/ 970814 w 4378607"/>
                  <a:gd name="connsiteY1289" fmla="*/ 3230383 h 3351243"/>
                  <a:gd name="connsiteX1290" fmla="*/ 968075 w 4378607"/>
                  <a:gd name="connsiteY1290" fmla="*/ 3248170 h 3351243"/>
                  <a:gd name="connsiteX1291" fmla="*/ 969445 w 4378607"/>
                  <a:gd name="connsiteY1291" fmla="*/ 3263221 h 3351243"/>
                  <a:gd name="connsiteX1292" fmla="*/ 977660 w 4378607"/>
                  <a:gd name="connsiteY1292" fmla="*/ 3281008 h 3351243"/>
                  <a:gd name="connsiteX1293" fmla="*/ 962598 w 4378607"/>
                  <a:gd name="connsiteY1293" fmla="*/ 3278272 h 3351243"/>
                  <a:gd name="connsiteX1294" fmla="*/ 961229 w 4378607"/>
                  <a:gd name="connsiteY1294" fmla="*/ 3281008 h 3351243"/>
                  <a:gd name="connsiteX1295" fmla="*/ 973552 w 4378607"/>
                  <a:gd name="connsiteY1295" fmla="*/ 3287849 h 3351243"/>
                  <a:gd name="connsiteX1296" fmla="*/ 974922 w 4378607"/>
                  <a:gd name="connsiteY1296" fmla="*/ 3287849 h 3351243"/>
                  <a:gd name="connsiteX1297" fmla="*/ 980399 w 4378607"/>
                  <a:gd name="connsiteY1297" fmla="*/ 3298795 h 3351243"/>
                  <a:gd name="connsiteX1298" fmla="*/ 979029 w 4378607"/>
                  <a:gd name="connsiteY1298" fmla="*/ 3307005 h 3351243"/>
                  <a:gd name="connsiteX1299" fmla="*/ 987245 w 4378607"/>
                  <a:gd name="connsiteY1299" fmla="*/ 3315214 h 3351243"/>
                  <a:gd name="connsiteX1300" fmla="*/ 995461 w 4378607"/>
                  <a:gd name="connsiteY1300" fmla="*/ 3324792 h 3351243"/>
                  <a:gd name="connsiteX1301" fmla="*/ 951644 w 4378607"/>
                  <a:gd name="connsiteY1301" fmla="*/ 3294691 h 3351243"/>
                  <a:gd name="connsiteX1302" fmla="*/ 944798 w 4378607"/>
                  <a:gd name="connsiteY1302" fmla="*/ 3290586 h 3351243"/>
                  <a:gd name="connsiteX1303" fmla="*/ 895504 w 4378607"/>
                  <a:gd name="connsiteY1303" fmla="*/ 3255011 h 3351243"/>
                  <a:gd name="connsiteX1304" fmla="*/ 891396 w 4378607"/>
                  <a:gd name="connsiteY1304" fmla="*/ 3250906 h 3351243"/>
                  <a:gd name="connsiteX1305" fmla="*/ 890027 w 4378607"/>
                  <a:gd name="connsiteY1305" fmla="*/ 3252275 h 3351243"/>
                  <a:gd name="connsiteX1306" fmla="*/ 881811 w 4378607"/>
                  <a:gd name="connsiteY1306" fmla="*/ 3250906 h 3351243"/>
                  <a:gd name="connsiteX1307" fmla="*/ 873595 w 4378607"/>
                  <a:gd name="connsiteY1307" fmla="*/ 3255011 h 3351243"/>
                  <a:gd name="connsiteX1308" fmla="*/ 874965 w 4378607"/>
                  <a:gd name="connsiteY1308" fmla="*/ 3242697 h 3351243"/>
                  <a:gd name="connsiteX1309" fmla="*/ 877703 w 4378607"/>
                  <a:gd name="connsiteY1309" fmla="*/ 3241329 h 3351243"/>
                  <a:gd name="connsiteX1310" fmla="*/ 0 w 4378607"/>
                  <a:gd name="connsiteY1310" fmla="*/ 1480387 h 3351243"/>
                  <a:gd name="connsiteX1311" fmla="*/ 30124 w 4378607"/>
                  <a:gd name="connsiteY1311" fmla="*/ 1117800 h 3351243"/>
                  <a:gd name="connsiteX1312" fmla="*/ 28755 w 4378607"/>
                  <a:gd name="connsiteY1312" fmla="*/ 1112327 h 3351243"/>
                  <a:gd name="connsiteX1313" fmla="*/ 31493 w 4378607"/>
                  <a:gd name="connsiteY1313" fmla="*/ 1110959 h 3351243"/>
                  <a:gd name="connsiteX1314" fmla="*/ 35601 w 4378607"/>
                  <a:gd name="connsiteY1314" fmla="*/ 1090435 h 3351243"/>
                  <a:gd name="connsiteX1315" fmla="*/ 35601 w 4378607"/>
                  <a:gd name="connsiteY1315" fmla="*/ 1079489 h 3351243"/>
                  <a:gd name="connsiteX1316" fmla="*/ 36970 w 4378607"/>
                  <a:gd name="connsiteY1316" fmla="*/ 1079489 h 3351243"/>
                  <a:gd name="connsiteX1317" fmla="*/ 38339 w 4378607"/>
                  <a:gd name="connsiteY1317" fmla="*/ 1075384 h 3351243"/>
                  <a:gd name="connsiteX1318" fmla="*/ 143773 w 4378607"/>
                  <a:gd name="connsiteY1318" fmla="*/ 699115 h 3351243"/>
                  <a:gd name="connsiteX1319" fmla="*/ 160205 w 4378607"/>
                  <a:gd name="connsiteY1319" fmla="*/ 655331 h 3351243"/>
                  <a:gd name="connsiteX1320" fmla="*/ 191698 w 4378607"/>
                  <a:gd name="connsiteY1320" fmla="*/ 582813 h 3351243"/>
                  <a:gd name="connsiteX1321" fmla="*/ 201283 w 4378607"/>
                  <a:gd name="connsiteY1321" fmla="*/ 585550 h 3351243"/>
                  <a:gd name="connsiteX1322" fmla="*/ 223191 w 4378607"/>
                  <a:gd name="connsiteY1322" fmla="*/ 588286 h 3351243"/>
                  <a:gd name="connsiteX1323" fmla="*/ 249207 w 4378607"/>
                  <a:gd name="connsiteY1323" fmla="*/ 596496 h 3351243"/>
                  <a:gd name="connsiteX1324" fmla="*/ 256054 w 4378607"/>
                  <a:gd name="connsiteY1324" fmla="*/ 610178 h 3351243"/>
                  <a:gd name="connsiteX1325" fmla="*/ 236884 w 4378607"/>
                  <a:gd name="connsiteY1325" fmla="*/ 625229 h 3351243"/>
                  <a:gd name="connsiteX1326" fmla="*/ 284808 w 4378607"/>
                  <a:gd name="connsiteY1326" fmla="*/ 629334 h 3351243"/>
                  <a:gd name="connsiteX1327" fmla="*/ 313563 w 4378607"/>
                  <a:gd name="connsiteY1327" fmla="*/ 622493 h 3351243"/>
                  <a:gd name="connsiteX1328" fmla="*/ 327256 w 4378607"/>
                  <a:gd name="connsiteY1328" fmla="*/ 627966 h 3351243"/>
                  <a:gd name="connsiteX1329" fmla="*/ 338210 w 4378607"/>
                  <a:gd name="connsiteY1329" fmla="*/ 632070 h 3351243"/>
                  <a:gd name="connsiteX1330" fmla="*/ 346426 w 4378607"/>
                  <a:gd name="connsiteY1330" fmla="*/ 637543 h 3351243"/>
                  <a:gd name="connsiteX1331" fmla="*/ 347795 w 4378607"/>
                  <a:gd name="connsiteY1331" fmla="*/ 652594 h 3351243"/>
                  <a:gd name="connsiteX1332" fmla="*/ 357380 w 4378607"/>
                  <a:gd name="connsiteY1332" fmla="*/ 658067 h 3351243"/>
                  <a:gd name="connsiteX1333" fmla="*/ 361488 w 4378607"/>
                  <a:gd name="connsiteY1333" fmla="*/ 643016 h 3351243"/>
                  <a:gd name="connsiteX1334" fmla="*/ 360118 w 4378607"/>
                  <a:gd name="connsiteY1334" fmla="*/ 617020 h 3351243"/>
                  <a:gd name="connsiteX1335" fmla="*/ 386135 w 4378607"/>
                  <a:gd name="connsiteY1335" fmla="*/ 600601 h 3351243"/>
                  <a:gd name="connsiteX1336" fmla="*/ 364226 w 4378607"/>
                  <a:gd name="connsiteY1336" fmla="*/ 607442 h 3351243"/>
                  <a:gd name="connsiteX1337" fmla="*/ 350534 w 4378607"/>
                  <a:gd name="connsiteY1337" fmla="*/ 614283 h 3351243"/>
                  <a:gd name="connsiteX1338" fmla="*/ 342318 w 4378607"/>
                  <a:gd name="connsiteY1338" fmla="*/ 606074 h 3351243"/>
                  <a:gd name="connsiteX1339" fmla="*/ 365596 w 4378607"/>
                  <a:gd name="connsiteY1339" fmla="*/ 593759 h 3351243"/>
                  <a:gd name="connsiteX1340" fmla="*/ 391612 w 4378607"/>
                  <a:gd name="connsiteY1340" fmla="*/ 592391 h 3351243"/>
                  <a:gd name="connsiteX1341" fmla="*/ 399827 w 4378607"/>
                  <a:gd name="connsiteY1341" fmla="*/ 607442 h 3351243"/>
                  <a:gd name="connsiteX1342" fmla="*/ 413520 w 4378607"/>
                  <a:gd name="connsiteY1342" fmla="*/ 615651 h 3351243"/>
                  <a:gd name="connsiteX1343" fmla="*/ 431321 w 4378607"/>
                  <a:gd name="connsiteY1343" fmla="*/ 621124 h 3351243"/>
                  <a:gd name="connsiteX1344" fmla="*/ 455968 w 4378607"/>
                  <a:gd name="connsiteY1344" fmla="*/ 627966 h 3351243"/>
                  <a:gd name="connsiteX1345" fmla="*/ 487461 w 4378607"/>
                  <a:gd name="connsiteY1345" fmla="*/ 622493 h 3351243"/>
                  <a:gd name="connsiteX1346" fmla="*/ 501153 w 4378607"/>
                  <a:gd name="connsiteY1346" fmla="*/ 623861 h 3351243"/>
                  <a:gd name="connsiteX1347" fmla="*/ 502523 w 4378607"/>
                  <a:gd name="connsiteY1347" fmla="*/ 611547 h 3351243"/>
                  <a:gd name="connsiteX1348" fmla="*/ 509369 w 4378607"/>
                  <a:gd name="connsiteY1348" fmla="*/ 606074 h 3351243"/>
                  <a:gd name="connsiteX1349" fmla="*/ 516215 w 4378607"/>
                  <a:gd name="connsiteY1349" fmla="*/ 601969 h 3351243"/>
                  <a:gd name="connsiteX1350" fmla="*/ 503892 w 4378607"/>
                  <a:gd name="connsiteY1350" fmla="*/ 591023 h 3351243"/>
                  <a:gd name="connsiteX1351" fmla="*/ 490199 w 4378607"/>
                  <a:gd name="connsiteY1351" fmla="*/ 580077 h 3351243"/>
                  <a:gd name="connsiteX1352" fmla="*/ 506631 w 4378607"/>
                  <a:gd name="connsiteY1352" fmla="*/ 567762 h 3351243"/>
                  <a:gd name="connsiteX1353" fmla="*/ 524431 w 4378607"/>
                  <a:gd name="connsiteY1353" fmla="*/ 562289 h 3351243"/>
                  <a:gd name="connsiteX1354" fmla="*/ 542232 w 4378607"/>
                  <a:gd name="connsiteY1354" fmla="*/ 567762 h 3351243"/>
                  <a:gd name="connsiteX1355" fmla="*/ 551816 w 4378607"/>
                  <a:gd name="connsiteY1355" fmla="*/ 574604 h 3351243"/>
                  <a:gd name="connsiteX1356" fmla="*/ 538124 w 4378607"/>
                  <a:gd name="connsiteY1356" fmla="*/ 577340 h 3351243"/>
                  <a:gd name="connsiteX1357" fmla="*/ 551816 w 4378607"/>
                  <a:gd name="connsiteY1357" fmla="*/ 578708 h 3351243"/>
                  <a:gd name="connsiteX1358" fmla="*/ 560032 w 4378607"/>
                  <a:gd name="connsiteY1358" fmla="*/ 595128 h 3351243"/>
                  <a:gd name="connsiteX1359" fmla="*/ 542232 w 4378607"/>
                  <a:gd name="connsiteY1359" fmla="*/ 596496 h 3351243"/>
                  <a:gd name="connsiteX1360" fmla="*/ 534016 w 4378607"/>
                  <a:gd name="connsiteY1360" fmla="*/ 603337 h 3351243"/>
                  <a:gd name="connsiteX1361" fmla="*/ 521693 w 4378607"/>
                  <a:gd name="connsiteY1361" fmla="*/ 606074 h 3351243"/>
                  <a:gd name="connsiteX1362" fmla="*/ 539493 w 4378607"/>
                  <a:gd name="connsiteY1362" fmla="*/ 612915 h 3351243"/>
                  <a:gd name="connsiteX1363" fmla="*/ 538124 w 4378607"/>
                  <a:gd name="connsiteY1363" fmla="*/ 626597 h 3351243"/>
                  <a:gd name="connsiteX1364" fmla="*/ 546339 w 4378607"/>
                  <a:gd name="connsiteY1364" fmla="*/ 643016 h 3351243"/>
                  <a:gd name="connsiteX1365" fmla="*/ 554555 w 4378607"/>
                  <a:gd name="connsiteY1365" fmla="*/ 634807 h 3351243"/>
                  <a:gd name="connsiteX1366" fmla="*/ 554555 w 4378607"/>
                  <a:gd name="connsiteY1366" fmla="*/ 617020 h 3351243"/>
                  <a:gd name="connsiteX1367" fmla="*/ 570986 w 4378607"/>
                  <a:gd name="connsiteY1367" fmla="*/ 608810 h 3351243"/>
                  <a:gd name="connsiteX1368" fmla="*/ 580571 w 4378607"/>
                  <a:gd name="connsiteY1368" fmla="*/ 597864 h 3351243"/>
                  <a:gd name="connsiteX1369" fmla="*/ 573725 w 4378607"/>
                  <a:gd name="connsiteY1369" fmla="*/ 586918 h 3351243"/>
                  <a:gd name="connsiteX1370" fmla="*/ 566878 w 4378607"/>
                  <a:gd name="connsiteY1370" fmla="*/ 593759 h 3351243"/>
                  <a:gd name="connsiteX1371" fmla="*/ 570986 w 4378607"/>
                  <a:gd name="connsiteY1371" fmla="*/ 578708 h 3351243"/>
                  <a:gd name="connsiteX1372" fmla="*/ 572356 w 4378607"/>
                  <a:gd name="connsiteY1372" fmla="*/ 569131 h 3351243"/>
                  <a:gd name="connsiteX1373" fmla="*/ 539493 w 4378607"/>
                  <a:gd name="connsiteY1373" fmla="*/ 555448 h 3351243"/>
                  <a:gd name="connsiteX1374" fmla="*/ 538124 w 4378607"/>
                  <a:gd name="connsiteY1374" fmla="*/ 534924 h 3351243"/>
                  <a:gd name="connsiteX1375" fmla="*/ 535385 w 4378607"/>
                  <a:gd name="connsiteY1375" fmla="*/ 525347 h 3351243"/>
                  <a:gd name="connsiteX1376" fmla="*/ 539493 w 4378607"/>
                  <a:gd name="connsiteY1376" fmla="*/ 504823 h 3351243"/>
                  <a:gd name="connsiteX1377" fmla="*/ 551816 w 4378607"/>
                  <a:gd name="connsiteY1377" fmla="*/ 506191 h 3351243"/>
                  <a:gd name="connsiteX1378" fmla="*/ 547709 w 4378607"/>
                  <a:gd name="connsiteY1378" fmla="*/ 495245 h 3351243"/>
                  <a:gd name="connsiteX1379" fmla="*/ 557294 w 4378607"/>
                  <a:gd name="connsiteY1379" fmla="*/ 484299 h 3351243"/>
                  <a:gd name="connsiteX1380" fmla="*/ 554555 w 4378607"/>
                  <a:gd name="connsiteY1380" fmla="*/ 462407 h 3351243"/>
                  <a:gd name="connsiteX1381" fmla="*/ 547709 w 4378607"/>
                  <a:gd name="connsiteY1381" fmla="*/ 440515 h 3351243"/>
                  <a:gd name="connsiteX1382" fmla="*/ 547709 w 4378607"/>
                  <a:gd name="connsiteY1382" fmla="*/ 418623 h 3351243"/>
                  <a:gd name="connsiteX1383" fmla="*/ 558663 w 4378607"/>
                  <a:gd name="connsiteY1383" fmla="*/ 419991 h 3351243"/>
                  <a:gd name="connsiteX1384" fmla="*/ 554555 w 4378607"/>
                  <a:gd name="connsiteY1384" fmla="*/ 409045 h 3351243"/>
                  <a:gd name="connsiteX1385" fmla="*/ 587418 w 4378607"/>
                  <a:gd name="connsiteY1385" fmla="*/ 403572 h 3351243"/>
                  <a:gd name="connsiteX1386" fmla="*/ 514307 w 4378607"/>
                  <a:gd name="connsiteY1386" fmla="*/ 402265 h 3351243"/>
                  <a:gd name="connsiteX1387" fmla="*/ 516741 w 4378607"/>
                  <a:gd name="connsiteY1387" fmla="*/ 405637 h 3351243"/>
                  <a:gd name="connsiteX1388" fmla="*/ 527672 w 4378607"/>
                  <a:gd name="connsiteY1388" fmla="*/ 423395 h 3351243"/>
                  <a:gd name="connsiteX1389" fmla="*/ 507175 w 4378607"/>
                  <a:gd name="connsiteY1389" fmla="*/ 442518 h 3351243"/>
                  <a:gd name="connsiteX1390" fmla="*/ 527672 w 4378607"/>
                  <a:gd name="connsiteY1390" fmla="*/ 452080 h 3351243"/>
                  <a:gd name="connsiteX1391" fmla="*/ 529039 w 4378607"/>
                  <a:gd name="connsiteY1391" fmla="*/ 445250 h 3351243"/>
                  <a:gd name="connsiteX1392" fmla="*/ 538604 w 4378607"/>
                  <a:gd name="connsiteY1392" fmla="*/ 446616 h 3351243"/>
                  <a:gd name="connsiteX1393" fmla="*/ 518107 w 4378607"/>
                  <a:gd name="connsiteY1393" fmla="*/ 493060 h 3351243"/>
                  <a:gd name="connsiteX1394" fmla="*/ 490778 w 4378607"/>
                  <a:gd name="connsiteY1394" fmla="*/ 502622 h 3351243"/>
                  <a:gd name="connsiteX1395" fmla="*/ 457983 w 4378607"/>
                  <a:gd name="connsiteY1395" fmla="*/ 471204 h 3351243"/>
                  <a:gd name="connsiteX1396" fmla="*/ 445685 w 4378607"/>
                  <a:gd name="connsiteY1396" fmla="*/ 442518 h 3351243"/>
                  <a:gd name="connsiteX1397" fmla="*/ 477113 w 4378607"/>
                  <a:gd name="connsiteY1397" fmla="*/ 446616 h 3351243"/>
                  <a:gd name="connsiteX1398" fmla="*/ 460716 w 4378607"/>
                  <a:gd name="connsiteY1398" fmla="*/ 428859 h 3351243"/>
                  <a:gd name="connsiteX1399" fmla="*/ 488045 w 4378607"/>
                  <a:gd name="connsiteY1399" fmla="*/ 413833 h 3351243"/>
                  <a:gd name="connsiteX1400" fmla="*/ 496244 w 4378607"/>
                  <a:gd name="connsiteY1400" fmla="*/ 411101 h 3351243"/>
                  <a:gd name="connsiteX1401" fmla="*/ 514307 w 4378607"/>
                  <a:gd name="connsiteY1401" fmla="*/ 402265 h 3351243"/>
                  <a:gd name="connsiteX1402" fmla="*/ 3845130 w 4378607"/>
                  <a:gd name="connsiteY1402" fmla="*/ 391239 h 3351243"/>
                  <a:gd name="connsiteX1403" fmla="*/ 3854448 w 4378607"/>
                  <a:gd name="connsiteY1403" fmla="*/ 397838 h 3351243"/>
                  <a:gd name="connsiteX1404" fmla="*/ 3825459 w 4378607"/>
                  <a:gd name="connsiteY1404" fmla="*/ 403394 h 3351243"/>
                  <a:gd name="connsiteX1405" fmla="*/ 3833742 w 4378607"/>
                  <a:gd name="connsiteY1405" fmla="*/ 395059 h 3351243"/>
                  <a:gd name="connsiteX1406" fmla="*/ 3845130 w 4378607"/>
                  <a:gd name="connsiteY1406" fmla="*/ 391239 h 3351243"/>
                  <a:gd name="connsiteX1407" fmla="*/ 411599 w 4378607"/>
                  <a:gd name="connsiteY1407" fmla="*/ 352391 h 3351243"/>
                  <a:gd name="connsiteX1408" fmla="*/ 417278 w 4378607"/>
                  <a:gd name="connsiteY1408" fmla="*/ 354162 h 3351243"/>
                  <a:gd name="connsiteX1409" fmla="*/ 421527 w 4378607"/>
                  <a:gd name="connsiteY1409" fmla="*/ 365295 h 3351243"/>
                  <a:gd name="connsiteX1410" fmla="*/ 407146 w 4378607"/>
                  <a:gd name="connsiteY1410" fmla="*/ 357198 h 3351243"/>
                  <a:gd name="connsiteX1411" fmla="*/ 411599 w 4378607"/>
                  <a:gd name="connsiteY1411" fmla="*/ 352391 h 3351243"/>
                  <a:gd name="connsiteX1412" fmla="*/ 558951 w 4378607"/>
                  <a:gd name="connsiteY1412" fmla="*/ 350108 h 3351243"/>
                  <a:gd name="connsiteX1413" fmla="*/ 572690 w 4378607"/>
                  <a:gd name="connsiteY1413" fmla="*/ 353831 h 3351243"/>
                  <a:gd name="connsiteX1414" fmla="*/ 579635 w 4378607"/>
                  <a:gd name="connsiteY1414" fmla="*/ 384975 h 3351243"/>
                  <a:gd name="connsiteX1415" fmla="*/ 531018 w 4378607"/>
                  <a:gd name="connsiteY1415" fmla="*/ 371434 h 3351243"/>
                  <a:gd name="connsiteX1416" fmla="*/ 558951 w 4378607"/>
                  <a:gd name="connsiteY1416" fmla="*/ 350108 h 3351243"/>
                  <a:gd name="connsiteX1417" fmla="*/ 338544 w 4378607"/>
                  <a:gd name="connsiteY1417" fmla="*/ 300604 h 3351243"/>
                  <a:gd name="connsiteX1418" fmla="*/ 342696 w 4378607"/>
                  <a:gd name="connsiteY1418" fmla="*/ 301958 h 3351243"/>
                  <a:gd name="connsiteX1419" fmla="*/ 349616 w 4378607"/>
                  <a:gd name="connsiteY1419" fmla="*/ 320915 h 3351243"/>
                  <a:gd name="connsiteX1420" fmla="*/ 367607 w 4378607"/>
                  <a:gd name="connsiteY1420" fmla="*/ 338517 h 3351243"/>
                  <a:gd name="connsiteX1421" fmla="*/ 385599 w 4378607"/>
                  <a:gd name="connsiteY1421" fmla="*/ 331747 h 3351243"/>
                  <a:gd name="connsiteX1422" fmla="*/ 380063 w 4378607"/>
                  <a:gd name="connsiteY1422" fmla="*/ 369660 h 3351243"/>
                  <a:gd name="connsiteX1423" fmla="*/ 344080 w 4378607"/>
                  <a:gd name="connsiteY1423" fmla="*/ 372368 h 3351243"/>
                  <a:gd name="connsiteX1424" fmla="*/ 320552 w 4378607"/>
                  <a:gd name="connsiteY1424" fmla="*/ 373722 h 3351243"/>
                  <a:gd name="connsiteX1425" fmla="*/ 287337 w 4378607"/>
                  <a:gd name="connsiteY1425" fmla="*/ 392679 h 3351243"/>
                  <a:gd name="connsiteX1426" fmla="*/ 312248 w 4378607"/>
                  <a:gd name="connsiteY1426" fmla="*/ 349349 h 3351243"/>
                  <a:gd name="connsiteX1427" fmla="*/ 327472 w 4378607"/>
                  <a:gd name="connsiteY1427" fmla="*/ 324977 h 3351243"/>
                  <a:gd name="connsiteX1428" fmla="*/ 320552 w 4378607"/>
                  <a:gd name="connsiteY1428" fmla="*/ 322269 h 3351243"/>
                  <a:gd name="connsiteX1429" fmla="*/ 338544 w 4378607"/>
                  <a:gd name="connsiteY1429" fmla="*/ 300604 h 3351243"/>
                  <a:gd name="connsiteX1430" fmla="*/ 465604 w 4378607"/>
                  <a:gd name="connsiteY1430" fmla="*/ 299327 h 3351243"/>
                  <a:gd name="connsiteX1431" fmla="*/ 471260 w 4378607"/>
                  <a:gd name="connsiteY1431" fmla="*/ 299757 h 3351243"/>
                  <a:gd name="connsiteX1432" fmla="*/ 501195 w 4378607"/>
                  <a:gd name="connsiteY1432" fmla="*/ 306636 h 3351243"/>
                  <a:gd name="connsiteX1433" fmla="*/ 518885 w 4378607"/>
                  <a:gd name="connsiteY1433" fmla="*/ 335529 h 3351243"/>
                  <a:gd name="connsiteX1434" fmla="*/ 520245 w 4378607"/>
                  <a:gd name="connsiteY1434" fmla="*/ 354791 h 3351243"/>
                  <a:gd name="connsiteX1435" fmla="*/ 506638 w 4378607"/>
                  <a:gd name="connsiteY1435" fmla="*/ 369925 h 3351243"/>
                  <a:gd name="connsiteX1436" fmla="*/ 473981 w 4378607"/>
                  <a:gd name="connsiteY1436" fmla="*/ 368549 h 3351243"/>
                  <a:gd name="connsiteX1437" fmla="*/ 478063 w 4378607"/>
                  <a:gd name="connsiteY1437" fmla="*/ 345160 h 3351243"/>
                  <a:gd name="connsiteX1438" fmla="*/ 439963 w 4378607"/>
                  <a:gd name="connsiteY1438" fmla="*/ 346536 h 3351243"/>
                  <a:gd name="connsiteX1439" fmla="*/ 415470 w 4378607"/>
                  <a:gd name="connsiteY1439" fmla="*/ 324522 h 3351243"/>
                  <a:gd name="connsiteX1440" fmla="*/ 416831 w 4378607"/>
                  <a:gd name="connsiteY1440" fmla="*/ 301133 h 3351243"/>
                  <a:gd name="connsiteX1441" fmla="*/ 442685 w 4378607"/>
                  <a:gd name="connsiteY1441" fmla="*/ 330026 h 3351243"/>
                  <a:gd name="connsiteX1442" fmla="*/ 452210 w 4378607"/>
                  <a:gd name="connsiteY1442" fmla="*/ 328650 h 3351243"/>
                  <a:gd name="connsiteX1443" fmla="*/ 457652 w 4378607"/>
                  <a:gd name="connsiteY1443" fmla="*/ 316267 h 3351243"/>
                  <a:gd name="connsiteX1444" fmla="*/ 476702 w 4378607"/>
                  <a:gd name="connsiteY1444" fmla="*/ 321771 h 3351243"/>
                  <a:gd name="connsiteX1445" fmla="*/ 465604 w 4378607"/>
                  <a:gd name="connsiteY1445" fmla="*/ 299327 h 3351243"/>
                  <a:gd name="connsiteX1446" fmla="*/ 3155985 w 4378607"/>
                  <a:gd name="connsiteY1446" fmla="*/ 296566 h 3351243"/>
                  <a:gd name="connsiteX1447" fmla="*/ 3167186 w 4378607"/>
                  <a:gd name="connsiteY1447" fmla="*/ 300436 h 3351243"/>
                  <a:gd name="connsiteX1448" fmla="*/ 3125985 w 4378607"/>
                  <a:gd name="connsiteY1448" fmla="*/ 333274 h 3351243"/>
                  <a:gd name="connsiteX1449" fmla="*/ 3038089 w 4378607"/>
                  <a:gd name="connsiteY1449" fmla="*/ 374321 h 3351243"/>
                  <a:gd name="connsiteX1450" fmla="*/ 3016115 w 4378607"/>
                  <a:gd name="connsiteY1450" fmla="*/ 385266 h 3351243"/>
                  <a:gd name="connsiteX1451" fmla="*/ 3001008 w 4378607"/>
                  <a:gd name="connsiteY1451" fmla="*/ 392108 h 3351243"/>
                  <a:gd name="connsiteX1452" fmla="*/ 2991395 w 4378607"/>
                  <a:gd name="connsiteY1452" fmla="*/ 409895 h 3351243"/>
                  <a:gd name="connsiteX1453" fmla="*/ 2983154 w 4378607"/>
                  <a:gd name="connsiteY1453" fmla="*/ 423577 h 3351243"/>
                  <a:gd name="connsiteX1454" fmla="*/ 2969421 w 4378607"/>
                  <a:gd name="connsiteY1454" fmla="*/ 442732 h 3351243"/>
                  <a:gd name="connsiteX1455" fmla="*/ 2957060 w 4378607"/>
                  <a:gd name="connsiteY1455" fmla="*/ 464624 h 3351243"/>
                  <a:gd name="connsiteX1456" fmla="*/ 2962554 w 4378607"/>
                  <a:gd name="connsiteY1456" fmla="*/ 505671 h 3351243"/>
                  <a:gd name="connsiteX1457" fmla="*/ 2983154 w 4378607"/>
                  <a:gd name="connsiteY1457" fmla="*/ 528931 h 3351243"/>
                  <a:gd name="connsiteX1458" fmla="*/ 2941953 w 4378607"/>
                  <a:gd name="connsiteY1458" fmla="*/ 528931 h 3351243"/>
                  <a:gd name="connsiteX1459" fmla="*/ 2922726 w 4378607"/>
                  <a:gd name="connsiteY1459" fmla="*/ 515248 h 3351243"/>
                  <a:gd name="connsiteX1460" fmla="*/ 2908992 w 4378607"/>
                  <a:gd name="connsiteY1460" fmla="*/ 504303 h 3351243"/>
                  <a:gd name="connsiteX1461" fmla="*/ 2903498 w 4378607"/>
                  <a:gd name="connsiteY1461" fmla="*/ 509775 h 3351243"/>
                  <a:gd name="connsiteX1462" fmla="*/ 2900752 w 4378607"/>
                  <a:gd name="connsiteY1462" fmla="*/ 496093 h 3351243"/>
                  <a:gd name="connsiteX1463" fmla="*/ 2884271 w 4378607"/>
                  <a:gd name="connsiteY1463" fmla="*/ 485147 h 3351243"/>
                  <a:gd name="connsiteX1464" fmla="*/ 2904872 w 4378607"/>
                  <a:gd name="connsiteY1464" fmla="*/ 472833 h 3351243"/>
                  <a:gd name="connsiteX1465" fmla="*/ 2913112 w 4378607"/>
                  <a:gd name="connsiteY1465" fmla="*/ 461887 h 3351243"/>
                  <a:gd name="connsiteX1466" fmla="*/ 2908992 w 4378607"/>
                  <a:gd name="connsiteY1466" fmla="*/ 448205 h 3351243"/>
                  <a:gd name="connsiteX1467" fmla="*/ 2919979 w 4378607"/>
                  <a:gd name="connsiteY1467" fmla="*/ 438627 h 3351243"/>
                  <a:gd name="connsiteX1468" fmla="*/ 2933713 w 4378607"/>
                  <a:gd name="connsiteY1468" fmla="*/ 430418 h 3351243"/>
                  <a:gd name="connsiteX1469" fmla="*/ 2937833 w 4378607"/>
                  <a:gd name="connsiteY1469" fmla="*/ 420840 h 3351243"/>
                  <a:gd name="connsiteX1470" fmla="*/ 2940580 w 4378607"/>
                  <a:gd name="connsiteY1470" fmla="*/ 407158 h 3351243"/>
                  <a:gd name="connsiteX1471" fmla="*/ 2954314 w 4378607"/>
                  <a:gd name="connsiteY1471" fmla="*/ 398949 h 3351243"/>
                  <a:gd name="connsiteX1472" fmla="*/ 2958434 w 4378607"/>
                  <a:gd name="connsiteY1472" fmla="*/ 386635 h 3351243"/>
                  <a:gd name="connsiteX1473" fmla="*/ 2966674 w 4378607"/>
                  <a:gd name="connsiteY1473" fmla="*/ 374321 h 3351243"/>
                  <a:gd name="connsiteX1474" fmla="*/ 2970794 w 4378607"/>
                  <a:gd name="connsiteY1474" fmla="*/ 360638 h 3351243"/>
                  <a:gd name="connsiteX1475" fmla="*/ 2984528 w 4378607"/>
                  <a:gd name="connsiteY1475" fmla="*/ 355165 h 3351243"/>
                  <a:gd name="connsiteX1476" fmla="*/ 2996888 w 4378607"/>
                  <a:gd name="connsiteY1476" fmla="*/ 345588 h 3351243"/>
                  <a:gd name="connsiteX1477" fmla="*/ 3017489 w 4378607"/>
                  <a:gd name="connsiteY1477" fmla="*/ 336010 h 3351243"/>
                  <a:gd name="connsiteX1478" fmla="*/ 3036716 w 4378607"/>
                  <a:gd name="connsiteY1478" fmla="*/ 329169 h 3351243"/>
                  <a:gd name="connsiteX1479" fmla="*/ 3060063 w 4378607"/>
                  <a:gd name="connsiteY1479" fmla="*/ 322328 h 3351243"/>
                  <a:gd name="connsiteX1480" fmla="*/ 3091651 w 4378607"/>
                  <a:gd name="connsiteY1480" fmla="*/ 318223 h 3351243"/>
                  <a:gd name="connsiteX1481" fmla="*/ 3117745 w 4378607"/>
                  <a:gd name="connsiteY1481" fmla="*/ 311382 h 3351243"/>
                  <a:gd name="connsiteX1482" fmla="*/ 3155985 w 4378607"/>
                  <a:gd name="connsiteY1482" fmla="*/ 296566 h 3351243"/>
                  <a:gd name="connsiteX1483" fmla="*/ 544963 w 4378607"/>
                  <a:gd name="connsiteY1483" fmla="*/ 291000 h 3351243"/>
                  <a:gd name="connsiteX1484" fmla="*/ 571992 w 4378607"/>
                  <a:gd name="connsiteY1484" fmla="*/ 294783 h 3351243"/>
                  <a:gd name="connsiteX1485" fmla="*/ 606205 w 4378607"/>
                  <a:gd name="connsiteY1485" fmla="*/ 307166 h 3351243"/>
                  <a:gd name="connsiteX1486" fmla="*/ 647261 w 4378607"/>
                  <a:gd name="connsiteY1486" fmla="*/ 322300 h 3351243"/>
                  <a:gd name="connsiteX1487" fmla="*/ 643156 w 4378607"/>
                  <a:gd name="connsiteY1487" fmla="*/ 340186 h 3351243"/>
                  <a:gd name="connsiteX1488" fmla="*/ 669158 w 4378607"/>
                  <a:gd name="connsiteY1488" fmla="*/ 349817 h 3351243"/>
                  <a:gd name="connsiteX1489" fmla="*/ 714319 w 4378607"/>
                  <a:gd name="connsiteY1489" fmla="*/ 347065 h 3351243"/>
                  <a:gd name="connsiteX1490" fmla="*/ 803274 w 4378607"/>
                  <a:gd name="connsiteY1490" fmla="*/ 353944 h 3351243"/>
                  <a:gd name="connsiteX1491" fmla="*/ 788220 w 4378607"/>
                  <a:gd name="connsiteY1491" fmla="*/ 384213 h 3351243"/>
                  <a:gd name="connsiteX1492" fmla="*/ 747164 w 4378607"/>
                  <a:gd name="connsiteY1492" fmla="*/ 380085 h 3351243"/>
                  <a:gd name="connsiteX1493" fmla="*/ 711582 w 4378607"/>
                  <a:gd name="connsiteY1493" fmla="*/ 391092 h 3351243"/>
                  <a:gd name="connsiteX1494" fmla="*/ 659578 w 4378607"/>
                  <a:gd name="connsiteY1494" fmla="*/ 378709 h 3351243"/>
                  <a:gd name="connsiteX1495" fmla="*/ 647261 w 4378607"/>
                  <a:gd name="connsiteY1495" fmla="*/ 384213 h 3351243"/>
                  <a:gd name="connsiteX1496" fmla="*/ 621259 w 4378607"/>
                  <a:gd name="connsiteY1496" fmla="*/ 380085 h 3351243"/>
                  <a:gd name="connsiteX1497" fmla="*/ 603468 w 4378607"/>
                  <a:gd name="connsiteY1497" fmla="*/ 369078 h 3351243"/>
                  <a:gd name="connsiteX1498" fmla="*/ 603468 w 4378607"/>
                  <a:gd name="connsiteY1498" fmla="*/ 338810 h 3351243"/>
                  <a:gd name="connsiteX1499" fmla="*/ 581572 w 4378607"/>
                  <a:gd name="connsiteY1499" fmla="*/ 319548 h 3351243"/>
                  <a:gd name="connsiteX1500" fmla="*/ 532304 w 4378607"/>
                  <a:gd name="connsiteY1500" fmla="*/ 301662 h 3351243"/>
                  <a:gd name="connsiteX1501" fmla="*/ 544963 w 4378607"/>
                  <a:gd name="connsiteY1501" fmla="*/ 291000 h 3351243"/>
                  <a:gd name="connsiteX1502" fmla="*/ 629931 w 4378607"/>
                  <a:gd name="connsiteY1502" fmla="*/ 267726 h 3351243"/>
                  <a:gd name="connsiteX1503" fmla="*/ 639147 w 4378607"/>
                  <a:gd name="connsiteY1503" fmla="*/ 269188 h 3351243"/>
                  <a:gd name="connsiteX1504" fmla="*/ 624501 w 4378607"/>
                  <a:gd name="connsiteY1504" fmla="*/ 283893 h 3351243"/>
                  <a:gd name="connsiteX1505" fmla="*/ 629931 w 4378607"/>
                  <a:gd name="connsiteY1505" fmla="*/ 267726 h 3351243"/>
                  <a:gd name="connsiteX1506" fmla="*/ 578691 w 4378607"/>
                  <a:gd name="connsiteY1506" fmla="*/ 260629 h 3351243"/>
                  <a:gd name="connsiteX1507" fmla="*/ 587606 w 4378607"/>
                  <a:gd name="connsiteY1507" fmla="*/ 261789 h 3351243"/>
                  <a:gd name="connsiteX1508" fmla="*/ 541530 w 4378607"/>
                  <a:gd name="connsiteY1508" fmla="*/ 272584 h 3351243"/>
                  <a:gd name="connsiteX1509" fmla="*/ 578691 w 4378607"/>
                  <a:gd name="connsiteY1509" fmla="*/ 260629 h 3351243"/>
                  <a:gd name="connsiteX1510" fmla="*/ 390536 w 4378607"/>
                  <a:gd name="connsiteY1510" fmla="*/ 260579 h 3351243"/>
                  <a:gd name="connsiteX1511" fmla="*/ 408852 w 4378607"/>
                  <a:gd name="connsiteY1511" fmla="*/ 284878 h 3351243"/>
                  <a:gd name="connsiteX1512" fmla="*/ 385545 w 4378607"/>
                  <a:gd name="connsiteY1512" fmla="*/ 263446 h 3351243"/>
                  <a:gd name="connsiteX1513" fmla="*/ 390536 w 4378607"/>
                  <a:gd name="connsiteY1513" fmla="*/ 260579 h 3351243"/>
                  <a:gd name="connsiteX1514" fmla="*/ 515680 w 4378607"/>
                  <a:gd name="connsiteY1514" fmla="*/ 217132 h 3351243"/>
                  <a:gd name="connsiteX1515" fmla="*/ 543347 w 4378607"/>
                  <a:gd name="connsiteY1515" fmla="*/ 230527 h 3351243"/>
                  <a:gd name="connsiteX1516" fmla="*/ 559857 w 4378607"/>
                  <a:gd name="connsiteY1516" fmla="*/ 237330 h 3351243"/>
                  <a:gd name="connsiteX1517" fmla="*/ 558481 w 4378607"/>
                  <a:gd name="connsiteY1517" fmla="*/ 252298 h 3351243"/>
                  <a:gd name="connsiteX1518" fmla="*/ 529589 w 4378607"/>
                  <a:gd name="connsiteY1518" fmla="*/ 257741 h 3351243"/>
                  <a:gd name="connsiteX1519" fmla="*/ 508951 w 4378607"/>
                  <a:gd name="connsiteY1519" fmla="*/ 218280 h 3351243"/>
                  <a:gd name="connsiteX1520" fmla="*/ 515680 w 4378607"/>
                  <a:gd name="connsiteY1520" fmla="*/ 217132 h 3351243"/>
                  <a:gd name="connsiteX1521" fmla="*/ 2242003 w 4378607"/>
                  <a:gd name="connsiteY1521" fmla="*/ 216012 h 3351243"/>
                  <a:gd name="connsiteX1522" fmla="*/ 2252889 w 4378607"/>
                  <a:gd name="connsiteY1522" fmla="*/ 225537 h 3351243"/>
                  <a:gd name="connsiteX1523" fmla="*/ 2262414 w 4378607"/>
                  <a:gd name="connsiteY1523" fmla="*/ 241866 h 3351243"/>
                  <a:gd name="connsiteX1524" fmla="*/ 2251528 w 4378607"/>
                  <a:gd name="connsiteY1524" fmla="*/ 232341 h 3351243"/>
                  <a:gd name="connsiteX1525" fmla="*/ 2242003 w 4378607"/>
                  <a:gd name="connsiteY1525" fmla="*/ 216012 h 3351243"/>
                  <a:gd name="connsiteX1526" fmla="*/ 3677442 w 4378607"/>
                  <a:gd name="connsiteY1526" fmla="*/ 193385 h 3351243"/>
                  <a:gd name="connsiteX1527" fmla="*/ 3686946 w 4378607"/>
                  <a:gd name="connsiteY1527" fmla="*/ 205750 h 3351243"/>
                  <a:gd name="connsiteX1528" fmla="*/ 3684230 w 4378607"/>
                  <a:gd name="connsiteY1528" fmla="*/ 216740 h 3351243"/>
                  <a:gd name="connsiteX1529" fmla="*/ 3707312 w 4378607"/>
                  <a:gd name="connsiteY1529" fmla="*/ 211245 h 3351243"/>
                  <a:gd name="connsiteX1530" fmla="*/ 3727678 w 4378607"/>
                  <a:gd name="connsiteY1530" fmla="*/ 227731 h 3351243"/>
                  <a:gd name="connsiteX1531" fmla="*/ 3673369 w 4378607"/>
                  <a:gd name="connsiteY1531" fmla="*/ 249711 h 3351243"/>
                  <a:gd name="connsiteX1532" fmla="*/ 3632637 w 4378607"/>
                  <a:gd name="connsiteY1532" fmla="*/ 253833 h 3351243"/>
                  <a:gd name="connsiteX1533" fmla="*/ 3643499 w 4378607"/>
                  <a:gd name="connsiteY1533" fmla="*/ 227731 h 3351243"/>
                  <a:gd name="connsiteX1534" fmla="*/ 3655718 w 4378607"/>
                  <a:gd name="connsiteY1534" fmla="*/ 216740 h 3351243"/>
                  <a:gd name="connsiteX1535" fmla="*/ 3661149 w 4378607"/>
                  <a:gd name="connsiteY1535" fmla="*/ 201628 h 3351243"/>
                  <a:gd name="connsiteX1536" fmla="*/ 3677442 w 4378607"/>
                  <a:gd name="connsiteY1536" fmla="*/ 193385 h 3351243"/>
                  <a:gd name="connsiteX1537" fmla="*/ 416214 w 4378607"/>
                  <a:gd name="connsiteY1537" fmla="*/ 192654 h 3351243"/>
                  <a:gd name="connsiteX1538" fmla="*/ 439581 w 4378607"/>
                  <a:gd name="connsiteY1538" fmla="*/ 203400 h 3351243"/>
                  <a:gd name="connsiteX1539" fmla="*/ 450578 w 4378607"/>
                  <a:gd name="connsiteY1539" fmla="*/ 204743 h 3351243"/>
                  <a:gd name="connsiteX1540" fmla="*/ 467072 w 4378607"/>
                  <a:gd name="connsiteY1540" fmla="*/ 218176 h 3351243"/>
                  <a:gd name="connsiteX1541" fmla="*/ 486316 w 4378607"/>
                  <a:gd name="connsiteY1541" fmla="*/ 230265 h 3351243"/>
                  <a:gd name="connsiteX1542" fmla="*/ 493188 w 4378607"/>
                  <a:gd name="connsiteY1542" fmla="*/ 251758 h 3351243"/>
                  <a:gd name="connsiteX1543" fmla="*/ 462948 w 4378607"/>
                  <a:gd name="connsiteY1543" fmla="*/ 247728 h 3351243"/>
                  <a:gd name="connsiteX1544" fmla="*/ 420338 w 4378607"/>
                  <a:gd name="connsiteY1544" fmla="*/ 238325 h 3351243"/>
                  <a:gd name="connsiteX1545" fmla="*/ 399720 w 4378607"/>
                  <a:gd name="connsiteY1545" fmla="*/ 231609 h 3351243"/>
                  <a:gd name="connsiteX1546" fmla="*/ 425836 w 4378607"/>
                  <a:gd name="connsiteY1546" fmla="*/ 226236 h 3351243"/>
                  <a:gd name="connsiteX1547" fmla="*/ 405218 w 4378607"/>
                  <a:gd name="connsiteY1547" fmla="*/ 215489 h 3351243"/>
                  <a:gd name="connsiteX1548" fmla="*/ 399720 w 4378607"/>
                  <a:gd name="connsiteY1548" fmla="*/ 215489 h 3351243"/>
                  <a:gd name="connsiteX1549" fmla="*/ 394222 w 4378607"/>
                  <a:gd name="connsiteY1549" fmla="*/ 195340 h 3351243"/>
                  <a:gd name="connsiteX1550" fmla="*/ 416214 w 4378607"/>
                  <a:gd name="connsiteY1550" fmla="*/ 192654 h 3351243"/>
                  <a:gd name="connsiteX1551" fmla="*/ 480009 w 4378607"/>
                  <a:gd name="connsiteY1551" fmla="*/ 162557 h 3351243"/>
                  <a:gd name="connsiteX1552" fmla="*/ 500823 w 4378607"/>
                  <a:gd name="connsiteY1552" fmla="*/ 175271 h 3351243"/>
                  <a:gd name="connsiteX1553" fmla="*/ 479488 w 4378607"/>
                  <a:gd name="connsiteY1553" fmla="*/ 165825 h 3351243"/>
                  <a:gd name="connsiteX1554" fmla="*/ 480009 w 4378607"/>
                  <a:gd name="connsiteY1554" fmla="*/ 162557 h 3351243"/>
                  <a:gd name="connsiteX1555" fmla="*/ 2330897 w 4378607"/>
                  <a:gd name="connsiteY1555" fmla="*/ 162272 h 3351243"/>
                  <a:gd name="connsiteX1556" fmla="*/ 2339104 w 4378607"/>
                  <a:gd name="connsiteY1556" fmla="*/ 170486 h 3351243"/>
                  <a:gd name="connsiteX1557" fmla="*/ 2355518 w 4378607"/>
                  <a:gd name="connsiteY1557" fmla="*/ 177332 h 3351243"/>
                  <a:gd name="connsiteX1558" fmla="*/ 2351414 w 4378607"/>
                  <a:gd name="connsiteY1558" fmla="*/ 191022 h 3351243"/>
                  <a:gd name="connsiteX1559" fmla="*/ 2365093 w 4378607"/>
                  <a:gd name="connsiteY1559" fmla="*/ 184177 h 3351243"/>
                  <a:gd name="connsiteX1560" fmla="*/ 2370564 w 4378607"/>
                  <a:gd name="connsiteY1560" fmla="*/ 199236 h 3351243"/>
                  <a:gd name="connsiteX1561" fmla="*/ 2385611 w 4378607"/>
                  <a:gd name="connsiteY1561" fmla="*/ 201974 h 3351243"/>
                  <a:gd name="connsiteX1562" fmla="*/ 2392450 w 4378607"/>
                  <a:gd name="connsiteY1562" fmla="*/ 204712 h 3351243"/>
                  <a:gd name="connsiteX1563" fmla="*/ 2399289 w 4378607"/>
                  <a:gd name="connsiteY1563" fmla="*/ 207450 h 3351243"/>
                  <a:gd name="connsiteX1564" fmla="*/ 2411600 w 4378607"/>
                  <a:gd name="connsiteY1564" fmla="*/ 215665 h 3351243"/>
                  <a:gd name="connsiteX1565" fmla="*/ 2414335 w 4378607"/>
                  <a:gd name="connsiteY1565" fmla="*/ 226617 h 3351243"/>
                  <a:gd name="connsiteX1566" fmla="*/ 2422542 w 4378607"/>
                  <a:gd name="connsiteY1566" fmla="*/ 236200 h 3351243"/>
                  <a:gd name="connsiteX1567" fmla="*/ 2434853 w 4378607"/>
                  <a:gd name="connsiteY1567" fmla="*/ 241676 h 3351243"/>
                  <a:gd name="connsiteX1568" fmla="*/ 2437589 w 4378607"/>
                  <a:gd name="connsiteY1568" fmla="*/ 249891 h 3351243"/>
                  <a:gd name="connsiteX1569" fmla="*/ 2451267 w 4378607"/>
                  <a:gd name="connsiteY1569" fmla="*/ 253998 h 3351243"/>
                  <a:gd name="connsiteX1570" fmla="*/ 2462210 w 4378607"/>
                  <a:gd name="connsiteY1570" fmla="*/ 256736 h 3351243"/>
                  <a:gd name="connsiteX1571" fmla="*/ 2448531 w 4378607"/>
                  <a:gd name="connsiteY1571" fmla="*/ 267688 h 3351243"/>
                  <a:gd name="connsiteX1572" fmla="*/ 2428014 w 4378607"/>
                  <a:gd name="connsiteY1572" fmla="*/ 280009 h 3351243"/>
                  <a:gd name="connsiteX1573" fmla="*/ 2419807 w 4378607"/>
                  <a:gd name="connsiteY1573" fmla="*/ 269057 h 3351243"/>
                  <a:gd name="connsiteX1574" fmla="*/ 2404760 w 4378607"/>
                  <a:gd name="connsiteY1574" fmla="*/ 266319 h 3351243"/>
                  <a:gd name="connsiteX1575" fmla="*/ 2407496 w 4378607"/>
                  <a:gd name="connsiteY1575" fmla="*/ 247152 h 3351243"/>
                  <a:gd name="connsiteX1576" fmla="*/ 2402025 w 4378607"/>
                  <a:gd name="connsiteY1576" fmla="*/ 241676 h 3351243"/>
                  <a:gd name="connsiteX1577" fmla="*/ 2399289 w 4378607"/>
                  <a:gd name="connsiteY1577" fmla="*/ 226617 h 3351243"/>
                  <a:gd name="connsiteX1578" fmla="*/ 2396553 w 4378607"/>
                  <a:gd name="connsiteY1578" fmla="*/ 222510 h 3351243"/>
                  <a:gd name="connsiteX1579" fmla="*/ 2377404 w 4378607"/>
                  <a:gd name="connsiteY1579" fmla="*/ 229355 h 3351243"/>
                  <a:gd name="connsiteX1580" fmla="*/ 2371932 w 4378607"/>
                  <a:gd name="connsiteY1580" fmla="*/ 245783 h 3351243"/>
                  <a:gd name="connsiteX1581" fmla="*/ 2365093 w 4378607"/>
                  <a:gd name="connsiteY1581" fmla="*/ 252629 h 3351243"/>
                  <a:gd name="connsiteX1582" fmla="*/ 2358254 w 4378607"/>
                  <a:gd name="connsiteY1582" fmla="*/ 269057 h 3351243"/>
                  <a:gd name="connsiteX1583" fmla="*/ 2340472 w 4378607"/>
                  <a:gd name="connsiteY1583" fmla="*/ 301914 h 3351243"/>
                  <a:gd name="connsiteX1584" fmla="*/ 2329529 w 4378607"/>
                  <a:gd name="connsiteY1584" fmla="*/ 306021 h 3351243"/>
                  <a:gd name="connsiteX1585" fmla="*/ 2317218 w 4378607"/>
                  <a:gd name="connsiteY1585" fmla="*/ 296438 h 3351243"/>
                  <a:gd name="connsiteX1586" fmla="*/ 2324058 w 4378607"/>
                  <a:gd name="connsiteY1586" fmla="*/ 289593 h 3351243"/>
                  <a:gd name="connsiteX1587" fmla="*/ 2309011 w 4378607"/>
                  <a:gd name="connsiteY1587" fmla="*/ 288224 h 3351243"/>
                  <a:gd name="connsiteX1588" fmla="*/ 2292597 w 4378607"/>
                  <a:gd name="connsiteY1588" fmla="*/ 273164 h 3351243"/>
                  <a:gd name="connsiteX1589" fmla="*/ 2309011 w 4378607"/>
                  <a:gd name="connsiteY1589" fmla="*/ 269057 h 3351243"/>
                  <a:gd name="connsiteX1590" fmla="*/ 2322690 w 4378607"/>
                  <a:gd name="connsiteY1590" fmla="*/ 262212 h 3351243"/>
                  <a:gd name="connsiteX1591" fmla="*/ 2336368 w 4378607"/>
                  <a:gd name="connsiteY1591" fmla="*/ 258105 h 3351243"/>
                  <a:gd name="connsiteX1592" fmla="*/ 2304908 w 4378607"/>
                  <a:gd name="connsiteY1592" fmla="*/ 259474 h 3351243"/>
                  <a:gd name="connsiteX1593" fmla="*/ 2291229 w 4378607"/>
                  <a:gd name="connsiteY1593" fmla="*/ 252629 h 3351243"/>
                  <a:gd name="connsiteX1594" fmla="*/ 2315851 w 4378607"/>
                  <a:gd name="connsiteY1594" fmla="*/ 241676 h 3351243"/>
                  <a:gd name="connsiteX1595" fmla="*/ 2335000 w 4378607"/>
                  <a:gd name="connsiteY1595" fmla="*/ 232093 h 3351243"/>
                  <a:gd name="connsiteX1596" fmla="*/ 2328161 w 4378607"/>
                  <a:gd name="connsiteY1596" fmla="*/ 225248 h 3351243"/>
                  <a:gd name="connsiteX1597" fmla="*/ 2314483 w 4378607"/>
                  <a:gd name="connsiteY1597" fmla="*/ 226617 h 3351243"/>
                  <a:gd name="connsiteX1598" fmla="*/ 2313115 w 4378607"/>
                  <a:gd name="connsiteY1598" fmla="*/ 215665 h 3351243"/>
                  <a:gd name="connsiteX1599" fmla="*/ 2304908 w 4378607"/>
                  <a:gd name="connsiteY1599" fmla="*/ 223879 h 3351243"/>
                  <a:gd name="connsiteX1600" fmla="*/ 2296701 w 4378607"/>
                  <a:gd name="connsiteY1600" fmla="*/ 238938 h 3351243"/>
                  <a:gd name="connsiteX1601" fmla="*/ 2273447 w 4378607"/>
                  <a:gd name="connsiteY1601" fmla="*/ 237569 h 3351243"/>
                  <a:gd name="connsiteX1602" fmla="*/ 2258401 w 4378607"/>
                  <a:gd name="connsiteY1602" fmla="*/ 215665 h 3351243"/>
                  <a:gd name="connsiteX1603" fmla="*/ 2267976 w 4378607"/>
                  <a:gd name="connsiteY1603" fmla="*/ 197867 h 3351243"/>
                  <a:gd name="connsiteX1604" fmla="*/ 2250194 w 4378607"/>
                  <a:gd name="connsiteY1604" fmla="*/ 199236 h 3351243"/>
                  <a:gd name="connsiteX1605" fmla="*/ 2250194 w 4378607"/>
                  <a:gd name="connsiteY1605" fmla="*/ 180070 h 3351243"/>
                  <a:gd name="connsiteX1606" fmla="*/ 2263873 w 4378607"/>
                  <a:gd name="connsiteY1606" fmla="*/ 173224 h 3351243"/>
                  <a:gd name="connsiteX1607" fmla="*/ 2274815 w 4378607"/>
                  <a:gd name="connsiteY1607" fmla="*/ 174593 h 3351243"/>
                  <a:gd name="connsiteX1608" fmla="*/ 2288494 w 4378607"/>
                  <a:gd name="connsiteY1608" fmla="*/ 171855 h 3351243"/>
                  <a:gd name="connsiteX1609" fmla="*/ 2296701 w 4378607"/>
                  <a:gd name="connsiteY1609" fmla="*/ 175963 h 3351243"/>
                  <a:gd name="connsiteX1610" fmla="*/ 2284390 w 4378607"/>
                  <a:gd name="connsiteY1610" fmla="*/ 182808 h 3351243"/>
                  <a:gd name="connsiteX1611" fmla="*/ 2295333 w 4378607"/>
                  <a:gd name="connsiteY1611" fmla="*/ 193760 h 3351243"/>
                  <a:gd name="connsiteX1612" fmla="*/ 2299436 w 4378607"/>
                  <a:gd name="connsiteY1612" fmla="*/ 189653 h 3351243"/>
                  <a:gd name="connsiteX1613" fmla="*/ 2306276 w 4378607"/>
                  <a:gd name="connsiteY1613" fmla="*/ 174593 h 3351243"/>
                  <a:gd name="connsiteX1614" fmla="*/ 2317218 w 4378607"/>
                  <a:gd name="connsiteY1614" fmla="*/ 184177 h 3351243"/>
                  <a:gd name="connsiteX1615" fmla="*/ 2335000 w 4378607"/>
                  <a:gd name="connsiteY1615" fmla="*/ 208819 h 3351243"/>
                  <a:gd name="connsiteX1616" fmla="*/ 2325425 w 4378607"/>
                  <a:gd name="connsiteY1616" fmla="*/ 180070 h 3351243"/>
                  <a:gd name="connsiteX1617" fmla="*/ 2326793 w 4378607"/>
                  <a:gd name="connsiteY1617" fmla="*/ 171855 h 3351243"/>
                  <a:gd name="connsiteX1618" fmla="*/ 2330897 w 4378607"/>
                  <a:gd name="connsiteY1618" fmla="*/ 162272 h 3351243"/>
                  <a:gd name="connsiteX1619" fmla="*/ 3595901 w 4378607"/>
                  <a:gd name="connsiteY1619" fmla="*/ 161877 h 3351243"/>
                  <a:gd name="connsiteX1620" fmla="*/ 3603924 w 4378607"/>
                  <a:gd name="connsiteY1620" fmla="*/ 163232 h 3351243"/>
                  <a:gd name="connsiteX1621" fmla="*/ 3616281 w 4378607"/>
                  <a:gd name="connsiteY1621" fmla="*/ 171487 h 3351243"/>
                  <a:gd name="connsiteX1622" fmla="*/ 3639621 w 4378607"/>
                  <a:gd name="connsiteY1622" fmla="*/ 183869 h 3351243"/>
                  <a:gd name="connsiteX1623" fmla="*/ 3631384 w 4378607"/>
                  <a:gd name="connsiteY1623" fmla="*/ 205883 h 3351243"/>
                  <a:gd name="connsiteX1624" fmla="*/ 3621773 w 4378607"/>
                  <a:gd name="connsiteY1624" fmla="*/ 219641 h 3351243"/>
                  <a:gd name="connsiteX1625" fmla="*/ 3576465 w 4378607"/>
                  <a:gd name="connsiteY1625" fmla="*/ 208634 h 3351243"/>
                  <a:gd name="connsiteX1626" fmla="*/ 3561362 w 4378607"/>
                  <a:gd name="connsiteY1626" fmla="*/ 196252 h 3351243"/>
                  <a:gd name="connsiteX1627" fmla="*/ 3549005 w 4378607"/>
                  <a:gd name="connsiteY1627" fmla="*/ 192124 h 3351243"/>
                  <a:gd name="connsiteX1628" fmla="*/ 3559989 w 4378607"/>
                  <a:gd name="connsiteY1628" fmla="*/ 175614 h 3351243"/>
                  <a:gd name="connsiteX1629" fmla="*/ 3595901 w 4378607"/>
                  <a:gd name="connsiteY1629" fmla="*/ 161877 h 3351243"/>
                  <a:gd name="connsiteX1630" fmla="*/ 2920515 w 4378607"/>
                  <a:gd name="connsiteY1630" fmla="*/ 150506 h 3351243"/>
                  <a:gd name="connsiteX1631" fmla="*/ 2924173 w 4378607"/>
                  <a:gd name="connsiteY1631" fmla="*/ 154431 h 3351243"/>
                  <a:gd name="connsiteX1632" fmla="*/ 2904329 w 4378607"/>
                  <a:gd name="connsiteY1632" fmla="*/ 157118 h 3351243"/>
                  <a:gd name="connsiteX1633" fmla="*/ 2912763 w 4378607"/>
                  <a:gd name="connsiteY1633" fmla="*/ 151241 h 3351243"/>
                  <a:gd name="connsiteX1634" fmla="*/ 2920515 w 4378607"/>
                  <a:gd name="connsiteY1634" fmla="*/ 150506 h 3351243"/>
                  <a:gd name="connsiteX1635" fmla="*/ 2989247 w 4378607"/>
                  <a:gd name="connsiteY1635" fmla="*/ 145654 h 3351243"/>
                  <a:gd name="connsiteX1636" fmla="*/ 2999920 w 4378607"/>
                  <a:gd name="connsiteY1636" fmla="*/ 146114 h 3351243"/>
                  <a:gd name="connsiteX1637" fmla="*/ 3014888 w 4378607"/>
                  <a:gd name="connsiteY1637" fmla="*/ 152798 h 3351243"/>
                  <a:gd name="connsiteX1638" fmla="*/ 2998559 w 4378607"/>
                  <a:gd name="connsiteY1638" fmla="*/ 160819 h 3351243"/>
                  <a:gd name="connsiteX1639" fmla="*/ 2963180 w 4378607"/>
                  <a:gd name="connsiteY1639" fmla="*/ 163493 h 3351243"/>
                  <a:gd name="connsiteX1640" fmla="*/ 2972705 w 4378607"/>
                  <a:gd name="connsiteY1640" fmla="*/ 152798 h 3351243"/>
                  <a:gd name="connsiteX1641" fmla="*/ 2984952 w 4378607"/>
                  <a:gd name="connsiteY1641" fmla="*/ 147451 h 3351243"/>
                  <a:gd name="connsiteX1642" fmla="*/ 2989247 w 4378607"/>
                  <a:gd name="connsiteY1642" fmla="*/ 145654 h 3351243"/>
                  <a:gd name="connsiteX1643" fmla="*/ 2385330 w 4378607"/>
                  <a:gd name="connsiteY1643" fmla="*/ 143219 h 3351243"/>
                  <a:gd name="connsiteX1644" fmla="*/ 2401658 w 4378607"/>
                  <a:gd name="connsiteY1644" fmla="*/ 155513 h 3351243"/>
                  <a:gd name="connsiteX1645" fmla="*/ 2415266 w 4378607"/>
                  <a:gd name="connsiteY1645" fmla="*/ 155513 h 3351243"/>
                  <a:gd name="connsiteX1646" fmla="*/ 2427512 w 4378607"/>
                  <a:gd name="connsiteY1646" fmla="*/ 163709 h 3351243"/>
                  <a:gd name="connsiteX1647" fmla="*/ 2430233 w 4378607"/>
                  <a:gd name="connsiteY1647" fmla="*/ 145951 h 3351243"/>
                  <a:gd name="connsiteX1648" fmla="*/ 2439758 w 4378607"/>
                  <a:gd name="connsiteY1648" fmla="*/ 158245 h 3351243"/>
                  <a:gd name="connsiteX1649" fmla="*/ 2447923 w 4378607"/>
                  <a:gd name="connsiteY1649" fmla="*/ 152781 h 3351243"/>
                  <a:gd name="connsiteX1650" fmla="*/ 2471055 w 4378607"/>
                  <a:gd name="connsiteY1650" fmla="*/ 155513 h 3351243"/>
                  <a:gd name="connsiteX1651" fmla="*/ 2502351 w 4378607"/>
                  <a:gd name="connsiteY1651" fmla="*/ 162343 h 3351243"/>
                  <a:gd name="connsiteX1652" fmla="*/ 2480580 w 4378607"/>
                  <a:gd name="connsiteY1652" fmla="*/ 184199 h 3351243"/>
                  <a:gd name="connsiteX1653" fmla="*/ 2460169 w 4378607"/>
                  <a:gd name="connsiteY1653" fmla="*/ 193761 h 3351243"/>
                  <a:gd name="connsiteX1654" fmla="*/ 2442480 w 4378607"/>
                  <a:gd name="connsiteY1654" fmla="*/ 199225 h 3351243"/>
                  <a:gd name="connsiteX1655" fmla="*/ 2423430 w 4378607"/>
                  <a:gd name="connsiteY1655" fmla="*/ 192395 h 3351243"/>
                  <a:gd name="connsiteX1656" fmla="*/ 2386691 w 4378607"/>
                  <a:gd name="connsiteY1656" fmla="*/ 186931 h 3351243"/>
                  <a:gd name="connsiteX1657" fmla="*/ 2419348 w 4378607"/>
                  <a:gd name="connsiteY1657" fmla="*/ 173271 h 3351243"/>
                  <a:gd name="connsiteX1658" fmla="*/ 2362198 w 4378607"/>
                  <a:gd name="connsiteY1658" fmla="*/ 170539 h 3351243"/>
                  <a:gd name="connsiteX1659" fmla="*/ 2364919 w 4378607"/>
                  <a:gd name="connsiteY1659" fmla="*/ 163709 h 3351243"/>
                  <a:gd name="connsiteX1660" fmla="*/ 2356755 w 4378607"/>
                  <a:gd name="connsiteY1660" fmla="*/ 155513 h 3351243"/>
                  <a:gd name="connsiteX1661" fmla="*/ 2362198 w 4378607"/>
                  <a:gd name="connsiteY1661" fmla="*/ 148683 h 3351243"/>
                  <a:gd name="connsiteX1662" fmla="*/ 2374444 w 4378607"/>
                  <a:gd name="connsiteY1662" fmla="*/ 158245 h 3351243"/>
                  <a:gd name="connsiteX1663" fmla="*/ 2374444 w 4378607"/>
                  <a:gd name="connsiteY1663" fmla="*/ 147317 h 3351243"/>
                  <a:gd name="connsiteX1664" fmla="*/ 2385330 w 4378607"/>
                  <a:gd name="connsiteY1664" fmla="*/ 151415 h 3351243"/>
                  <a:gd name="connsiteX1665" fmla="*/ 2385330 w 4378607"/>
                  <a:gd name="connsiteY1665" fmla="*/ 143219 h 3351243"/>
                  <a:gd name="connsiteX1666" fmla="*/ 2829596 w 4378607"/>
                  <a:gd name="connsiteY1666" fmla="*/ 129570 h 3351243"/>
                  <a:gd name="connsiteX1667" fmla="*/ 2840268 w 4378607"/>
                  <a:gd name="connsiteY1667" fmla="*/ 134249 h 3351243"/>
                  <a:gd name="connsiteX1668" fmla="*/ 2813164 w 4378607"/>
                  <a:gd name="connsiteY1668" fmla="*/ 140934 h 3351243"/>
                  <a:gd name="connsiteX1669" fmla="*/ 2788771 w 4378607"/>
                  <a:gd name="connsiteY1669" fmla="*/ 139597 h 3351243"/>
                  <a:gd name="connsiteX1670" fmla="*/ 2811809 w 4378607"/>
                  <a:gd name="connsiteY1670" fmla="*/ 132912 h 3351243"/>
                  <a:gd name="connsiteX1671" fmla="*/ 2829596 w 4378607"/>
                  <a:gd name="connsiteY1671" fmla="*/ 129570 h 3351243"/>
                  <a:gd name="connsiteX1672" fmla="*/ 2880052 w 4378607"/>
                  <a:gd name="connsiteY1672" fmla="*/ 126325 h 3351243"/>
                  <a:gd name="connsiteX1673" fmla="*/ 2878704 w 4378607"/>
                  <a:gd name="connsiteY1673" fmla="*/ 139720 h 3351243"/>
                  <a:gd name="connsiteX1674" fmla="*/ 2859834 w 4378607"/>
                  <a:gd name="connsiteY1674" fmla="*/ 151775 h 3351243"/>
                  <a:gd name="connsiteX1675" fmla="*/ 2847703 w 4378607"/>
                  <a:gd name="connsiteY1675" fmla="*/ 157133 h 3351243"/>
                  <a:gd name="connsiteX1676" fmla="*/ 2822093 w 4378607"/>
                  <a:gd name="connsiteY1676" fmla="*/ 155794 h 3351243"/>
                  <a:gd name="connsiteX1677" fmla="*/ 2836920 w 4378607"/>
                  <a:gd name="connsiteY1677" fmla="*/ 145078 h 3351243"/>
                  <a:gd name="connsiteX1678" fmla="*/ 2857138 w 4378607"/>
                  <a:gd name="connsiteY1678" fmla="*/ 135702 h 3351243"/>
                  <a:gd name="connsiteX1679" fmla="*/ 2880052 w 4378607"/>
                  <a:gd name="connsiteY1679" fmla="*/ 126325 h 3351243"/>
                  <a:gd name="connsiteX1680" fmla="*/ 3043285 w 4378607"/>
                  <a:gd name="connsiteY1680" fmla="*/ 123034 h 3351243"/>
                  <a:gd name="connsiteX1681" fmla="*/ 3057523 w 4378607"/>
                  <a:gd name="connsiteY1681" fmla="*/ 126507 h 3351243"/>
                  <a:gd name="connsiteX1682" fmla="*/ 3064468 w 4378607"/>
                  <a:gd name="connsiteY1682" fmla="*/ 137090 h 3351243"/>
                  <a:gd name="connsiteX1683" fmla="*/ 3018629 w 4378607"/>
                  <a:gd name="connsiteY1683" fmla="*/ 143705 h 3351243"/>
                  <a:gd name="connsiteX1684" fmla="*/ 3031131 w 4378607"/>
                  <a:gd name="connsiteY1684" fmla="*/ 126507 h 3351243"/>
                  <a:gd name="connsiteX1685" fmla="*/ 3043285 w 4378607"/>
                  <a:gd name="connsiteY1685" fmla="*/ 123034 h 3351243"/>
                  <a:gd name="connsiteX1686" fmla="*/ 3106736 w 4378607"/>
                  <a:gd name="connsiteY1686" fmla="*/ 117643 h 3351243"/>
                  <a:gd name="connsiteX1687" fmla="*/ 3098572 w 4378607"/>
                  <a:gd name="connsiteY1687" fmla="*/ 134312 h 3351243"/>
                  <a:gd name="connsiteX1688" fmla="*/ 3072718 w 4378607"/>
                  <a:gd name="connsiteY1688" fmla="*/ 131534 h 3351243"/>
                  <a:gd name="connsiteX1689" fmla="*/ 3091768 w 4378607"/>
                  <a:gd name="connsiteY1689" fmla="*/ 123200 h 3351243"/>
                  <a:gd name="connsiteX1690" fmla="*/ 3106736 w 4378607"/>
                  <a:gd name="connsiteY1690" fmla="*/ 117643 h 3351243"/>
                  <a:gd name="connsiteX1691" fmla="*/ 2948861 w 4378607"/>
                  <a:gd name="connsiteY1691" fmla="*/ 115737 h 3351243"/>
                  <a:gd name="connsiteX1692" fmla="*/ 2962057 w 4378607"/>
                  <a:gd name="connsiteY1692" fmla="*/ 119835 h 3351243"/>
                  <a:gd name="connsiteX1693" fmla="*/ 2989477 w 4378607"/>
                  <a:gd name="connsiteY1693" fmla="*/ 127704 h 3351243"/>
                  <a:gd name="connsiteX1694" fmla="*/ 2934636 w 4378607"/>
                  <a:gd name="connsiteY1694" fmla="*/ 134261 h 3351243"/>
                  <a:gd name="connsiteX1695" fmla="*/ 2951089 w 4378607"/>
                  <a:gd name="connsiteY1695" fmla="*/ 122458 h 3351243"/>
                  <a:gd name="connsiteX1696" fmla="*/ 2948861 w 4378607"/>
                  <a:gd name="connsiteY1696" fmla="*/ 115737 h 3351243"/>
                  <a:gd name="connsiteX1697" fmla="*/ 3509853 w 4378607"/>
                  <a:gd name="connsiteY1697" fmla="*/ 115494 h 3351243"/>
                  <a:gd name="connsiteX1698" fmla="*/ 3522877 w 4378607"/>
                  <a:gd name="connsiteY1698" fmla="*/ 119628 h 3351243"/>
                  <a:gd name="connsiteX1699" fmla="*/ 3500941 w 4378607"/>
                  <a:gd name="connsiteY1699" fmla="*/ 122273 h 3351243"/>
                  <a:gd name="connsiteX1700" fmla="*/ 3509853 w 4378607"/>
                  <a:gd name="connsiteY1700" fmla="*/ 115494 h 3351243"/>
                  <a:gd name="connsiteX1701" fmla="*/ 3581331 w 4378607"/>
                  <a:gd name="connsiteY1701" fmla="*/ 111045 h 3351243"/>
                  <a:gd name="connsiteX1702" fmla="*/ 3593606 w 4378607"/>
                  <a:gd name="connsiteY1702" fmla="*/ 130256 h 3351243"/>
                  <a:gd name="connsiteX1703" fmla="*/ 3600426 w 4378607"/>
                  <a:gd name="connsiteY1703" fmla="*/ 139862 h 3351243"/>
                  <a:gd name="connsiteX1704" fmla="*/ 3596334 w 4378607"/>
                  <a:gd name="connsiteY1704" fmla="*/ 154957 h 3351243"/>
                  <a:gd name="connsiteX1705" fmla="*/ 3552689 w 4378607"/>
                  <a:gd name="connsiteY1705" fmla="*/ 171424 h 3351243"/>
                  <a:gd name="connsiteX1706" fmla="*/ 3533595 w 4378607"/>
                  <a:gd name="connsiteY1706" fmla="*/ 183774 h 3351243"/>
                  <a:gd name="connsiteX1707" fmla="*/ 3519956 w 4378607"/>
                  <a:gd name="connsiteY1707" fmla="*/ 172796 h 3351243"/>
                  <a:gd name="connsiteX1708" fmla="*/ 3530867 w 4378607"/>
                  <a:gd name="connsiteY1708" fmla="*/ 165935 h 3351243"/>
                  <a:gd name="connsiteX1709" fmla="*/ 3534959 w 4378607"/>
                  <a:gd name="connsiteY1709" fmla="*/ 159074 h 3351243"/>
                  <a:gd name="connsiteX1710" fmla="*/ 3533595 w 4378607"/>
                  <a:gd name="connsiteY1710" fmla="*/ 146723 h 3351243"/>
                  <a:gd name="connsiteX1711" fmla="*/ 3541778 w 4378607"/>
                  <a:gd name="connsiteY1711" fmla="*/ 133001 h 3351243"/>
                  <a:gd name="connsiteX1712" fmla="*/ 3559509 w 4378607"/>
                  <a:gd name="connsiteY1712" fmla="*/ 120651 h 3351243"/>
                  <a:gd name="connsiteX1713" fmla="*/ 3581331 w 4378607"/>
                  <a:gd name="connsiteY1713" fmla="*/ 111045 h 3351243"/>
                  <a:gd name="connsiteX1714" fmla="*/ 574564 w 4378607"/>
                  <a:gd name="connsiteY1714" fmla="*/ 103638 h 3351243"/>
                  <a:gd name="connsiteX1715" fmla="*/ 599518 w 4378607"/>
                  <a:gd name="connsiteY1715" fmla="*/ 113388 h 3351243"/>
                  <a:gd name="connsiteX1716" fmla="*/ 648742 w 4378607"/>
                  <a:gd name="connsiteY1716" fmla="*/ 146233 h 3351243"/>
                  <a:gd name="connsiteX1717" fmla="*/ 663782 w 4378607"/>
                  <a:gd name="connsiteY1717" fmla="*/ 155813 h 3351243"/>
                  <a:gd name="connsiteX1718" fmla="*/ 674721 w 4378607"/>
                  <a:gd name="connsiteY1718" fmla="*/ 158550 h 3351243"/>
                  <a:gd name="connsiteX1719" fmla="*/ 682925 w 4378607"/>
                  <a:gd name="connsiteY1719" fmla="*/ 176341 h 3351243"/>
                  <a:gd name="connsiteX1720" fmla="*/ 697966 w 4378607"/>
                  <a:gd name="connsiteY1720" fmla="*/ 188658 h 3351243"/>
                  <a:gd name="connsiteX1721" fmla="*/ 713006 w 4378607"/>
                  <a:gd name="connsiteY1721" fmla="*/ 196869 h 3351243"/>
                  <a:gd name="connsiteX1722" fmla="*/ 687027 w 4378607"/>
                  <a:gd name="connsiteY1722" fmla="*/ 207817 h 3351243"/>
                  <a:gd name="connsiteX1723" fmla="*/ 670619 w 4378607"/>
                  <a:gd name="connsiteY1723" fmla="*/ 224240 h 3351243"/>
                  <a:gd name="connsiteX1724" fmla="*/ 654211 w 4378607"/>
                  <a:gd name="connsiteY1724" fmla="*/ 244768 h 3351243"/>
                  <a:gd name="connsiteX1725" fmla="*/ 632334 w 4378607"/>
                  <a:gd name="connsiteY1725" fmla="*/ 246136 h 3351243"/>
                  <a:gd name="connsiteX1726" fmla="*/ 594048 w 4378607"/>
                  <a:gd name="connsiteY1726" fmla="*/ 233819 h 3351243"/>
                  <a:gd name="connsiteX1727" fmla="*/ 572171 w 4378607"/>
                  <a:gd name="connsiteY1727" fmla="*/ 213291 h 3351243"/>
                  <a:gd name="connsiteX1728" fmla="*/ 600885 w 4378607"/>
                  <a:gd name="connsiteY1728" fmla="*/ 196869 h 3351243"/>
                  <a:gd name="connsiteX1729" fmla="*/ 554395 w 4378607"/>
                  <a:gd name="connsiteY1729" fmla="*/ 195500 h 3351243"/>
                  <a:gd name="connsiteX1730" fmla="*/ 537987 w 4378607"/>
                  <a:gd name="connsiteY1730" fmla="*/ 174972 h 3351243"/>
                  <a:gd name="connsiteX1731" fmla="*/ 544824 w 4378607"/>
                  <a:gd name="connsiteY1731" fmla="*/ 165393 h 3351243"/>
                  <a:gd name="connsiteX1732" fmla="*/ 553028 w 4378607"/>
                  <a:gd name="connsiteY1732" fmla="*/ 155813 h 3351243"/>
                  <a:gd name="connsiteX1733" fmla="*/ 550293 w 4378607"/>
                  <a:gd name="connsiteY1733" fmla="*/ 135285 h 3351243"/>
                  <a:gd name="connsiteX1734" fmla="*/ 562599 w 4378607"/>
                  <a:gd name="connsiteY1734" fmla="*/ 125705 h 3351243"/>
                  <a:gd name="connsiteX1735" fmla="*/ 573538 w 4378607"/>
                  <a:gd name="connsiteY1735" fmla="*/ 118862 h 3351243"/>
                  <a:gd name="connsiteX1736" fmla="*/ 572171 w 4378607"/>
                  <a:gd name="connsiteY1736" fmla="*/ 109283 h 3351243"/>
                  <a:gd name="connsiteX1737" fmla="*/ 574564 w 4378607"/>
                  <a:gd name="connsiteY1737" fmla="*/ 103638 h 3351243"/>
                  <a:gd name="connsiteX1738" fmla="*/ 2994594 w 4378607"/>
                  <a:gd name="connsiteY1738" fmla="*/ 101509 h 3351243"/>
                  <a:gd name="connsiteX1739" fmla="*/ 3010509 w 4378607"/>
                  <a:gd name="connsiteY1739" fmla="*/ 104363 h 3351243"/>
                  <a:gd name="connsiteX1740" fmla="*/ 2996670 w 4378607"/>
                  <a:gd name="connsiteY1740" fmla="*/ 109736 h 3351243"/>
                  <a:gd name="connsiteX1741" fmla="*/ 2981446 w 4378607"/>
                  <a:gd name="connsiteY1741" fmla="*/ 116453 h 3351243"/>
                  <a:gd name="connsiteX1742" fmla="*/ 2960686 w 4378607"/>
                  <a:gd name="connsiteY1742" fmla="*/ 109736 h 3351243"/>
                  <a:gd name="connsiteX1743" fmla="*/ 2982830 w 4378607"/>
                  <a:gd name="connsiteY1743" fmla="*/ 105706 h 3351243"/>
                  <a:gd name="connsiteX1744" fmla="*/ 2994594 w 4378607"/>
                  <a:gd name="connsiteY1744" fmla="*/ 101509 h 3351243"/>
                  <a:gd name="connsiteX1745" fmla="*/ 952032 w 4378607"/>
                  <a:gd name="connsiteY1745" fmla="*/ 20598 h 3351243"/>
                  <a:gd name="connsiteX1746" fmla="*/ 959406 w 4378607"/>
                  <a:gd name="connsiteY1746" fmla="*/ 21712 h 3351243"/>
                  <a:gd name="connsiteX1747" fmla="*/ 1014124 w 4378607"/>
                  <a:gd name="connsiteY1747" fmla="*/ 29942 h 3351243"/>
                  <a:gd name="connsiteX1748" fmla="*/ 1007284 w 4378607"/>
                  <a:gd name="connsiteY1748" fmla="*/ 40915 h 3351243"/>
                  <a:gd name="connsiteX1749" fmla="*/ 1044219 w 4378607"/>
                  <a:gd name="connsiteY1749" fmla="*/ 35429 h 3351243"/>
                  <a:gd name="connsiteX1750" fmla="*/ 1062002 w 4378607"/>
                  <a:gd name="connsiteY1750" fmla="*/ 40915 h 3351243"/>
                  <a:gd name="connsiteX1751" fmla="*/ 1086626 w 4378607"/>
                  <a:gd name="connsiteY1751" fmla="*/ 53260 h 3351243"/>
                  <a:gd name="connsiteX1752" fmla="*/ 1082522 w 4378607"/>
                  <a:gd name="connsiteY1752" fmla="*/ 71092 h 3351243"/>
                  <a:gd name="connsiteX1753" fmla="*/ 1033275 w 4378607"/>
                  <a:gd name="connsiteY1753" fmla="*/ 88923 h 3351243"/>
                  <a:gd name="connsiteX1754" fmla="*/ 996341 w 4378607"/>
                  <a:gd name="connsiteY1754" fmla="*/ 98525 h 3351243"/>
                  <a:gd name="connsiteX1755" fmla="*/ 1044219 w 4378607"/>
                  <a:gd name="connsiteY1755" fmla="*/ 101268 h 3351243"/>
                  <a:gd name="connsiteX1756" fmla="*/ 990869 w 4378607"/>
                  <a:gd name="connsiteY1756" fmla="*/ 128701 h 3351243"/>
                  <a:gd name="connsiteX1757" fmla="*/ 941623 w 4378607"/>
                  <a:gd name="connsiteY1757" fmla="*/ 160250 h 3351243"/>
                  <a:gd name="connsiteX1758" fmla="*/ 927943 w 4378607"/>
                  <a:gd name="connsiteY1758" fmla="*/ 176709 h 3351243"/>
                  <a:gd name="connsiteX1759" fmla="*/ 896480 w 4378607"/>
                  <a:gd name="connsiteY1759" fmla="*/ 173966 h 3351243"/>
                  <a:gd name="connsiteX1760" fmla="*/ 877329 w 4378607"/>
                  <a:gd name="connsiteY1760" fmla="*/ 191798 h 3351243"/>
                  <a:gd name="connsiteX1761" fmla="*/ 841762 w 4378607"/>
                  <a:gd name="connsiteY1761" fmla="*/ 202771 h 3351243"/>
                  <a:gd name="connsiteX1762" fmla="*/ 884169 w 4378607"/>
                  <a:gd name="connsiteY1762" fmla="*/ 213744 h 3351243"/>
                  <a:gd name="connsiteX1763" fmla="*/ 852706 w 4378607"/>
                  <a:gd name="connsiteY1763" fmla="*/ 252151 h 3351243"/>
                  <a:gd name="connsiteX1764" fmla="*/ 822611 w 4378607"/>
                  <a:gd name="connsiteY1764" fmla="*/ 254894 h 3351243"/>
                  <a:gd name="connsiteX1765" fmla="*/ 819875 w 4378607"/>
                  <a:gd name="connsiteY1765" fmla="*/ 274097 h 3351243"/>
                  <a:gd name="connsiteX1766" fmla="*/ 778836 w 4378607"/>
                  <a:gd name="connsiteY1766" fmla="*/ 275469 h 3351243"/>
                  <a:gd name="connsiteX1767" fmla="*/ 777468 w 4378607"/>
                  <a:gd name="connsiteY1767" fmla="*/ 286442 h 3351243"/>
                  <a:gd name="connsiteX1768" fmla="*/ 810299 w 4378607"/>
                  <a:gd name="connsiteY1768" fmla="*/ 294672 h 3351243"/>
                  <a:gd name="connsiteX1769" fmla="*/ 829451 w 4378607"/>
                  <a:gd name="connsiteY1769" fmla="*/ 294672 h 3351243"/>
                  <a:gd name="connsiteX1770" fmla="*/ 822611 w 4378607"/>
                  <a:gd name="connsiteY1770" fmla="*/ 311132 h 3351243"/>
                  <a:gd name="connsiteX1771" fmla="*/ 804827 w 4378607"/>
                  <a:gd name="connsiteY1771" fmla="*/ 317990 h 3351243"/>
                  <a:gd name="connsiteX1772" fmla="*/ 780204 w 4378607"/>
                  <a:gd name="connsiteY1772" fmla="*/ 320734 h 3351243"/>
                  <a:gd name="connsiteX1773" fmla="*/ 755581 w 4378607"/>
                  <a:gd name="connsiteY1773" fmla="*/ 311132 h 3351243"/>
                  <a:gd name="connsiteX1774" fmla="*/ 724118 w 4378607"/>
                  <a:gd name="connsiteY1774" fmla="*/ 315247 h 3351243"/>
                  <a:gd name="connsiteX1775" fmla="*/ 695391 w 4378607"/>
                  <a:gd name="connsiteY1775" fmla="*/ 313875 h 3351243"/>
                  <a:gd name="connsiteX1776" fmla="*/ 643409 w 4378607"/>
                  <a:gd name="connsiteY1776" fmla="*/ 307017 h 3351243"/>
                  <a:gd name="connsiteX1777" fmla="*/ 676240 w 4378607"/>
                  <a:gd name="connsiteY1777" fmla="*/ 287814 h 3351243"/>
                  <a:gd name="connsiteX1778" fmla="*/ 676240 w 4378607"/>
                  <a:gd name="connsiteY1778" fmla="*/ 275469 h 3351243"/>
                  <a:gd name="connsiteX1779" fmla="*/ 678976 w 4378607"/>
                  <a:gd name="connsiteY1779" fmla="*/ 257637 h 3351243"/>
                  <a:gd name="connsiteX1780" fmla="*/ 706335 w 4378607"/>
                  <a:gd name="connsiteY1780" fmla="*/ 274097 h 3351243"/>
                  <a:gd name="connsiteX1781" fmla="*/ 726854 w 4378607"/>
                  <a:gd name="connsiteY1781" fmla="*/ 276841 h 3351243"/>
                  <a:gd name="connsiteX1782" fmla="*/ 709071 w 4378607"/>
                  <a:gd name="connsiteY1782" fmla="*/ 250779 h 3351243"/>
                  <a:gd name="connsiteX1783" fmla="*/ 713175 w 4378607"/>
                  <a:gd name="connsiteY1783" fmla="*/ 239806 h 3351243"/>
                  <a:gd name="connsiteX1784" fmla="*/ 674872 w 4378607"/>
                  <a:gd name="connsiteY1784" fmla="*/ 238434 h 3351243"/>
                  <a:gd name="connsiteX1785" fmla="*/ 715911 w 4378607"/>
                  <a:gd name="connsiteY1785" fmla="*/ 216488 h 3351243"/>
                  <a:gd name="connsiteX1786" fmla="*/ 758317 w 4378607"/>
                  <a:gd name="connsiteY1786" fmla="*/ 226089 h 3351243"/>
                  <a:gd name="connsiteX1787" fmla="*/ 726854 w 4378607"/>
                  <a:gd name="connsiteY1787" fmla="*/ 204143 h 3351243"/>
                  <a:gd name="connsiteX1788" fmla="*/ 698127 w 4378607"/>
                  <a:gd name="connsiteY1788" fmla="*/ 180824 h 3351243"/>
                  <a:gd name="connsiteX1789" fmla="*/ 696759 w 4378607"/>
                  <a:gd name="connsiteY1789" fmla="*/ 150648 h 3351243"/>
                  <a:gd name="connsiteX1790" fmla="*/ 747373 w 4378607"/>
                  <a:gd name="connsiteY1790" fmla="*/ 164365 h 3351243"/>
                  <a:gd name="connsiteX1791" fmla="*/ 773365 w 4378607"/>
                  <a:gd name="connsiteY1791" fmla="*/ 173966 h 3351243"/>
                  <a:gd name="connsiteX1792" fmla="*/ 754213 w 4378607"/>
                  <a:gd name="connsiteY1792" fmla="*/ 147905 h 3351243"/>
                  <a:gd name="connsiteX1793" fmla="*/ 806195 w 4378607"/>
                  <a:gd name="connsiteY1793" fmla="*/ 134188 h 3351243"/>
                  <a:gd name="connsiteX1794" fmla="*/ 806195 w 4378607"/>
                  <a:gd name="connsiteY1794" fmla="*/ 119100 h 3351243"/>
                  <a:gd name="connsiteX1795" fmla="*/ 755581 w 4378607"/>
                  <a:gd name="connsiteY1795" fmla="*/ 138303 h 3351243"/>
                  <a:gd name="connsiteX1796" fmla="*/ 739166 w 4378607"/>
                  <a:gd name="connsiteY1796" fmla="*/ 141046 h 3351243"/>
                  <a:gd name="connsiteX1797" fmla="*/ 694023 w 4378607"/>
                  <a:gd name="connsiteY1797" fmla="*/ 136931 h 3351243"/>
                  <a:gd name="connsiteX1798" fmla="*/ 688552 w 4378607"/>
                  <a:gd name="connsiteY1798" fmla="*/ 127330 h 3351243"/>
                  <a:gd name="connsiteX1799" fmla="*/ 648881 w 4378607"/>
                  <a:gd name="connsiteY1799" fmla="*/ 125958 h 3351243"/>
                  <a:gd name="connsiteX1800" fmla="*/ 633833 w 4378607"/>
                  <a:gd name="connsiteY1800" fmla="*/ 113613 h 3351243"/>
                  <a:gd name="connsiteX1801" fmla="*/ 639305 w 4378607"/>
                  <a:gd name="connsiteY1801" fmla="*/ 101268 h 3351243"/>
                  <a:gd name="connsiteX1802" fmla="*/ 632466 w 4378607"/>
                  <a:gd name="connsiteY1802" fmla="*/ 93038 h 3351243"/>
                  <a:gd name="connsiteX1803" fmla="*/ 622890 w 4378607"/>
                  <a:gd name="connsiteY1803" fmla="*/ 90295 h 3351243"/>
                  <a:gd name="connsiteX1804" fmla="*/ 611946 w 4378607"/>
                  <a:gd name="connsiteY1804" fmla="*/ 86180 h 3351243"/>
                  <a:gd name="connsiteX1805" fmla="*/ 644777 w 4378607"/>
                  <a:gd name="connsiteY1805" fmla="*/ 83437 h 3351243"/>
                  <a:gd name="connsiteX1806" fmla="*/ 658457 w 4378607"/>
                  <a:gd name="connsiteY1806" fmla="*/ 71092 h 3351243"/>
                  <a:gd name="connsiteX1807" fmla="*/ 683080 w 4378607"/>
                  <a:gd name="connsiteY1807" fmla="*/ 75207 h 3351243"/>
                  <a:gd name="connsiteX1808" fmla="*/ 692655 w 4378607"/>
                  <a:gd name="connsiteY1808" fmla="*/ 66977 h 3351243"/>
                  <a:gd name="connsiteX1809" fmla="*/ 709071 w 4378607"/>
                  <a:gd name="connsiteY1809" fmla="*/ 56004 h 3351243"/>
                  <a:gd name="connsiteX1810" fmla="*/ 736430 w 4378607"/>
                  <a:gd name="connsiteY1810" fmla="*/ 58747 h 3351243"/>
                  <a:gd name="connsiteX1811" fmla="*/ 754213 w 4378607"/>
                  <a:gd name="connsiteY1811" fmla="*/ 53260 h 3351243"/>
                  <a:gd name="connsiteX1812" fmla="*/ 780204 w 4378607"/>
                  <a:gd name="connsiteY1812" fmla="*/ 46402 h 3351243"/>
                  <a:gd name="connsiteX1813" fmla="*/ 791148 w 4378607"/>
                  <a:gd name="connsiteY1813" fmla="*/ 36800 h 3351243"/>
                  <a:gd name="connsiteX1814" fmla="*/ 799356 w 4378607"/>
                  <a:gd name="connsiteY1814" fmla="*/ 31314 h 3351243"/>
                  <a:gd name="connsiteX1815" fmla="*/ 828083 w 4378607"/>
                  <a:gd name="connsiteY1815" fmla="*/ 34057 h 3351243"/>
                  <a:gd name="connsiteX1816" fmla="*/ 852706 w 4378607"/>
                  <a:gd name="connsiteY1816" fmla="*/ 27199 h 3351243"/>
                  <a:gd name="connsiteX1817" fmla="*/ 891008 w 4378607"/>
                  <a:gd name="connsiteY1817" fmla="*/ 29942 h 3351243"/>
                  <a:gd name="connsiteX1818" fmla="*/ 903320 w 4378607"/>
                  <a:gd name="connsiteY1818" fmla="*/ 29942 h 3351243"/>
                  <a:gd name="connsiteX1819" fmla="*/ 912896 w 4378607"/>
                  <a:gd name="connsiteY1819" fmla="*/ 21026 h 3351243"/>
                  <a:gd name="connsiteX1820" fmla="*/ 930679 w 4378607"/>
                  <a:gd name="connsiteY1820" fmla="*/ 24455 h 3351243"/>
                  <a:gd name="connsiteX1821" fmla="*/ 952032 w 4378607"/>
                  <a:gd name="connsiteY1821" fmla="*/ 20598 h 3351243"/>
                  <a:gd name="connsiteX1822" fmla="*/ 1567673 w 4378607"/>
                  <a:gd name="connsiteY1822" fmla="*/ 349 h 3351243"/>
                  <a:gd name="connsiteX1823" fmla="*/ 1616993 w 4378607"/>
                  <a:gd name="connsiteY1823" fmla="*/ 7197 h 3351243"/>
                  <a:gd name="connsiteX1824" fmla="*/ 1660833 w 4378607"/>
                  <a:gd name="connsiteY1824" fmla="*/ 14045 h 3351243"/>
                  <a:gd name="connsiteX1825" fmla="*/ 1680013 w 4378607"/>
                  <a:gd name="connsiteY1825" fmla="*/ 27742 h 3351243"/>
                  <a:gd name="connsiteX1826" fmla="*/ 1701933 w 4378607"/>
                  <a:gd name="connsiteY1826" fmla="*/ 35960 h 3351243"/>
                  <a:gd name="connsiteX1827" fmla="*/ 1730703 w 4378607"/>
                  <a:gd name="connsiteY1827" fmla="*/ 49656 h 3351243"/>
                  <a:gd name="connsiteX1828" fmla="*/ 1686863 w 4378607"/>
                  <a:gd name="connsiteY1828" fmla="*/ 63353 h 3351243"/>
                  <a:gd name="connsiteX1829" fmla="*/ 1612883 w 4378607"/>
                  <a:gd name="connsiteY1829" fmla="*/ 70201 h 3351243"/>
                  <a:gd name="connsiteX1830" fmla="*/ 1551233 w 4378607"/>
                  <a:gd name="connsiteY1830" fmla="*/ 89376 h 3351243"/>
                  <a:gd name="connsiteX1831" fmla="*/ 1606033 w 4378607"/>
                  <a:gd name="connsiteY1831" fmla="*/ 78419 h 3351243"/>
                  <a:gd name="connsiteX1832" fmla="*/ 1670423 w 4378607"/>
                  <a:gd name="connsiteY1832" fmla="*/ 81158 h 3351243"/>
                  <a:gd name="connsiteX1833" fmla="*/ 1637543 w 4378607"/>
                  <a:gd name="connsiteY1833" fmla="*/ 105812 h 3351243"/>
                  <a:gd name="connsiteX1834" fmla="*/ 1688233 w 4378607"/>
                  <a:gd name="connsiteY1834" fmla="*/ 86637 h 3351243"/>
                  <a:gd name="connsiteX1835" fmla="*/ 1708783 w 4378607"/>
                  <a:gd name="connsiteY1835" fmla="*/ 71571 h 3351243"/>
                  <a:gd name="connsiteX1836" fmla="*/ 1718373 w 4378607"/>
                  <a:gd name="connsiteY1836" fmla="*/ 98964 h 3351243"/>
                  <a:gd name="connsiteX1837" fmla="*/ 1692343 w 4378607"/>
                  <a:gd name="connsiteY1837" fmla="*/ 138684 h 3351243"/>
                  <a:gd name="connsiteX1838" fmla="*/ 1718373 w 4378607"/>
                  <a:gd name="connsiteY1838" fmla="*/ 118139 h 3351243"/>
                  <a:gd name="connsiteX1839" fmla="*/ 1749884 w 4378607"/>
                  <a:gd name="connsiteY1839" fmla="*/ 93485 h 3351243"/>
                  <a:gd name="connsiteX1840" fmla="*/ 1763584 w 4378607"/>
                  <a:gd name="connsiteY1840" fmla="*/ 98964 h 3351243"/>
                  <a:gd name="connsiteX1841" fmla="*/ 1796464 w 4378607"/>
                  <a:gd name="connsiteY1841" fmla="*/ 97594 h 3351243"/>
                  <a:gd name="connsiteX1842" fmla="*/ 1827974 w 4378607"/>
                  <a:gd name="connsiteY1842" fmla="*/ 78419 h 3351243"/>
                  <a:gd name="connsiteX1843" fmla="*/ 1882774 w 4378607"/>
                  <a:gd name="connsiteY1843" fmla="*/ 97594 h 3351243"/>
                  <a:gd name="connsiteX1844" fmla="*/ 1847154 w 4378607"/>
                  <a:gd name="connsiteY1844" fmla="*/ 116769 h 3351243"/>
                  <a:gd name="connsiteX1845" fmla="*/ 1826604 w 4378607"/>
                  <a:gd name="connsiteY1845" fmla="*/ 127727 h 3351243"/>
                  <a:gd name="connsiteX1846" fmla="*/ 1792354 w 4378607"/>
                  <a:gd name="connsiteY1846" fmla="*/ 135945 h 3351243"/>
                  <a:gd name="connsiteX1847" fmla="*/ 1784134 w 4378607"/>
                  <a:gd name="connsiteY1847" fmla="*/ 142793 h 3351243"/>
                  <a:gd name="connsiteX1848" fmla="*/ 1814274 w 4378607"/>
                  <a:gd name="connsiteY1848" fmla="*/ 151011 h 3351243"/>
                  <a:gd name="connsiteX1849" fmla="*/ 1773174 w 4378607"/>
                  <a:gd name="connsiteY1849" fmla="*/ 157859 h 3351243"/>
                  <a:gd name="connsiteX1850" fmla="*/ 1752624 w 4378607"/>
                  <a:gd name="connsiteY1850" fmla="*/ 172925 h 3351243"/>
                  <a:gd name="connsiteX1851" fmla="*/ 1778654 w 4378607"/>
                  <a:gd name="connsiteY1851" fmla="*/ 163338 h 3351243"/>
                  <a:gd name="connsiteX1852" fmla="*/ 1789614 w 4378607"/>
                  <a:gd name="connsiteY1852" fmla="*/ 178404 h 3351243"/>
                  <a:gd name="connsiteX1853" fmla="*/ 1763584 w 4378607"/>
                  <a:gd name="connsiteY1853" fmla="*/ 197579 h 3351243"/>
                  <a:gd name="connsiteX1854" fmla="*/ 1734813 w 4378607"/>
                  <a:gd name="connsiteY1854" fmla="*/ 223603 h 3351243"/>
                  <a:gd name="connsiteX1855" fmla="*/ 1725223 w 4378607"/>
                  <a:gd name="connsiteY1855" fmla="*/ 259214 h 3351243"/>
                  <a:gd name="connsiteX1856" fmla="*/ 1737553 w 4378607"/>
                  <a:gd name="connsiteY1856" fmla="*/ 257844 h 3351243"/>
                  <a:gd name="connsiteX1857" fmla="*/ 1769064 w 4378607"/>
                  <a:gd name="connsiteY1857" fmla="*/ 266062 h 3351243"/>
                  <a:gd name="connsiteX1858" fmla="*/ 1748514 w 4378607"/>
                  <a:gd name="connsiteY1858" fmla="*/ 271541 h 3351243"/>
                  <a:gd name="connsiteX1859" fmla="*/ 1774544 w 4378607"/>
                  <a:gd name="connsiteY1859" fmla="*/ 278389 h 3351243"/>
                  <a:gd name="connsiteX1860" fmla="*/ 1784134 w 4378607"/>
                  <a:gd name="connsiteY1860" fmla="*/ 298934 h 3351243"/>
                  <a:gd name="connsiteX1861" fmla="*/ 1741663 w 4378607"/>
                  <a:gd name="connsiteY1861" fmla="*/ 298934 h 3351243"/>
                  <a:gd name="connsiteX1862" fmla="*/ 1719743 w 4378607"/>
                  <a:gd name="connsiteY1862" fmla="*/ 301673 h 3351243"/>
                  <a:gd name="connsiteX1863" fmla="*/ 1730703 w 4378607"/>
                  <a:gd name="connsiteY1863" fmla="*/ 316739 h 3351243"/>
                  <a:gd name="connsiteX1864" fmla="*/ 1759474 w 4378607"/>
                  <a:gd name="connsiteY1864" fmla="*/ 324957 h 3351243"/>
                  <a:gd name="connsiteX1865" fmla="*/ 1766324 w 4378607"/>
                  <a:gd name="connsiteY1865" fmla="*/ 359199 h 3351243"/>
                  <a:gd name="connsiteX1866" fmla="*/ 1738923 w 4378607"/>
                  <a:gd name="connsiteY1866" fmla="*/ 364677 h 3351243"/>
                  <a:gd name="connsiteX1867" fmla="*/ 1767694 w 4378607"/>
                  <a:gd name="connsiteY1867" fmla="*/ 386592 h 3351243"/>
                  <a:gd name="connsiteX1868" fmla="*/ 1763584 w 4378607"/>
                  <a:gd name="connsiteY1868" fmla="*/ 398919 h 3351243"/>
                  <a:gd name="connsiteX1869" fmla="*/ 1727963 w 4378607"/>
                  <a:gd name="connsiteY1869" fmla="*/ 403028 h 3351243"/>
                  <a:gd name="connsiteX1870" fmla="*/ 1749884 w 4378607"/>
                  <a:gd name="connsiteY1870" fmla="*/ 426312 h 3351243"/>
                  <a:gd name="connsiteX1871" fmla="*/ 1722483 w 4378607"/>
                  <a:gd name="connsiteY1871" fmla="*/ 434530 h 3351243"/>
                  <a:gd name="connsiteX1872" fmla="*/ 1688233 w 4378607"/>
                  <a:gd name="connsiteY1872" fmla="*/ 422203 h 3351243"/>
                  <a:gd name="connsiteX1873" fmla="*/ 1681383 w 4378607"/>
                  <a:gd name="connsiteY1873" fmla="*/ 438639 h 3351243"/>
                  <a:gd name="connsiteX1874" fmla="*/ 1688233 w 4378607"/>
                  <a:gd name="connsiteY1874" fmla="*/ 450966 h 3351243"/>
                  <a:gd name="connsiteX1875" fmla="*/ 1726593 w 4378607"/>
                  <a:gd name="connsiteY1875" fmla="*/ 450966 h 3351243"/>
                  <a:gd name="connsiteX1876" fmla="*/ 1711523 w 4378607"/>
                  <a:gd name="connsiteY1876" fmla="*/ 470141 h 3351243"/>
                  <a:gd name="connsiteX1877" fmla="*/ 1688233 w 4378607"/>
                  <a:gd name="connsiteY1877" fmla="*/ 467402 h 3351243"/>
                  <a:gd name="connsiteX1878" fmla="*/ 1729333 w 4378607"/>
                  <a:gd name="connsiteY1878" fmla="*/ 511231 h 3351243"/>
                  <a:gd name="connsiteX1879" fmla="*/ 1723853 w 4378607"/>
                  <a:gd name="connsiteY1879" fmla="*/ 535885 h 3351243"/>
                  <a:gd name="connsiteX1880" fmla="*/ 1689603 w 4378607"/>
                  <a:gd name="connsiteY1880" fmla="*/ 522188 h 3351243"/>
                  <a:gd name="connsiteX1881" fmla="*/ 1666313 w 4378607"/>
                  <a:gd name="connsiteY1881" fmla="*/ 513970 h 3351243"/>
                  <a:gd name="connsiteX1882" fmla="*/ 1663573 w 4378607"/>
                  <a:gd name="connsiteY1882" fmla="*/ 531776 h 3351243"/>
                  <a:gd name="connsiteX1883" fmla="*/ 1659463 w 4378607"/>
                  <a:gd name="connsiteY1883" fmla="*/ 544103 h 3351243"/>
                  <a:gd name="connsiteX1884" fmla="*/ 1693713 w 4378607"/>
                  <a:gd name="connsiteY1884" fmla="*/ 548212 h 3351243"/>
                  <a:gd name="connsiteX1885" fmla="*/ 1722483 w 4378607"/>
                  <a:gd name="connsiteY1885" fmla="*/ 546842 h 3351243"/>
                  <a:gd name="connsiteX1886" fmla="*/ 1715633 w 4378607"/>
                  <a:gd name="connsiteY1886" fmla="*/ 556430 h 3351243"/>
                  <a:gd name="connsiteX1887" fmla="*/ 1671793 w 4378607"/>
                  <a:gd name="connsiteY1887" fmla="*/ 585192 h 3351243"/>
                  <a:gd name="connsiteX1888" fmla="*/ 1614253 w 4378607"/>
                  <a:gd name="connsiteY1888" fmla="*/ 602998 h 3351243"/>
                  <a:gd name="connsiteX1889" fmla="*/ 1590963 w 4378607"/>
                  <a:gd name="connsiteY1889" fmla="*/ 609846 h 3351243"/>
                  <a:gd name="connsiteX1890" fmla="*/ 1575893 w 4378607"/>
                  <a:gd name="connsiteY1890" fmla="*/ 613955 h 3351243"/>
                  <a:gd name="connsiteX1891" fmla="*/ 1560823 w 4378607"/>
                  <a:gd name="connsiteY1891" fmla="*/ 620803 h 3351243"/>
                  <a:gd name="connsiteX1892" fmla="*/ 1541643 w 4378607"/>
                  <a:gd name="connsiteY1892" fmla="*/ 644088 h 3351243"/>
                  <a:gd name="connsiteX1893" fmla="*/ 1506023 w 4378607"/>
                  <a:gd name="connsiteY1893" fmla="*/ 681068 h 3351243"/>
                  <a:gd name="connsiteX1894" fmla="*/ 1475883 w 4378607"/>
                  <a:gd name="connsiteY1894" fmla="*/ 687917 h 3351243"/>
                  <a:gd name="connsiteX1895" fmla="*/ 1473143 w 4378607"/>
                  <a:gd name="connsiteY1895" fmla="*/ 678329 h 3351243"/>
                  <a:gd name="connsiteX1896" fmla="*/ 1464923 w 4378607"/>
                  <a:gd name="connsiteY1896" fmla="*/ 678329 h 3351243"/>
                  <a:gd name="connsiteX1897" fmla="*/ 1452593 w 4378607"/>
                  <a:gd name="connsiteY1897" fmla="*/ 694765 h 3351243"/>
                  <a:gd name="connsiteX1898" fmla="*/ 1437523 w 4378607"/>
                  <a:gd name="connsiteY1898" fmla="*/ 705722 h 3351243"/>
                  <a:gd name="connsiteX1899" fmla="*/ 1427933 w 4378607"/>
                  <a:gd name="connsiteY1899" fmla="*/ 711201 h 3351243"/>
                  <a:gd name="connsiteX1900" fmla="*/ 1426563 w 4378607"/>
                  <a:gd name="connsiteY1900" fmla="*/ 718049 h 3351243"/>
                  <a:gd name="connsiteX1901" fmla="*/ 1429303 w 4378607"/>
                  <a:gd name="connsiteY1901" fmla="*/ 733115 h 3351243"/>
                  <a:gd name="connsiteX1902" fmla="*/ 1422453 w 4378607"/>
                  <a:gd name="connsiteY1902" fmla="*/ 741333 h 3351243"/>
                  <a:gd name="connsiteX1903" fmla="*/ 1422453 w 4378607"/>
                  <a:gd name="connsiteY1903" fmla="*/ 755030 h 3351243"/>
                  <a:gd name="connsiteX1904" fmla="*/ 1415603 w 4378607"/>
                  <a:gd name="connsiteY1904" fmla="*/ 770096 h 3351243"/>
                  <a:gd name="connsiteX1905" fmla="*/ 1403273 w 4378607"/>
                  <a:gd name="connsiteY1905" fmla="*/ 782423 h 3351243"/>
                  <a:gd name="connsiteX1906" fmla="*/ 1396423 w 4378607"/>
                  <a:gd name="connsiteY1906" fmla="*/ 792011 h 3351243"/>
                  <a:gd name="connsiteX1907" fmla="*/ 1397793 w 4378607"/>
                  <a:gd name="connsiteY1907" fmla="*/ 822143 h 3351243"/>
                  <a:gd name="connsiteX1908" fmla="*/ 1389573 w 4378607"/>
                  <a:gd name="connsiteY1908" fmla="*/ 852276 h 3351243"/>
                  <a:gd name="connsiteX1909" fmla="*/ 1377243 w 4378607"/>
                  <a:gd name="connsiteY1909" fmla="*/ 865972 h 3351243"/>
                  <a:gd name="connsiteX1910" fmla="*/ 1349843 w 4378607"/>
                  <a:gd name="connsiteY1910" fmla="*/ 853645 h 3351243"/>
                  <a:gd name="connsiteX1911" fmla="*/ 1330663 w 4378607"/>
                  <a:gd name="connsiteY1911" fmla="*/ 844058 h 3351243"/>
                  <a:gd name="connsiteX1912" fmla="*/ 1315593 w 4378607"/>
                  <a:gd name="connsiteY1912" fmla="*/ 838579 h 3351243"/>
                  <a:gd name="connsiteX1913" fmla="*/ 1297783 w 4378607"/>
                  <a:gd name="connsiteY1913" fmla="*/ 823513 h 3351243"/>
                  <a:gd name="connsiteX1914" fmla="*/ 1279973 w 4378607"/>
                  <a:gd name="connsiteY1914" fmla="*/ 801598 h 3351243"/>
                  <a:gd name="connsiteX1915" fmla="*/ 1273123 w 4378607"/>
                  <a:gd name="connsiteY1915" fmla="*/ 778314 h 3351243"/>
                  <a:gd name="connsiteX1916" fmla="*/ 1260792 w 4378607"/>
                  <a:gd name="connsiteY1916" fmla="*/ 761878 h 3351243"/>
                  <a:gd name="connsiteX1917" fmla="*/ 1252572 w 4378607"/>
                  <a:gd name="connsiteY1917" fmla="*/ 742703 h 3351243"/>
                  <a:gd name="connsiteX1918" fmla="*/ 1242982 w 4378607"/>
                  <a:gd name="connsiteY1918" fmla="*/ 733115 h 3351243"/>
                  <a:gd name="connsiteX1919" fmla="*/ 1240242 w 4378607"/>
                  <a:gd name="connsiteY1919" fmla="*/ 700244 h 3351243"/>
                  <a:gd name="connsiteX1920" fmla="*/ 1218322 w 4378607"/>
                  <a:gd name="connsiteY1920" fmla="*/ 672850 h 3351243"/>
                  <a:gd name="connsiteX1921" fmla="*/ 1230652 w 4378607"/>
                  <a:gd name="connsiteY1921" fmla="*/ 656415 h 3351243"/>
                  <a:gd name="connsiteX1922" fmla="*/ 1215582 w 4378607"/>
                  <a:gd name="connsiteY1922" fmla="*/ 639979 h 3351243"/>
                  <a:gd name="connsiteX1923" fmla="*/ 1227912 w 4378607"/>
                  <a:gd name="connsiteY1923" fmla="*/ 612586 h 3351243"/>
                  <a:gd name="connsiteX1924" fmla="*/ 1241612 w 4378607"/>
                  <a:gd name="connsiteY1924" fmla="*/ 598889 h 3351243"/>
                  <a:gd name="connsiteX1925" fmla="*/ 1260792 w 4378607"/>
                  <a:gd name="connsiteY1925" fmla="*/ 597519 h 3351243"/>
                  <a:gd name="connsiteX1926" fmla="*/ 1264902 w 4378607"/>
                  <a:gd name="connsiteY1926" fmla="*/ 571496 h 3351243"/>
                  <a:gd name="connsiteX1927" fmla="*/ 1249832 w 4378607"/>
                  <a:gd name="connsiteY1927" fmla="*/ 550951 h 3351243"/>
                  <a:gd name="connsiteX1928" fmla="*/ 1207362 w 4378607"/>
                  <a:gd name="connsiteY1928" fmla="*/ 527667 h 3351243"/>
                  <a:gd name="connsiteX1929" fmla="*/ 1249832 w 4378607"/>
                  <a:gd name="connsiteY1929" fmla="*/ 531776 h 3351243"/>
                  <a:gd name="connsiteX1930" fmla="*/ 1256682 w 4378607"/>
                  <a:gd name="connsiteY1930" fmla="*/ 523558 h 3351243"/>
                  <a:gd name="connsiteX1931" fmla="*/ 1226542 w 4378607"/>
                  <a:gd name="connsiteY1931" fmla="*/ 507122 h 3351243"/>
                  <a:gd name="connsiteX1932" fmla="*/ 1219692 w 4378607"/>
                  <a:gd name="connsiteY1932" fmla="*/ 487947 h 3351243"/>
                  <a:gd name="connsiteX1933" fmla="*/ 1196402 w 4378607"/>
                  <a:gd name="connsiteY1933" fmla="*/ 500274 h 3351243"/>
                  <a:gd name="connsiteX1934" fmla="*/ 1189552 w 4378607"/>
                  <a:gd name="connsiteY1934" fmla="*/ 474250 h 3351243"/>
                  <a:gd name="connsiteX1935" fmla="*/ 1196402 w 4378607"/>
                  <a:gd name="connsiteY1935" fmla="*/ 450966 h 3351243"/>
                  <a:gd name="connsiteX1936" fmla="*/ 1189552 w 4378607"/>
                  <a:gd name="connsiteY1936" fmla="*/ 430421 h 3351243"/>
                  <a:gd name="connsiteX1937" fmla="*/ 1177222 w 4378607"/>
                  <a:gd name="connsiteY1937" fmla="*/ 409876 h 3351243"/>
                  <a:gd name="connsiteX1938" fmla="*/ 1163522 w 4378607"/>
                  <a:gd name="connsiteY1938" fmla="*/ 379744 h 3351243"/>
                  <a:gd name="connsiteX1939" fmla="*/ 1141602 w 4378607"/>
                  <a:gd name="connsiteY1939" fmla="*/ 353720 h 3351243"/>
                  <a:gd name="connsiteX1940" fmla="*/ 1115572 w 4378607"/>
                  <a:gd name="connsiteY1940" fmla="*/ 334545 h 3351243"/>
                  <a:gd name="connsiteX1941" fmla="*/ 1064882 w 4378607"/>
                  <a:gd name="connsiteY1941" fmla="*/ 318109 h 3351243"/>
                  <a:gd name="connsiteX1942" fmla="*/ 1045702 w 4378607"/>
                  <a:gd name="connsiteY1942" fmla="*/ 322218 h 3351243"/>
                  <a:gd name="connsiteX1943" fmla="*/ 1025152 w 4378607"/>
                  <a:gd name="connsiteY1943" fmla="*/ 327697 h 3351243"/>
                  <a:gd name="connsiteX1944" fmla="*/ 1008712 w 4378607"/>
                  <a:gd name="connsiteY1944" fmla="*/ 329066 h 3351243"/>
                  <a:gd name="connsiteX1945" fmla="*/ 982682 w 4378607"/>
                  <a:gd name="connsiteY1945" fmla="*/ 326327 h 3351243"/>
                  <a:gd name="connsiteX1946" fmla="*/ 963502 w 4378607"/>
                  <a:gd name="connsiteY1946" fmla="*/ 314000 h 3351243"/>
                  <a:gd name="connsiteX1947" fmla="*/ 963502 w 4378607"/>
                  <a:gd name="connsiteY1947" fmla="*/ 298934 h 3351243"/>
                  <a:gd name="connsiteX1948" fmla="*/ 934732 w 4378607"/>
                  <a:gd name="connsiteY1948" fmla="*/ 289346 h 3351243"/>
                  <a:gd name="connsiteX1949" fmla="*/ 974462 w 4378607"/>
                  <a:gd name="connsiteY1949" fmla="*/ 281128 h 3351243"/>
                  <a:gd name="connsiteX1950" fmla="*/ 1016932 w 4378607"/>
                  <a:gd name="connsiteY1950" fmla="*/ 277019 h 3351243"/>
                  <a:gd name="connsiteX1951" fmla="*/ 992272 w 4378607"/>
                  <a:gd name="connsiteY1951" fmla="*/ 266062 h 3351243"/>
                  <a:gd name="connsiteX1952" fmla="*/ 948432 w 4378607"/>
                  <a:gd name="connsiteY1952" fmla="*/ 261953 h 3351243"/>
                  <a:gd name="connsiteX1953" fmla="*/ 922402 w 4378607"/>
                  <a:gd name="connsiteY1953" fmla="*/ 252366 h 3351243"/>
                  <a:gd name="connsiteX1954" fmla="*/ 912812 w 4378607"/>
                  <a:gd name="connsiteY1954" fmla="*/ 238669 h 3351243"/>
                  <a:gd name="connsiteX1955" fmla="*/ 973092 w 4378607"/>
                  <a:gd name="connsiteY1955" fmla="*/ 211276 h 3351243"/>
                  <a:gd name="connsiteX1956" fmla="*/ 1023782 w 4378607"/>
                  <a:gd name="connsiteY1956" fmla="*/ 200319 h 3351243"/>
                  <a:gd name="connsiteX1957" fmla="*/ 1036112 w 4378607"/>
                  <a:gd name="connsiteY1957" fmla="*/ 166077 h 3351243"/>
                  <a:gd name="connsiteX1958" fmla="*/ 997752 w 4378607"/>
                  <a:gd name="connsiteY1958" fmla="*/ 157859 h 3351243"/>
                  <a:gd name="connsiteX1959" fmla="*/ 1068992 w 4378607"/>
                  <a:gd name="connsiteY1959" fmla="*/ 111291 h 3351243"/>
                  <a:gd name="connsiteX1960" fmla="*/ 1099132 w 4378607"/>
                  <a:gd name="connsiteY1960" fmla="*/ 116769 h 3351243"/>
                  <a:gd name="connsiteX1961" fmla="*/ 1095022 w 4378607"/>
                  <a:gd name="connsiteY1961" fmla="*/ 88007 h 3351243"/>
                  <a:gd name="connsiteX1962" fmla="*/ 1130642 w 4378607"/>
                  <a:gd name="connsiteY1962" fmla="*/ 82528 h 3351243"/>
                  <a:gd name="connsiteX1963" fmla="*/ 1140232 w 4378607"/>
                  <a:gd name="connsiteY1963" fmla="*/ 78419 h 3351243"/>
                  <a:gd name="connsiteX1964" fmla="*/ 1159412 w 4378607"/>
                  <a:gd name="connsiteY1964" fmla="*/ 66092 h 3351243"/>
                  <a:gd name="connsiteX1965" fmla="*/ 1208732 w 4378607"/>
                  <a:gd name="connsiteY1965" fmla="*/ 57874 h 3351243"/>
                  <a:gd name="connsiteX1966" fmla="*/ 1216952 w 4378607"/>
                  <a:gd name="connsiteY1966" fmla="*/ 96225 h 3351243"/>
                  <a:gd name="connsiteX1967" fmla="*/ 1229282 w 4378607"/>
                  <a:gd name="connsiteY1967" fmla="*/ 83898 h 3351243"/>
                  <a:gd name="connsiteX1968" fmla="*/ 1230652 w 4378607"/>
                  <a:gd name="connsiteY1968" fmla="*/ 59244 h 3351243"/>
                  <a:gd name="connsiteX1969" fmla="*/ 1260792 w 4378607"/>
                  <a:gd name="connsiteY1969" fmla="*/ 78419 h 3351243"/>
                  <a:gd name="connsiteX1970" fmla="*/ 1282713 w 4378607"/>
                  <a:gd name="connsiteY1970" fmla="*/ 77049 h 3351243"/>
                  <a:gd name="connsiteX1971" fmla="*/ 1263532 w 4378607"/>
                  <a:gd name="connsiteY1971" fmla="*/ 51026 h 3351243"/>
                  <a:gd name="connsiteX1972" fmla="*/ 1306003 w 4378607"/>
                  <a:gd name="connsiteY1972" fmla="*/ 61983 h 3351243"/>
                  <a:gd name="connsiteX1973" fmla="*/ 1340253 w 4378607"/>
                  <a:gd name="connsiteY1973" fmla="*/ 78419 h 3351243"/>
                  <a:gd name="connsiteX1974" fmla="*/ 1360803 w 4378607"/>
                  <a:gd name="connsiteY1974" fmla="*/ 82528 h 3351243"/>
                  <a:gd name="connsiteX1975" fmla="*/ 1321073 w 4378607"/>
                  <a:gd name="connsiteY1975" fmla="*/ 52396 h 3351243"/>
                  <a:gd name="connsiteX1976" fmla="*/ 1348473 w 4378607"/>
                  <a:gd name="connsiteY1976" fmla="*/ 41438 h 3351243"/>
                  <a:gd name="connsiteX1977" fmla="*/ 1333403 w 4378607"/>
                  <a:gd name="connsiteY1977" fmla="*/ 25002 h 3351243"/>
                  <a:gd name="connsiteX1978" fmla="*/ 1385463 w 4378607"/>
                  <a:gd name="connsiteY1978" fmla="*/ 16784 h 3351243"/>
                  <a:gd name="connsiteX1979" fmla="*/ 1429303 w 4378607"/>
                  <a:gd name="connsiteY1979" fmla="*/ 16784 h 3351243"/>
                  <a:gd name="connsiteX1980" fmla="*/ 1452593 w 4378607"/>
                  <a:gd name="connsiteY1980" fmla="*/ 23633 h 3351243"/>
                  <a:gd name="connsiteX1981" fmla="*/ 1464923 w 4378607"/>
                  <a:gd name="connsiteY1981" fmla="*/ 16784 h 3351243"/>
                  <a:gd name="connsiteX1982" fmla="*/ 1479993 w 4378607"/>
                  <a:gd name="connsiteY1982" fmla="*/ 7197 h 3351243"/>
                  <a:gd name="connsiteX1983" fmla="*/ 1501913 w 4378607"/>
                  <a:gd name="connsiteY1983" fmla="*/ 3088 h 3351243"/>
                  <a:gd name="connsiteX1984" fmla="*/ 1567673 w 4378607"/>
                  <a:gd name="connsiteY1984" fmla="*/ 349 h 3351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Lst>
                <a:rect l="l" t="t" r="r" b="b"/>
                <a:pathLst>
                  <a:path w="4378607" h="3351243">
                    <a:moveTo>
                      <a:pt x="1020762" y="3340666"/>
                    </a:moveTo>
                    <a:cubicBezTo>
                      <a:pt x="1028382" y="3341857"/>
                      <a:pt x="1033462" y="3343048"/>
                      <a:pt x="1029652" y="3345429"/>
                    </a:cubicBezTo>
                    <a:cubicBezTo>
                      <a:pt x="1027112" y="3344238"/>
                      <a:pt x="1023302" y="3343048"/>
                      <a:pt x="1020762" y="3340666"/>
                    </a:cubicBezTo>
                    <a:close/>
                    <a:moveTo>
                      <a:pt x="1474284" y="3328313"/>
                    </a:moveTo>
                    <a:cubicBezTo>
                      <a:pt x="1484680" y="3330125"/>
                      <a:pt x="1504836" y="3338126"/>
                      <a:pt x="1499733" y="3346128"/>
                    </a:cubicBezTo>
                    <a:cubicBezTo>
                      <a:pt x="1494290" y="3358129"/>
                      <a:pt x="1488847" y="3346128"/>
                      <a:pt x="1482044" y="3339460"/>
                    </a:cubicBezTo>
                    <a:cubicBezTo>
                      <a:pt x="1476601" y="3332792"/>
                      <a:pt x="1469797" y="3336793"/>
                      <a:pt x="1468437" y="3328792"/>
                    </a:cubicBezTo>
                    <a:cubicBezTo>
                      <a:pt x="1468437" y="3327792"/>
                      <a:pt x="1470818" y="3327708"/>
                      <a:pt x="1474284" y="3328313"/>
                    </a:cubicBezTo>
                    <a:close/>
                    <a:moveTo>
                      <a:pt x="995362" y="3324791"/>
                    </a:moveTo>
                    <a:cubicBezTo>
                      <a:pt x="1003828" y="3330564"/>
                      <a:pt x="1012295" y="3336337"/>
                      <a:pt x="1020762" y="3340666"/>
                    </a:cubicBezTo>
                    <a:cubicBezTo>
                      <a:pt x="1020762" y="3340666"/>
                      <a:pt x="1019351" y="3340666"/>
                      <a:pt x="1019351" y="3340666"/>
                    </a:cubicBezTo>
                    <a:cubicBezTo>
                      <a:pt x="1012295" y="3340666"/>
                      <a:pt x="1003828" y="3332007"/>
                      <a:pt x="995362" y="3324791"/>
                    </a:cubicBezTo>
                    <a:close/>
                    <a:moveTo>
                      <a:pt x="1141893" y="3259070"/>
                    </a:moveTo>
                    <a:cubicBezTo>
                      <a:pt x="1145102" y="3258577"/>
                      <a:pt x="1147935" y="3259434"/>
                      <a:pt x="1149602" y="3262519"/>
                    </a:cubicBezTo>
                    <a:cubicBezTo>
                      <a:pt x="1150936" y="3268003"/>
                      <a:pt x="1129600" y="3280342"/>
                      <a:pt x="1124266" y="3276229"/>
                    </a:cubicBezTo>
                    <a:cubicBezTo>
                      <a:pt x="1119266" y="3274173"/>
                      <a:pt x="1132267" y="3260548"/>
                      <a:pt x="1141893" y="3259070"/>
                    </a:cubicBezTo>
                    <a:close/>
                    <a:moveTo>
                      <a:pt x="1120330" y="3253127"/>
                    </a:moveTo>
                    <a:cubicBezTo>
                      <a:pt x="1128712" y="3254488"/>
                      <a:pt x="1110551" y="3280341"/>
                      <a:pt x="1102169" y="3274898"/>
                    </a:cubicBezTo>
                    <a:cubicBezTo>
                      <a:pt x="1093787" y="3270816"/>
                      <a:pt x="1113345" y="3251766"/>
                      <a:pt x="1120330" y="3253127"/>
                    </a:cubicBezTo>
                    <a:close/>
                    <a:moveTo>
                      <a:pt x="2841283" y="2403896"/>
                    </a:moveTo>
                    <a:cubicBezTo>
                      <a:pt x="2841817" y="2403939"/>
                      <a:pt x="2842416" y="2404881"/>
                      <a:pt x="2843100" y="2407278"/>
                    </a:cubicBezTo>
                    <a:cubicBezTo>
                      <a:pt x="2844469" y="2414126"/>
                      <a:pt x="2854049" y="2426452"/>
                      <a:pt x="2854049" y="2438778"/>
                    </a:cubicBezTo>
                    <a:cubicBezTo>
                      <a:pt x="2854049" y="2452475"/>
                      <a:pt x="2862260" y="2466171"/>
                      <a:pt x="2860891" y="2474388"/>
                    </a:cubicBezTo>
                    <a:cubicBezTo>
                      <a:pt x="2858154" y="2483976"/>
                      <a:pt x="2854049" y="2483976"/>
                      <a:pt x="2851312" y="2477128"/>
                    </a:cubicBezTo>
                    <a:cubicBezTo>
                      <a:pt x="2847206" y="2470279"/>
                      <a:pt x="2844469" y="2479867"/>
                      <a:pt x="2847206" y="2489454"/>
                    </a:cubicBezTo>
                    <a:cubicBezTo>
                      <a:pt x="2849943" y="2497672"/>
                      <a:pt x="2843100" y="2501780"/>
                      <a:pt x="2844469" y="2509998"/>
                    </a:cubicBezTo>
                    <a:cubicBezTo>
                      <a:pt x="2844469" y="2518216"/>
                      <a:pt x="2834889" y="2555195"/>
                      <a:pt x="2826678" y="2583957"/>
                    </a:cubicBezTo>
                    <a:cubicBezTo>
                      <a:pt x="2818467" y="2612719"/>
                      <a:pt x="2808887" y="2656546"/>
                      <a:pt x="2803413" y="2663394"/>
                    </a:cubicBezTo>
                    <a:cubicBezTo>
                      <a:pt x="2797939" y="2671612"/>
                      <a:pt x="2792465" y="2664764"/>
                      <a:pt x="2786991" y="2671612"/>
                    </a:cubicBezTo>
                    <a:cubicBezTo>
                      <a:pt x="2781517" y="2677090"/>
                      <a:pt x="2765094" y="2670242"/>
                      <a:pt x="2759620" y="2663394"/>
                    </a:cubicBezTo>
                    <a:cubicBezTo>
                      <a:pt x="2752777" y="2655177"/>
                      <a:pt x="2752777" y="2638741"/>
                      <a:pt x="2748672" y="2626415"/>
                    </a:cubicBezTo>
                    <a:cubicBezTo>
                      <a:pt x="2744566" y="2615458"/>
                      <a:pt x="2743198" y="2597653"/>
                      <a:pt x="2755515" y="2581218"/>
                    </a:cubicBezTo>
                    <a:cubicBezTo>
                      <a:pt x="2766463" y="2564782"/>
                      <a:pt x="2762357" y="2555195"/>
                      <a:pt x="2758252" y="2542869"/>
                    </a:cubicBezTo>
                    <a:cubicBezTo>
                      <a:pt x="2754146" y="2530542"/>
                      <a:pt x="2752777" y="2518216"/>
                      <a:pt x="2756883" y="2508628"/>
                    </a:cubicBezTo>
                    <a:cubicBezTo>
                      <a:pt x="2760989" y="2499041"/>
                      <a:pt x="2756883" y="2482606"/>
                      <a:pt x="2763726" y="2482606"/>
                    </a:cubicBezTo>
                    <a:cubicBezTo>
                      <a:pt x="2769200" y="2483976"/>
                      <a:pt x="2776042" y="2477128"/>
                      <a:pt x="2782885" y="2478497"/>
                    </a:cubicBezTo>
                    <a:cubicBezTo>
                      <a:pt x="2791096" y="2479867"/>
                      <a:pt x="2799307" y="2466171"/>
                      <a:pt x="2806150" y="2464801"/>
                    </a:cubicBezTo>
                    <a:cubicBezTo>
                      <a:pt x="2811624" y="2464801"/>
                      <a:pt x="2819835" y="2457953"/>
                      <a:pt x="2817098" y="2453844"/>
                    </a:cubicBezTo>
                    <a:cubicBezTo>
                      <a:pt x="2814361" y="2448366"/>
                      <a:pt x="2819835" y="2449735"/>
                      <a:pt x="2817098" y="2442887"/>
                    </a:cubicBezTo>
                    <a:cubicBezTo>
                      <a:pt x="2815730" y="2437409"/>
                      <a:pt x="2821204" y="2434670"/>
                      <a:pt x="2825309" y="2434670"/>
                    </a:cubicBezTo>
                    <a:cubicBezTo>
                      <a:pt x="2829415" y="2436039"/>
                      <a:pt x="2834889" y="2430561"/>
                      <a:pt x="2834889" y="2426452"/>
                    </a:cubicBezTo>
                    <a:cubicBezTo>
                      <a:pt x="2834889" y="2422343"/>
                      <a:pt x="2834889" y="2415495"/>
                      <a:pt x="2837626" y="2412756"/>
                    </a:cubicBezTo>
                    <a:cubicBezTo>
                      <a:pt x="2838653" y="2411729"/>
                      <a:pt x="2839679" y="2403768"/>
                      <a:pt x="2841283" y="2403896"/>
                    </a:cubicBezTo>
                    <a:close/>
                    <a:moveTo>
                      <a:pt x="4130987" y="2399371"/>
                    </a:moveTo>
                    <a:cubicBezTo>
                      <a:pt x="4133348" y="2399432"/>
                      <a:pt x="4135102" y="2400000"/>
                      <a:pt x="4135436" y="2401299"/>
                    </a:cubicBezTo>
                    <a:cubicBezTo>
                      <a:pt x="4135436" y="2406495"/>
                      <a:pt x="4119394" y="2410391"/>
                      <a:pt x="4115384" y="2406495"/>
                    </a:cubicBezTo>
                    <a:cubicBezTo>
                      <a:pt x="4112710" y="2404546"/>
                      <a:pt x="4117389" y="2401948"/>
                      <a:pt x="4122903" y="2400487"/>
                    </a:cubicBezTo>
                    <a:cubicBezTo>
                      <a:pt x="4125661" y="2399757"/>
                      <a:pt x="4128627" y="2399310"/>
                      <a:pt x="4130987" y="2399371"/>
                    </a:cubicBezTo>
                    <a:close/>
                    <a:moveTo>
                      <a:pt x="4148070" y="2392492"/>
                    </a:moveTo>
                    <a:cubicBezTo>
                      <a:pt x="4152173" y="2389753"/>
                      <a:pt x="4154908" y="2402080"/>
                      <a:pt x="4161745" y="2403449"/>
                    </a:cubicBezTo>
                    <a:cubicBezTo>
                      <a:pt x="4169950" y="2403449"/>
                      <a:pt x="4189096" y="2408928"/>
                      <a:pt x="4193198" y="2414406"/>
                    </a:cubicBezTo>
                    <a:cubicBezTo>
                      <a:pt x="4195933" y="2419885"/>
                      <a:pt x="4202771" y="2408928"/>
                      <a:pt x="4205506" y="2408928"/>
                    </a:cubicBezTo>
                    <a:cubicBezTo>
                      <a:pt x="4205506" y="2407558"/>
                      <a:pt x="4206873" y="2410297"/>
                      <a:pt x="4206873" y="2411667"/>
                    </a:cubicBezTo>
                    <a:cubicBezTo>
                      <a:pt x="4128925" y="2580129"/>
                      <a:pt x="4030465" y="2736264"/>
                      <a:pt x="3914226" y="2878703"/>
                    </a:cubicBezTo>
                    <a:cubicBezTo>
                      <a:pt x="3906021" y="2878703"/>
                      <a:pt x="3895081" y="2878703"/>
                      <a:pt x="3889611" y="2874594"/>
                    </a:cubicBezTo>
                    <a:cubicBezTo>
                      <a:pt x="3881406" y="2867746"/>
                      <a:pt x="3884141" y="2862268"/>
                      <a:pt x="3877303" y="2862268"/>
                    </a:cubicBezTo>
                    <a:cubicBezTo>
                      <a:pt x="3870465" y="2860898"/>
                      <a:pt x="3867730" y="2848572"/>
                      <a:pt x="3873200" y="2848572"/>
                    </a:cubicBezTo>
                    <a:cubicBezTo>
                      <a:pt x="3878671" y="2848572"/>
                      <a:pt x="3884141" y="2844463"/>
                      <a:pt x="3882773" y="2833506"/>
                    </a:cubicBezTo>
                    <a:cubicBezTo>
                      <a:pt x="3881406" y="2822549"/>
                      <a:pt x="3888243" y="2811592"/>
                      <a:pt x="3885508" y="2808853"/>
                    </a:cubicBezTo>
                    <a:cubicBezTo>
                      <a:pt x="3884141" y="2804744"/>
                      <a:pt x="3871833" y="2780091"/>
                      <a:pt x="3871833" y="2765026"/>
                    </a:cubicBezTo>
                    <a:cubicBezTo>
                      <a:pt x="3873200" y="2749960"/>
                      <a:pt x="3859525" y="2740373"/>
                      <a:pt x="3858158" y="2729416"/>
                    </a:cubicBezTo>
                    <a:cubicBezTo>
                      <a:pt x="3858158" y="2718459"/>
                      <a:pt x="3841748" y="2689697"/>
                      <a:pt x="3843115" y="2686958"/>
                    </a:cubicBezTo>
                    <a:cubicBezTo>
                      <a:pt x="3844483" y="2681480"/>
                      <a:pt x="3851320" y="2700654"/>
                      <a:pt x="3854055" y="2696545"/>
                    </a:cubicBezTo>
                    <a:cubicBezTo>
                      <a:pt x="3855423" y="2692437"/>
                      <a:pt x="3847218" y="2685589"/>
                      <a:pt x="3848585" y="2682849"/>
                    </a:cubicBezTo>
                    <a:cubicBezTo>
                      <a:pt x="3851320" y="2681480"/>
                      <a:pt x="3856790" y="2697915"/>
                      <a:pt x="3858158" y="2692437"/>
                    </a:cubicBezTo>
                    <a:cubicBezTo>
                      <a:pt x="3860893" y="2686958"/>
                      <a:pt x="3856790" y="2678740"/>
                      <a:pt x="3849953" y="2667784"/>
                    </a:cubicBezTo>
                    <a:cubicBezTo>
                      <a:pt x="3841748" y="2655457"/>
                      <a:pt x="3847218" y="2645870"/>
                      <a:pt x="3852688" y="2637652"/>
                    </a:cubicBezTo>
                    <a:cubicBezTo>
                      <a:pt x="3858158" y="2628065"/>
                      <a:pt x="3848585" y="2623956"/>
                      <a:pt x="3851320" y="2615739"/>
                    </a:cubicBezTo>
                    <a:cubicBezTo>
                      <a:pt x="3854055" y="2607521"/>
                      <a:pt x="3859525" y="2599303"/>
                      <a:pt x="3859525" y="2602042"/>
                    </a:cubicBezTo>
                    <a:cubicBezTo>
                      <a:pt x="3859525" y="2604782"/>
                      <a:pt x="3859525" y="2615739"/>
                      <a:pt x="3860893" y="2612999"/>
                    </a:cubicBezTo>
                    <a:cubicBezTo>
                      <a:pt x="3863628" y="2611630"/>
                      <a:pt x="3863628" y="2600673"/>
                      <a:pt x="3870465" y="2599303"/>
                    </a:cubicBezTo>
                    <a:cubicBezTo>
                      <a:pt x="3875935" y="2599303"/>
                      <a:pt x="3884141" y="2593825"/>
                      <a:pt x="3889611" y="2586977"/>
                    </a:cubicBezTo>
                    <a:cubicBezTo>
                      <a:pt x="3895081" y="2580129"/>
                      <a:pt x="3907388" y="2576020"/>
                      <a:pt x="3908756" y="2581498"/>
                    </a:cubicBezTo>
                    <a:cubicBezTo>
                      <a:pt x="3910123" y="2586977"/>
                      <a:pt x="3918328" y="2577390"/>
                      <a:pt x="3923798" y="2573281"/>
                    </a:cubicBezTo>
                    <a:cubicBezTo>
                      <a:pt x="3927901" y="2569172"/>
                      <a:pt x="3933371" y="2571911"/>
                      <a:pt x="3938841" y="2567802"/>
                    </a:cubicBezTo>
                    <a:cubicBezTo>
                      <a:pt x="3942943" y="2562324"/>
                      <a:pt x="3959354" y="2569172"/>
                      <a:pt x="3966192" y="2558215"/>
                    </a:cubicBezTo>
                    <a:cubicBezTo>
                      <a:pt x="3974397" y="2547258"/>
                      <a:pt x="3986704" y="2533562"/>
                      <a:pt x="3989439" y="2530823"/>
                    </a:cubicBezTo>
                    <a:cubicBezTo>
                      <a:pt x="3992174" y="2529453"/>
                      <a:pt x="3983969" y="2517127"/>
                      <a:pt x="3989439" y="2508909"/>
                    </a:cubicBezTo>
                    <a:cubicBezTo>
                      <a:pt x="3996277" y="2500691"/>
                      <a:pt x="4001747" y="2495213"/>
                      <a:pt x="4001747" y="2500691"/>
                    </a:cubicBezTo>
                    <a:cubicBezTo>
                      <a:pt x="4001747" y="2507540"/>
                      <a:pt x="4005849" y="2518496"/>
                      <a:pt x="4008584" y="2515757"/>
                    </a:cubicBezTo>
                    <a:cubicBezTo>
                      <a:pt x="4011319" y="2513018"/>
                      <a:pt x="4015422" y="2513018"/>
                      <a:pt x="4014054" y="2506170"/>
                    </a:cubicBezTo>
                    <a:cubicBezTo>
                      <a:pt x="4012687" y="2499322"/>
                      <a:pt x="4007217" y="2493843"/>
                      <a:pt x="4011319" y="2491104"/>
                    </a:cubicBezTo>
                    <a:cubicBezTo>
                      <a:pt x="4015422" y="2489735"/>
                      <a:pt x="4023627" y="2499322"/>
                      <a:pt x="4022259" y="2492474"/>
                    </a:cubicBezTo>
                    <a:cubicBezTo>
                      <a:pt x="4022259" y="2486995"/>
                      <a:pt x="4020892" y="2474669"/>
                      <a:pt x="4026362" y="2474669"/>
                    </a:cubicBezTo>
                    <a:cubicBezTo>
                      <a:pt x="4030465" y="2474669"/>
                      <a:pt x="4030465" y="2467821"/>
                      <a:pt x="4033200" y="2467821"/>
                    </a:cubicBezTo>
                    <a:cubicBezTo>
                      <a:pt x="4035935" y="2467821"/>
                      <a:pt x="4030465" y="2460973"/>
                      <a:pt x="4035935" y="2459603"/>
                    </a:cubicBezTo>
                    <a:cubicBezTo>
                      <a:pt x="4041405" y="2458234"/>
                      <a:pt x="4049610" y="2465082"/>
                      <a:pt x="4048242" y="2459603"/>
                    </a:cubicBezTo>
                    <a:cubicBezTo>
                      <a:pt x="4048242" y="2452755"/>
                      <a:pt x="4048242" y="2450016"/>
                      <a:pt x="4053712" y="2450016"/>
                    </a:cubicBezTo>
                    <a:cubicBezTo>
                      <a:pt x="4057815" y="2450016"/>
                      <a:pt x="4057815" y="2444538"/>
                      <a:pt x="4061917" y="2444538"/>
                    </a:cubicBezTo>
                    <a:cubicBezTo>
                      <a:pt x="4067387" y="2443168"/>
                      <a:pt x="4074225" y="2451386"/>
                      <a:pt x="4075592" y="2455494"/>
                    </a:cubicBezTo>
                    <a:cubicBezTo>
                      <a:pt x="4076960" y="2460973"/>
                      <a:pt x="4085165" y="2456864"/>
                      <a:pt x="4083797" y="2465082"/>
                    </a:cubicBezTo>
                    <a:cubicBezTo>
                      <a:pt x="4083797" y="2473299"/>
                      <a:pt x="4090635" y="2476039"/>
                      <a:pt x="4089267" y="2469191"/>
                    </a:cubicBezTo>
                    <a:cubicBezTo>
                      <a:pt x="4089267" y="2462342"/>
                      <a:pt x="4094737" y="2462342"/>
                      <a:pt x="4100208" y="2467821"/>
                    </a:cubicBezTo>
                    <a:cubicBezTo>
                      <a:pt x="4105678" y="2474669"/>
                      <a:pt x="4113883" y="2473299"/>
                      <a:pt x="4108413" y="2466451"/>
                    </a:cubicBezTo>
                    <a:cubicBezTo>
                      <a:pt x="4101575" y="2458234"/>
                      <a:pt x="4102943" y="2454125"/>
                      <a:pt x="4107045" y="2450016"/>
                    </a:cubicBezTo>
                    <a:cubicBezTo>
                      <a:pt x="4112515" y="2445907"/>
                      <a:pt x="4108413" y="2441798"/>
                      <a:pt x="4113883" y="2436320"/>
                    </a:cubicBezTo>
                    <a:cubicBezTo>
                      <a:pt x="4117985" y="2429472"/>
                      <a:pt x="4119353" y="2418515"/>
                      <a:pt x="4124823" y="2418515"/>
                    </a:cubicBezTo>
                    <a:cubicBezTo>
                      <a:pt x="4130293" y="2419885"/>
                      <a:pt x="4122088" y="2410297"/>
                      <a:pt x="4128925" y="2413037"/>
                    </a:cubicBezTo>
                    <a:cubicBezTo>
                      <a:pt x="4135763" y="2415776"/>
                      <a:pt x="4159010" y="2411667"/>
                      <a:pt x="4153540" y="2404819"/>
                    </a:cubicBezTo>
                    <a:cubicBezTo>
                      <a:pt x="4148070" y="2397971"/>
                      <a:pt x="4142600" y="2393862"/>
                      <a:pt x="4148070" y="2392492"/>
                    </a:cubicBezTo>
                    <a:close/>
                    <a:moveTo>
                      <a:pt x="3940459" y="2362794"/>
                    </a:moveTo>
                    <a:cubicBezTo>
                      <a:pt x="3942877" y="2362691"/>
                      <a:pt x="3946474" y="2363146"/>
                      <a:pt x="3950194" y="2364055"/>
                    </a:cubicBezTo>
                    <a:cubicBezTo>
                      <a:pt x="3957636" y="2365874"/>
                      <a:pt x="3965573" y="2369513"/>
                      <a:pt x="3965573" y="2374143"/>
                    </a:cubicBezTo>
                    <a:cubicBezTo>
                      <a:pt x="3965573" y="2383403"/>
                      <a:pt x="3953667" y="2375466"/>
                      <a:pt x="3951021" y="2372820"/>
                    </a:cubicBezTo>
                    <a:cubicBezTo>
                      <a:pt x="3948375" y="2368851"/>
                      <a:pt x="3940437" y="2368851"/>
                      <a:pt x="3937792" y="2364882"/>
                    </a:cubicBezTo>
                    <a:cubicBezTo>
                      <a:pt x="3936800" y="2363559"/>
                      <a:pt x="3938040" y="2362898"/>
                      <a:pt x="3940459" y="2362794"/>
                    </a:cubicBezTo>
                    <a:close/>
                    <a:moveTo>
                      <a:pt x="4062907" y="2337575"/>
                    </a:moveTo>
                    <a:cubicBezTo>
                      <a:pt x="4067769" y="2336898"/>
                      <a:pt x="4071242" y="2336898"/>
                      <a:pt x="4070547" y="2339606"/>
                    </a:cubicBezTo>
                    <a:cubicBezTo>
                      <a:pt x="4069158" y="2342315"/>
                      <a:pt x="4045544" y="2350439"/>
                      <a:pt x="4037210" y="2357209"/>
                    </a:cubicBezTo>
                    <a:cubicBezTo>
                      <a:pt x="4035821" y="2357209"/>
                      <a:pt x="4035821" y="2358563"/>
                      <a:pt x="4035821" y="2358563"/>
                    </a:cubicBezTo>
                    <a:cubicBezTo>
                      <a:pt x="4034432" y="2358563"/>
                      <a:pt x="4034432" y="2359917"/>
                      <a:pt x="4033042" y="2359917"/>
                    </a:cubicBezTo>
                    <a:cubicBezTo>
                      <a:pt x="4033042" y="2361271"/>
                      <a:pt x="4031653" y="2362625"/>
                      <a:pt x="4031653" y="2363980"/>
                    </a:cubicBezTo>
                    <a:cubicBezTo>
                      <a:pt x="4026097" y="2370750"/>
                      <a:pt x="4017763" y="2380228"/>
                      <a:pt x="4010817" y="2376166"/>
                    </a:cubicBezTo>
                    <a:cubicBezTo>
                      <a:pt x="4005261" y="2373458"/>
                      <a:pt x="4009428" y="2359917"/>
                      <a:pt x="4019152" y="2355855"/>
                    </a:cubicBezTo>
                    <a:cubicBezTo>
                      <a:pt x="4020541" y="2354501"/>
                      <a:pt x="4021930" y="2354501"/>
                      <a:pt x="4024708" y="2354501"/>
                    </a:cubicBezTo>
                    <a:cubicBezTo>
                      <a:pt x="4024708" y="2354501"/>
                      <a:pt x="4026097" y="2353147"/>
                      <a:pt x="4026097" y="2353147"/>
                    </a:cubicBezTo>
                    <a:cubicBezTo>
                      <a:pt x="4028875" y="2353147"/>
                      <a:pt x="4030264" y="2351793"/>
                      <a:pt x="4031653" y="2350439"/>
                    </a:cubicBezTo>
                    <a:cubicBezTo>
                      <a:pt x="4031653" y="2350439"/>
                      <a:pt x="4033042" y="2350439"/>
                      <a:pt x="4033042" y="2350439"/>
                    </a:cubicBezTo>
                    <a:cubicBezTo>
                      <a:pt x="4038599" y="2345023"/>
                      <a:pt x="4039988" y="2339606"/>
                      <a:pt x="4046933" y="2339606"/>
                    </a:cubicBezTo>
                    <a:cubicBezTo>
                      <a:pt x="4051795" y="2339606"/>
                      <a:pt x="4058046" y="2338252"/>
                      <a:pt x="4062907" y="2337575"/>
                    </a:cubicBezTo>
                    <a:close/>
                    <a:moveTo>
                      <a:pt x="4012028" y="2337101"/>
                    </a:moveTo>
                    <a:cubicBezTo>
                      <a:pt x="4024310" y="2339747"/>
                      <a:pt x="4014757" y="2342393"/>
                      <a:pt x="4006569" y="2342393"/>
                    </a:cubicBezTo>
                    <a:cubicBezTo>
                      <a:pt x="3998381" y="2343716"/>
                      <a:pt x="3987464" y="2351653"/>
                      <a:pt x="3975182" y="2351653"/>
                    </a:cubicBezTo>
                    <a:cubicBezTo>
                      <a:pt x="3961535" y="2350330"/>
                      <a:pt x="3950617" y="2350330"/>
                      <a:pt x="3949253" y="2346362"/>
                    </a:cubicBezTo>
                    <a:cubicBezTo>
                      <a:pt x="3946523" y="2341070"/>
                      <a:pt x="3965629" y="2335778"/>
                      <a:pt x="3977911" y="2341070"/>
                    </a:cubicBezTo>
                    <a:cubicBezTo>
                      <a:pt x="3991558" y="2346362"/>
                      <a:pt x="3999746" y="2335778"/>
                      <a:pt x="4012028" y="2337101"/>
                    </a:cubicBezTo>
                    <a:close/>
                    <a:moveTo>
                      <a:pt x="3918611" y="2334674"/>
                    </a:moveTo>
                    <a:cubicBezTo>
                      <a:pt x="3921088" y="2334651"/>
                      <a:pt x="3924233" y="2335235"/>
                      <a:pt x="3927248" y="2336222"/>
                    </a:cubicBezTo>
                    <a:cubicBezTo>
                      <a:pt x="3933280" y="2338197"/>
                      <a:pt x="3938794" y="2341788"/>
                      <a:pt x="3937416" y="2345379"/>
                    </a:cubicBezTo>
                    <a:cubicBezTo>
                      <a:pt x="3934658" y="2352560"/>
                      <a:pt x="3926387" y="2346815"/>
                      <a:pt x="3913979" y="2353997"/>
                    </a:cubicBezTo>
                    <a:cubicBezTo>
                      <a:pt x="3902950" y="2361178"/>
                      <a:pt x="3893300" y="2351124"/>
                      <a:pt x="3891922" y="2349688"/>
                    </a:cubicBezTo>
                    <a:cubicBezTo>
                      <a:pt x="3887786" y="2343942"/>
                      <a:pt x="3894679" y="2333887"/>
                      <a:pt x="3898815" y="2338197"/>
                    </a:cubicBezTo>
                    <a:cubicBezTo>
                      <a:pt x="3902950" y="2342506"/>
                      <a:pt x="3911222" y="2341070"/>
                      <a:pt x="3913979" y="2336761"/>
                    </a:cubicBezTo>
                    <a:cubicBezTo>
                      <a:pt x="3914324" y="2335325"/>
                      <a:pt x="3916133" y="2334696"/>
                      <a:pt x="3918611" y="2334674"/>
                    </a:cubicBezTo>
                    <a:close/>
                    <a:moveTo>
                      <a:pt x="4246560" y="2323078"/>
                    </a:moveTo>
                    <a:cubicBezTo>
                      <a:pt x="4243703" y="2328899"/>
                      <a:pt x="4240845" y="2334720"/>
                      <a:pt x="4239417" y="2340541"/>
                    </a:cubicBezTo>
                    <a:cubicBezTo>
                      <a:pt x="4236559" y="2340541"/>
                      <a:pt x="4235131" y="2340541"/>
                      <a:pt x="4235131" y="2339086"/>
                    </a:cubicBezTo>
                    <a:cubicBezTo>
                      <a:pt x="4232273" y="2334720"/>
                      <a:pt x="4239417" y="2325988"/>
                      <a:pt x="4246560" y="2323078"/>
                    </a:cubicBezTo>
                    <a:close/>
                    <a:moveTo>
                      <a:pt x="4252117" y="2308790"/>
                    </a:moveTo>
                    <a:cubicBezTo>
                      <a:pt x="4257673" y="2315284"/>
                      <a:pt x="4257673" y="2323078"/>
                      <a:pt x="4250728" y="2323078"/>
                    </a:cubicBezTo>
                    <a:cubicBezTo>
                      <a:pt x="4249339" y="2323078"/>
                      <a:pt x="4247950" y="2323078"/>
                      <a:pt x="4246561" y="2323078"/>
                    </a:cubicBezTo>
                    <a:cubicBezTo>
                      <a:pt x="4247950" y="2319181"/>
                      <a:pt x="4250728" y="2313985"/>
                      <a:pt x="4252117" y="2308790"/>
                    </a:cubicBezTo>
                    <a:close/>
                    <a:moveTo>
                      <a:pt x="3750768" y="2292158"/>
                    </a:moveTo>
                    <a:cubicBezTo>
                      <a:pt x="3758644" y="2293345"/>
                      <a:pt x="3766521" y="2296735"/>
                      <a:pt x="3769261" y="2300125"/>
                    </a:cubicBezTo>
                    <a:cubicBezTo>
                      <a:pt x="3776110" y="2305549"/>
                      <a:pt x="3803507" y="2316397"/>
                      <a:pt x="3803507" y="2308261"/>
                    </a:cubicBezTo>
                    <a:cubicBezTo>
                      <a:pt x="3803507" y="2300125"/>
                      <a:pt x="3821315" y="2317753"/>
                      <a:pt x="3836384" y="2312329"/>
                    </a:cubicBezTo>
                    <a:cubicBezTo>
                      <a:pt x="3851452" y="2306905"/>
                      <a:pt x="3861041" y="2309617"/>
                      <a:pt x="3855562" y="2313685"/>
                    </a:cubicBezTo>
                    <a:cubicBezTo>
                      <a:pt x="3848712" y="2317753"/>
                      <a:pt x="3829534" y="2321821"/>
                      <a:pt x="3839123" y="2325889"/>
                    </a:cubicBezTo>
                    <a:cubicBezTo>
                      <a:pt x="3847343" y="2329957"/>
                      <a:pt x="3866521" y="2324533"/>
                      <a:pt x="3866521" y="2331313"/>
                    </a:cubicBezTo>
                    <a:cubicBezTo>
                      <a:pt x="3866521" y="2338093"/>
                      <a:pt x="3892548" y="2334025"/>
                      <a:pt x="3882959" y="2342161"/>
                    </a:cubicBezTo>
                    <a:cubicBezTo>
                      <a:pt x="3873370" y="2351653"/>
                      <a:pt x="3866521" y="2336737"/>
                      <a:pt x="3863781" y="2342161"/>
                    </a:cubicBezTo>
                    <a:cubicBezTo>
                      <a:pt x="3861041" y="2347585"/>
                      <a:pt x="3851452" y="2339449"/>
                      <a:pt x="3843233" y="2340805"/>
                    </a:cubicBezTo>
                    <a:cubicBezTo>
                      <a:pt x="3833644" y="2342161"/>
                      <a:pt x="3813096" y="2342161"/>
                      <a:pt x="3803507" y="2334025"/>
                    </a:cubicBezTo>
                    <a:cubicBezTo>
                      <a:pt x="3793918" y="2324533"/>
                      <a:pt x="3774740" y="2319109"/>
                      <a:pt x="3773370" y="2324533"/>
                    </a:cubicBezTo>
                    <a:cubicBezTo>
                      <a:pt x="3772001" y="2329957"/>
                      <a:pt x="3751453" y="2323177"/>
                      <a:pt x="3745973" y="2321821"/>
                    </a:cubicBezTo>
                    <a:cubicBezTo>
                      <a:pt x="3739124" y="2320465"/>
                      <a:pt x="3740494" y="2310973"/>
                      <a:pt x="3736384" y="2310973"/>
                    </a:cubicBezTo>
                    <a:cubicBezTo>
                      <a:pt x="3732275" y="2310973"/>
                      <a:pt x="3726795" y="2315041"/>
                      <a:pt x="3725425" y="2308261"/>
                    </a:cubicBezTo>
                    <a:cubicBezTo>
                      <a:pt x="3722686" y="2298769"/>
                      <a:pt x="3728165" y="2308261"/>
                      <a:pt x="3732275" y="2297413"/>
                    </a:cubicBezTo>
                    <a:cubicBezTo>
                      <a:pt x="3735014" y="2291989"/>
                      <a:pt x="3742891" y="2290972"/>
                      <a:pt x="3750768" y="2292158"/>
                    </a:cubicBezTo>
                    <a:close/>
                    <a:moveTo>
                      <a:pt x="4051885" y="2238171"/>
                    </a:moveTo>
                    <a:cubicBezTo>
                      <a:pt x="4053949" y="2237711"/>
                      <a:pt x="4056923" y="2238105"/>
                      <a:pt x="4059852" y="2239068"/>
                    </a:cubicBezTo>
                    <a:cubicBezTo>
                      <a:pt x="4065711" y="2240994"/>
                      <a:pt x="4071393" y="2245197"/>
                      <a:pt x="4069262" y="2249399"/>
                    </a:cubicBezTo>
                    <a:cubicBezTo>
                      <a:pt x="4065001" y="2256403"/>
                      <a:pt x="4050797" y="2252200"/>
                      <a:pt x="4049377" y="2242395"/>
                    </a:cubicBezTo>
                    <a:cubicBezTo>
                      <a:pt x="4048667" y="2239944"/>
                      <a:pt x="4049821" y="2238631"/>
                      <a:pt x="4051885" y="2238171"/>
                    </a:cubicBezTo>
                    <a:close/>
                    <a:moveTo>
                      <a:pt x="4092005" y="2234271"/>
                    </a:moveTo>
                    <a:cubicBezTo>
                      <a:pt x="4098328" y="2232964"/>
                      <a:pt x="4106530" y="2232964"/>
                      <a:pt x="4112681" y="2234925"/>
                    </a:cubicBezTo>
                    <a:cubicBezTo>
                      <a:pt x="4124984" y="2240154"/>
                      <a:pt x="4129085" y="2253228"/>
                      <a:pt x="4123617" y="2253228"/>
                    </a:cubicBezTo>
                    <a:cubicBezTo>
                      <a:pt x="4118149" y="2253228"/>
                      <a:pt x="4114048" y="2245384"/>
                      <a:pt x="4103112" y="2245384"/>
                    </a:cubicBezTo>
                    <a:cubicBezTo>
                      <a:pt x="4093543" y="2245384"/>
                      <a:pt x="4083974" y="2247998"/>
                      <a:pt x="4082607" y="2241462"/>
                    </a:cubicBezTo>
                    <a:cubicBezTo>
                      <a:pt x="4081240" y="2238193"/>
                      <a:pt x="4085683" y="2235579"/>
                      <a:pt x="4092005" y="2234271"/>
                    </a:cubicBezTo>
                    <a:close/>
                    <a:moveTo>
                      <a:pt x="3761887" y="2232269"/>
                    </a:moveTo>
                    <a:cubicBezTo>
                      <a:pt x="3764357" y="2231430"/>
                      <a:pt x="3767135" y="2232101"/>
                      <a:pt x="3767135" y="2234788"/>
                    </a:cubicBezTo>
                    <a:cubicBezTo>
                      <a:pt x="3767135" y="2240161"/>
                      <a:pt x="3762196" y="2246878"/>
                      <a:pt x="3758492" y="2238818"/>
                    </a:cubicBezTo>
                    <a:cubicBezTo>
                      <a:pt x="3757258" y="2235460"/>
                      <a:pt x="3759418" y="2233109"/>
                      <a:pt x="3761887" y="2232269"/>
                    </a:cubicBezTo>
                    <a:close/>
                    <a:moveTo>
                      <a:pt x="3617447" y="2197283"/>
                    </a:moveTo>
                    <a:cubicBezTo>
                      <a:pt x="3620821" y="2198260"/>
                      <a:pt x="3624789" y="2207636"/>
                      <a:pt x="3621614" y="2210762"/>
                    </a:cubicBezTo>
                    <a:cubicBezTo>
                      <a:pt x="3618792" y="2213540"/>
                      <a:pt x="3613148" y="2202427"/>
                      <a:pt x="3614559" y="2199649"/>
                    </a:cubicBezTo>
                    <a:cubicBezTo>
                      <a:pt x="3615264" y="2197566"/>
                      <a:pt x="3616323" y="2196958"/>
                      <a:pt x="3617447" y="2197283"/>
                    </a:cubicBezTo>
                    <a:close/>
                    <a:moveTo>
                      <a:pt x="4147462" y="2186298"/>
                    </a:moveTo>
                    <a:cubicBezTo>
                      <a:pt x="4150645" y="2185802"/>
                      <a:pt x="4154690" y="2186017"/>
                      <a:pt x="4158820" y="2186794"/>
                    </a:cubicBezTo>
                    <a:cubicBezTo>
                      <a:pt x="4167080" y="2188347"/>
                      <a:pt x="4175685" y="2192143"/>
                      <a:pt x="4178439" y="2196975"/>
                    </a:cubicBezTo>
                    <a:cubicBezTo>
                      <a:pt x="4182569" y="2205257"/>
                      <a:pt x="4183946" y="2248051"/>
                      <a:pt x="4194960" y="2243909"/>
                    </a:cubicBezTo>
                    <a:cubicBezTo>
                      <a:pt x="4205974" y="2239768"/>
                      <a:pt x="4214235" y="2224583"/>
                      <a:pt x="4221119" y="2224583"/>
                    </a:cubicBezTo>
                    <a:cubicBezTo>
                      <a:pt x="4226626" y="2224583"/>
                      <a:pt x="4228002" y="2209398"/>
                      <a:pt x="4234886" y="2209398"/>
                    </a:cubicBezTo>
                    <a:cubicBezTo>
                      <a:pt x="4240393" y="2208018"/>
                      <a:pt x="4263798" y="2220442"/>
                      <a:pt x="4283073" y="2228725"/>
                    </a:cubicBezTo>
                    <a:cubicBezTo>
                      <a:pt x="4273436" y="2256333"/>
                      <a:pt x="4263798" y="2282561"/>
                      <a:pt x="4252784" y="2308790"/>
                    </a:cubicBezTo>
                    <a:cubicBezTo>
                      <a:pt x="4252784" y="2308790"/>
                      <a:pt x="4251408" y="2307409"/>
                      <a:pt x="4251408" y="2307409"/>
                    </a:cubicBezTo>
                    <a:cubicBezTo>
                      <a:pt x="4245900" y="2299127"/>
                      <a:pt x="4251408" y="2293605"/>
                      <a:pt x="4243147" y="2285322"/>
                    </a:cubicBezTo>
                    <a:cubicBezTo>
                      <a:pt x="4233510" y="2275659"/>
                      <a:pt x="4208728" y="2267377"/>
                      <a:pt x="4197714" y="2265996"/>
                    </a:cubicBezTo>
                    <a:cubicBezTo>
                      <a:pt x="4186699" y="2265996"/>
                      <a:pt x="4194960" y="2260475"/>
                      <a:pt x="4183946" y="2257714"/>
                    </a:cubicBezTo>
                    <a:cubicBezTo>
                      <a:pt x="4172932" y="2253572"/>
                      <a:pt x="4167425" y="2246670"/>
                      <a:pt x="4167425" y="2252192"/>
                    </a:cubicBezTo>
                    <a:cubicBezTo>
                      <a:pt x="4167425" y="2257714"/>
                      <a:pt x="4156410" y="2257714"/>
                      <a:pt x="4156410" y="2252192"/>
                    </a:cubicBezTo>
                    <a:cubicBezTo>
                      <a:pt x="4156410" y="2246670"/>
                      <a:pt x="4150903" y="2238388"/>
                      <a:pt x="4146773" y="2234246"/>
                    </a:cubicBezTo>
                    <a:cubicBezTo>
                      <a:pt x="4142643" y="2231485"/>
                      <a:pt x="4150903" y="2230105"/>
                      <a:pt x="4156410" y="2231485"/>
                    </a:cubicBezTo>
                    <a:cubicBezTo>
                      <a:pt x="4161917" y="2232866"/>
                      <a:pt x="4161917" y="2224583"/>
                      <a:pt x="4170178" y="2228725"/>
                    </a:cubicBezTo>
                    <a:cubicBezTo>
                      <a:pt x="4177062" y="2231485"/>
                      <a:pt x="4177062" y="2221822"/>
                      <a:pt x="4171555" y="2223203"/>
                    </a:cubicBezTo>
                    <a:cubicBezTo>
                      <a:pt x="4166048" y="2223203"/>
                      <a:pt x="4148150" y="2228725"/>
                      <a:pt x="4145396" y="2221822"/>
                    </a:cubicBezTo>
                    <a:cubicBezTo>
                      <a:pt x="4142643" y="2213540"/>
                      <a:pt x="4142643" y="2208018"/>
                      <a:pt x="4137136" y="2208018"/>
                    </a:cubicBezTo>
                    <a:cubicBezTo>
                      <a:pt x="4130252" y="2208018"/>
                      <a:pt x="4127498" y="2210779"/>
                      <a:pt x="4127498" y="2203877"/>
                    </a:cubicBezTo>
                    <a:cubicBezTo>
                      <a:pt x="4128875" y="2195594"/>
                      <a:pt x="4138512" y="2199735"/>
                      <a:pt x="4141266" y="2190072"/>
                    </a:cubicBezTo>
                    <a:cubicBezTo>
                      <a:pt x="4141955" y="2188002"/>
                      <a:pt x="4144278" y="2186794"/>
                      <a:pt x="4147462" y="2186298"/>
                    </a:cubicBezTo>
                    <a:close/>
                    <a:moveTo>
                      <a:pt x="3590792" y="2152263"/>
                    </a:moveTo>
                    <a:cubicBezTo>
                      <a:pt x="3592247" y="2146865"/>
                      <a:pt x="3606799" y="2160359"/>
                      <a:pt x="3600978" y="2167106"/>
                    </a:cubicBezTo>
                    <a:cubicBezTo>
                      <a:pt x="3595157" y="2173853"/>
                      <a:pt x="3589337" y="2157660"/>
                      <a:pt x="3590792" y="2152263"/>
                    </a:cubicBezTo>
                    <a:close/>
                    <a:moveTo>
                      <a:pt x="4034583" y="2147973"/>
                    </a:moveTo>
                    <a:cubicBezTo>
                      <a:pt x="4035421" y="2148187"/>
                      <a:pt x="4035507" y="2149301"/>
                      <a:pt x="4034476" y="2151700"/>
                    </a:cubicBezTo>
                    <a:cubicBezTo>
                      <a:pt x="4030352" y="2161298"/>
                      <a:pt x="4017981" y="2177750"/>
                      <a:pt x="4006985" y="2170895"/>
                    </a:cubicBezTo>
                    <a:cubicBezTo>
                      <a:pt x="3994614" y="2165411"/>
                      <a:pt x="3956127" y="2168153"/>
                      <a:pt x="3953378" y="2184605"/>
                    </a:cubicBezTo>
                    <a:cubicBezTo>
                      <a:pt x="3952003" y="2202428"/>
                      <a:pt x="3971247" y="2213397"/>
                      <a:pt x="3973996" y="2203799"/>
                    </a:cubicBezTo>
                    <a:cubicBezTo>
                      <a:pt x="3975371" y="2194202"/>
                      <a:pt x="4004236" y="2187347"/>
                      <a:pt x="4005610" y="2192831"/>
                    </a:cubicBezTo>
                    <a:cubicBezTo>
                      <a:pt x="4008359" y="2198315"/>
                      <a:pt x="3989116" y="2212026"/>
                      <a:pt x="3982243" y="2213397"/>
                    </a:cubicBezTo>
                    <a:cubicBezTo>
                      <a:pt x="3975371" y="2214768"/>
                      <a:pt x="3979494" y="2222994"/>
                      <a:pt x="3987741" y="2228478"/>
                    </a:cubicBezTo>
                    <a:cubicBezTo>
                      <a:pt x="3994614" y="2233962"/>
                      <a:pt x="3984992" y="2243559"/>
                      <a:pt x="3990490" y="2250414"/>
                    </a:cubicBezTo>
                    <a:cubicBezTo>
                      <a:pt x="3995989" y="2257270"/>
                      <a:pt x="3997363" y="2262754"/>
                      <a:pt x="3989116" y="2265496"/>
                    </a:cubicBezTo>
                    <a:cubicBezTo>
                      <a:pt x="3982243" y="2268238"/>
                      <a:pt x="3975371" y="2273722"/>
                      <a:pt x="3975371" y="2262754"/>
                    </a:cubicBezTo>
                    <a:cubicBezTo>
                      <a:pt x="3975371" y="2253156"/>
                      <a:pt x="3963000" y="2253156"/>
                      <a:pt x="3967123" y="2243559"/>
                    </a:cubicBezTo>
                    <a:cubicBezTo>
                      <a:pt x="3971247" y="2233962"/>
                      <a:pt x="3958876" y="2229849"/>
                      <a:pt x="3956127" y="2236704"/>
                    </a:cubicBezTo>
                    <a:cubicBezTo>
                      <a:pt x="3954753" y="2242188"/>
                      <a:pt x="3954753" y="2266867"/>
                      <a:pt x="3958876" y="2270980"/>
                    </a:cubicBezTo>
                    <a:cubicBezTo>
                      <a:pt x="3963000" y="2275093"/>
                      <a:pt x="3957502" y="2286061"/>
                      <a:pt x="3950629" y="2290174"/>
                    </a:cubicBezTo>
                    <a:cubicBezTo>
                      <a:pt x="3943756" y="2292916"/>
                      <a:pt x="3947880" y="2275093"/>
                      <a:pt x="3949254" y="2268238"/>
                    </a:cubicBezTo>
                    <a:cubicBezTo>
                      <a:pt x="3950629" y="2260012"/>
                      <a:pt x="3950629" y="2247672"/>
                      <a:pt x="3943756" y="2247672"/>
                    </a:cubicBezTo>
                    <a:cubicBezTo>
                      <a:pt x="3936884" y="2246301"/>
                      <a:pt x="3925887" y="2244930"/>
                      <a:pt x="3934134" y="2228478"/>
                    </a:cubicBezTo>
                    <a:cubicBezTo>
                      <a:pt x="3942382" y="2212026"/>
                      <a:pt x="3942382" y="2194202"/>
                      <a:pt x="3946505" y="2191460"/>
                    </a:cubicBezTo>
                    <a:cubicBezTo>
                      <a:pt x="3950629" y="2188718"/>
                      <a:pt x="3949254" y="2165411"/>
                      <a:pt x="3957502" y="2164040"/>
                    </a:cubicBezTo>
                    <a:cubicBezTo>
                      <a:pt x="3967123" y="2162669"/>
                      <a:pt x="3967123" y="2150329"/>
                      <a:pt x="3976745" y="2154442"/>
                    </a:cubicBezTo>
                    <a:cubicBezTo>
                      <a:pt x="3987741" y="2158556"/>
                      <a:pt x="4009734" y="2165411"/>
                      <a:pt x="4016607" y="2159927"/>
                    </a:cubicBezTo>
                    <a:cubicBezTo>
                      <a:pt x="4020730" y="2156499"/>
                      <a:pt x="4026228" y="2152043"/>
                      <a:pt x="4030180" y="2149644"/>
                    </a:cubicBezTo>
                    <a:cubicBezTo>
                      <a:pt x="4032156" y="2148444"/>
                      <a:pt x="4033746" y="2147758"/>
                      <a:pt x="4034583" y="2147973"/>
                    </a:cubicBezTo>
                    <a:close/>
                    <a:moveTo>
                      <a:pt x="4078371" y="2141891"/>
                    </a:moveTo>
                    <a:cubicBezTo>
                      <a:pt x="4082082" y="2141110"/>
                      <a:pt x="4083645" y="2150487"/>
                      <a:pt x="4083645" y="2153612"/>
                    </a:cubicBezTo>
                    <a:cubicBezTo>
                      <a:pt x="4083645" y="2157780"/>
                      <a:pt x="4093368" y="2150834"/>
                      <a:pt x="4093368" y="2159169"/>
                    </a:cubicBezTo>
                    <a:cubicBezTo>
                      <a:pt x="4093368" y="2166114"/>
                      <a:pt x="4098924" y="2174448"/>
                      <a:pt x="4087812" y="2173059"/>
                    </a:cubicBezTo>
                    <a:cubicBezTo>
                      <a:pt x="4078089" y="2171670"/>
                      <a:pt x="4086423" y="2186950"/>
                      <a:pt x="4082256" y="2188339"/>
                    </a:cubicBezTo>
                    <a:cubicBezTo>
                      <a:pt x="4075311" y="2189728"/>
                      <a:pt x="4065587" y="2159169"/>
                      <a:pt x="4073921" y="2146667"/>
                    </a:cubicBezTo>
                    <a:cubicBezTo>
                      <a:pt x="4075658" y="2143541"/>
                      <a:pt x="4077134" y="2142152"/>
                      <a:pt x="4078371" y="2141891"/>
                    </a:cubicBezTo>
                    <a:close/>
                    <a:moveTo>
                      <a:pt x="3566152" y="2071122"/>
                    </a:moveTo>
                    <a:cubicBezTo>
                      <a:pt x="3569437" y="2072405"/>
                      <a:pt x="3574848" y="2080618"/>
                      <a:pt x="3584124" y="2079591"/>
                    </a:cubicBezTo>
                    <a:cubicBezTo>
                      <a:pt x="3597867" y="2079591"/>
                      <a:pt x="3604738" y="2083698"/>
                      <a:pt x="3607486" y="2093280"/>
                    </a:cubicBezTo>
                    <a:cubicBezTo>
                      <a:pt x="3610235" y="2102862"/>
                      <a:pt x="3632223" y="2113813"/>
                      <a:pt x="3634971" y="2122026"/>
                    </a:cubicBezTo>
                    <a:cubicBezTo>
                      <a:pt x="3637720" y="2130239"/>
                      <a:pt x="3644591" y="2139821"/>
                      <a:pt x="3647340" y="2138452"/>
                    </a:cubicBezTo>
                    <a:cubicBezTo>
                      <a:pt x="3651463" y="2135715"/>
                      <a:pt x="3656960" y="2138452"/>
                      <a:pt x="3659708" y="2143928"/>
                    </a:cubicBezTo>
                    <a:cubicBezTo>
                      <a:pt x="3663831" y="2149404"/>
                      <a:pt x="3665205" y="2142560"/>
                      <a:pt x="3670702" y="2149404"/>
                    </a:cubicBezTo>
                    <a:cubicBezTo>
                      <a:pt x="3674825" y="2156248"/>
                      <a:pt x="3677573" y="2153510"/>
                      <a:pt x="3677573" y="2158986"/>
                    </a:cubicBezTo>
                    <a:cubicBezTo>
                      <a:pt x="3677573" y="2164461"/>
                      <a:pt x="3685819" y="2160355"/>
                      <a:pt x="3685819" y="2167199"/>
                    </a:cubicBezTo>
                    <a:cubicBezTo>
                      <a:pt x="3685819" y="2174043"/>
                      <a:pt x="3699561" y="2179519"/>
                      <a:pt x="3694064" y="2184994"/>
                    </a:cubicBezTo>
                    <a:cubicBezTo>
                      <a:pt x="3689942" y="2190470"/>
                      <a:pt x="3689942" y="2198683"/>
                      <a:pt x="3698187" y="2198683"/>
                    </a:cubicBezTo>
                    <a:cubicBezTo>
                      <a:pt x="3705058" y="2198683"/>
                      <a:pt x="3703684" y="2215109"/>
                      <a:pt x="3711930" y="2215109"/>
                    </a:cubicBezTo>
                    <a:cubicBezTo>
                      <a:pt x="3718801" y="2215109"/>
                      <a:pt x="3714678" y="2226060"/>
                      <a:pt x="3721549" y="2224691"/>
                    </a:cubicBezTo>
                    <a:cubicBezTo>
                      <a:pt x="3728421" y="2224691"/>
                      <a:pt x="3729795" y="2232904"/>
                      <a:pt x="3731169" y="2228798"/>
                    </a:cubicBezTo>
                    <a:cubicBezTo>
                      <a:pt x="3732543" y="2224691"/>
                      <a:pt x="3729795" y="2220585"/>
                      <a:pt x="3725672" y="2219216"/>
                    </a:cubicBezTo>
                    <a:cubicBezTo>
                      <a:pt x="3720175" y="2219216"/>
                      <a:pt x="3718801" y="2211003"/>
                      <a:pt x="3727046" y="2211003"/>
                    </a:cubicBezTo>
                    <a:cubicBezTo>
                      <a:pt x="3735292" y="2211003"/>
                      <a:pt x="3736666" y="2224691"/>
                      <a:pt x="3740789" y="2226060"/>
                    </a:cubicBezTo>
                    <a:cubicBezTo>
                      <a:pt x="3743538" y="2227429"/>
                      <a:pt x="3744912" y="2239749"/>
                      <a:pt x="3739415" y="2238380"/>
                    </a:cubicBezTo>
                    <a:cubicBezTo>
                      <a:pt x="3735292" y="2237011"/>
                      <a:pt x="3733918" y="2238380"/>
                      <a:pt x="3733918" y="2242486"/>
                    </a:cubicBezTo>
                    <a:cubicBezTo>
                      <a:pt x="3733918" y="2246593"/>
                      <a:pt x="3731169" y="2254806"/>
                      <a:pt x="3731169" y="2263019"/>
                    </a:cubicBezTo>
                    <a:cubicBezTo>
                      <a:pt x="3731169" y="2269864"/>
                      <a:pt x="3729795" y="2290397"/>
                      <a:pt x="3725672" y="2290397"/>
                    </a:cubicBezTo>
                    <a:cubicBezTo>
                      <a:pt x="3720175" y="2290397"/>
                      <a:pt x="3710555" y="2284921"/>
                      <a:pt x="3709181" y="2290397"/>
                    </a:cubicBezTo>
                    <a:cubicBezTo>
                      <a:pt x="3706433" y="2294503"/>
                      <a:pt x="3703684" y="2284921"/>
                      <a:pt x="3700936" y="2280815"/>
                    </a:cubicBezTo>
                    <a:cubicBezTo>
                      <a:pt x="3698187" y="2275339"/>
                      <a:pt x="3677573" y="2261651"/>
                      <a:pt x="3672076" y="2250700"/>
                    </a:cubicBezTo>
                    <a:cubicBezTo>
                      <a:pt x="3666579" y="2239749"/>
                      <a:pt x="3651463" y="2232904"/>
                      <a:pt x="3648714" y="2217847"/>
                    </a:cubicBezTo>
                    <a:cubicBezTo>
                      <a:pt x="3645965" y="2204158"/>
                      <a:pt x="3630849" y="2175412"/>
                      <a:pt x="3623977" y="2174043"/>
                    </a:cubicBezTo>
                    <a:cubicBezTo>
                      <a:pt x="3617106" y="2172675"/>
                      <a:pt x="3617106" y="2137084"/>
                      <a:pt x="3607486" y="2135715"/>
                    </a:cubicBezTo>
                    <a:cubicBezTo>
                      <a:pt x="3597867" y="2135715"/>
                      <a:pt x="3593744" y="2115182"/>
                      <a:pt x="3585498" y="2109706"/>
                    </a:cubicBezTo>
                    <a:cubicBezTo>
                      <a:pt x="3577253" y="2104231"/>
                      <a:pt x="3560762" y="2082329"/>
                      <a:pt x="3563510" y="2072747"/>
                    </a:cubicBezTo>
                    <a:cubicBezTo>
                      <a:pt x="3564198" y="2071036"/>
                      <a:pt x="3565057" y="2070694"/>
                      <a:pt x="3566152" y="2071122"/>
                    </a:cubicBezTo>
                    <a:close/>
                    <a:moveTo>
                      <a:pt x="3902149" y="2050028"/>
                    </a:moveTo>
                    <a:cubicBezTo>
                      <a:pt x="3907643" y="2050028"/>
                      <a:pt x="3917256" y="2059625"/>
                      <a:pt x="3917256" y="2065109"/>
                    </a:cubicBezTo>
                    <a:cubicBezTo>
                      <a:pt x="3917256" y="2070593"/>
                      <a:pt x="3926870" y="2070593"/>
                      <a:pt x="3930989" y="2069222"/>
                    </a:cubicBezTo>
                    <a:cubicBezTo>
                      <a:pt x="3935109" y="2067851"/>
                      <a:pt x="3943349" y="2073335"/>
                      <a:pt x="3941976" y="2080190"/>
                    </a:cubicBezTo>
                    <a:cubicBezTo>
                      <a:pt x="3940603" y="2087045"/>
                      <a:pt x="3922749" y="2082932"/>
                      <a:pt x="3928243" y="2088416"/>
                    </a:cubicBezTo>
                    <a:cubicBezTo>
                      <a:pt x="3930989" y="2092530"/>
                      <a:pt x="3922749" y="2096643"/>
                      <a:pt x="3917256" y="2099385"/>
                    </a:cubicBezTo>
                    <a:cubicBezTo>
                      <a:pt x="3917256" y="2099385"/>
                      <a:pt x="3915883" y="2100756"/>
                      <a:pt x="3915883" y="2100756"/>
                    </a:cubicBezTo>
                    <a:cubicBezTo>
                      <a:pt x="3910389" y="2104869"/>
                      <a:pt x="3920002" y="2114466"/>
                      <a:pt x="3914509" y="2114466"/>
                    </a:cubicBezTo>
                    <a:cubicBezTo>
                      <a:pt x="3907643" y="2115837"/>
                      <a:pt x="3915883" y="2126805"/>
                      <a:pt x="3920002" y="2132289"/>
                    </a:cubicBezTo>
                    <a:cubicBezTo>
                      <a:pt x="3924122" y="2136402"/>
                      <a:pt x="3918629" y="2143258"/>
                      <a:pt x="3924122" y="2147371"/>
                    </a:cubicBezTo>
                    <a:cubicBezTo>
                      <a:pt x="3930989" y="2150113"/>
                      <a:pt x="3939229" y="2158339"/>
                      <a:pt x="3935109" y="2162452"/>
                    </a:cubicBezTo>
                    <a:cubicBezTo>
                      <a:pt x="3932363" y="2166565"/>
                      <a:pt x="3910389" y="2166565"/>
                      <a:pt x="3911763" y="2178905"/>
                    </a:cubicBezTo>
                    <a:cubicBezTo>
                      <a:pt x="3913136" y="2189873"/>
                      <a:pt x="3910389" y="2200841"/>
                      <a:pt x="3902149" y="2207696"/>
                    </a:cubicBezTo>
                    <a:cubicBezTo>
                      <a:pt x="3893910" y="2213180"/>
                      <a:pt x="3899403" y="2246085"/>
                      <a:pt x="3889790" y="2250198"/>
                    </a:cubicBezTo>
                    <a:cubicBezTo>
                      <a:pt x="3881550" y="2254311"/>
                      <a:pt x="3867817" y="2261166"/>
                      <a:pt x="3866443" y="2254311"/>
                    </a:cubicBezTo>
                    <a:cubicBezTo>
                      <a:pt x="3866443" y="2247456"/>
                      <a:pt x="3851337" y="2244714"/>
                      <a:pt x="3847217" y="2243343"/>
                    </a:cubicBezTo>
                    <a:cubicBezTo>
                      <a:pt x="3841724" y="2241972"/>
                      <a:pt x="3827991" y="2250198"/>
                      <a:pt x="3825244" y="2246085"/>
                    </a:cubicBezTo>
                    <a:cubicBezTo>
                      <a:pt x="3823871" y="2240601"/>
                      <a:pt x="3819751" y="2233746"/>
                      <a:pt x="3812884" y="2237859"/>
                    </a:cubicBezTo>
                    <a:cubicBezTo>
                      <a:pt x="3807391" y="2243343"/>
                      <a:pt x="3797778" y="2225520"/>
                      <a:pt x="3797778" y="2213180"/>
                    </a:cubicBezTo>
                    <a:cubicBezTo>
                      <a:pt x="3797778" y="2200841"/>
                      <a:pt x="3788165" y="2200841"/>
                      <a:pt x="3784045" y="2193986"/>
                    </a:cubicBezTo>
                    <a:cubicBezTo>
                      <a:pt x="3781298" y="2188502"/>
                      <a:pt x="3782672" y="2176163"/>
                      <a:pt x="3775805" y="2167936"/>
                    </a:cubicBezTo>
                    <a:cubicBezTo>
                      <a:pt x="3770312" y="2161081"/>
                      <a:pt x="3779925" y="2141886"/>
                      <a:pt x="3786791" y="2141886"/>
                    </a:cubicBezTo>
                    <a:cubicBezTo>
                      <a:pt x="3786791" y="2141886"/>
                      <a:pt x="3786791" y="2141886"/>
                      <a:pt x="3788165" y="2141886"/>
                    </a:cubicBezTo>
                    <a:cubicBezTo>
                      <a:pt x="3795031" y="2143258"/>
                      <a:pt x="3808764" y="2155597"/>
                      <a:pt x="3811511" y="2148742"/>
                    </a:cubicBezTo>
                    <a:cubicBezTo>
                      <a:pt x="3814258" y="2141886"/>
                      <a:pt x="3808764" y="2125434"/>
                      <a:pt x="3822498" y="2124063"/>
                    </a:cubicBezTo>
                    <a:cubicBezTo>
                      <a:pt x="3834857" y="2124063"/>
                      <a:pt x="3843097" y="2126805"/>
                      <a:pt x="3844470" y="2115837"/>
                    </a:cubicBezTo>
                    <a:cubicBezTo>
                      <a:pt x="3847217" y="2104869"/>
                      <a:pt x="3855457" y="2089788"/>
                      <a:pt x="3859577" y="2089788"/>
                    </a:cubicBezTo>
                    <a:cubicBezTo>
                      <a:pt x="3863697" y="2089788"/>
                      <a:pt x="3870563" y="2096643"/>
                      <a:pt x="3870563" y="2092530"/>
                    </a:cubicBezTo>
                    <a:cubicBezTo>
                      <a:pt x="3870563" y="2088416"/>
                      <a:pt x="3874683" y="2088416"/>
                      <a:pt x="3878803" y="2087045"/>
                    </a:cubicBezTo>
                    <a:cubicBezTo>
                      <a:pt x="3880177" y="2087045"/>
                      <a:pt x="3881550" y="2085674"/>
                      <a:pt x="3881550" y="2082932"/>
                    </a:cubicBezTo>
                    <a:cubicBezTo>
                      <a:pt x="3880177" y="2074706"/>
                      <a:pt x="3889790" y="2074706"/>
                      <a:pt x="3889790" y="2069222"/>
                    </a:cubicBezTo>
                    <a:cubicBezTo>
                      <a:pt x="3891163" y="2063738"/>
                      <a:pt x="3896656" y="2050028"/>
                      <a:pt x="3902149" y="2050028"/>
                    </a:cubicBezTo>
                    <a:close/>
                    <a:moveTo>
                      <a:pt x="3340544" y="1992878"/>
                    </a:moveTo>
                    <a:cubicBezTo>
                      <a:pt x="3344735" y="1992878"/>
                      <a:pt x="3367087" y="2022121"/>
                      <a:pt x="3367087" y="2037439"/>
                    </a:cubicBezTo>
                    <a:cubicBezTo>
                      <a:pt x="3367087" y="2054150"/>
                      <a:pt x="3351720" y="2072253"/>
                      <a:pt x="3341941" y="2065290"/>
                    </a:cubicBezTo>
                    <a:cubicBezTo>
                      <a:pt x="3333559" y="2058327"/>
                      <a:pt x="3334956" y="2047187"/>
                      <a:pt x="3333559" y="2036047"/>
                    </a:cubicBezTo>
                    <a:cubicBezTo>
                      <a:pt x="3333559" y="2026299"/>
                      <a:pt x="3332162" y="2017944"/>
                      <a:pt x="3334956" y="2010981"/>
                    </a:cubicBezTo>
                    <a:cubicBezTo>
                      <a:pt x="3337750" y="2004018"/>
                      <a:pt x="3336353" y="1992878"/>
                      <a:pt x="3340544" y="1992878"/>
                    </a:cubicBezTo>
                    <a:close/>
                    <a:moveTo>
                      <a:pt x="4047361" y="1991303"/>
                    </a:moveTo>
                    <a:cubicBezTo>
                      <a:pt x="4050620" y="1990962"/>
                      <a:pt x="4054394" y="1993349"/>
                      <a:pt x="4054394" y="2000170"/>
                    </a:cubicBezTo>
                    <a:cubicBezTo>
                      <a:pt x="4054394" y="2013813"/>
                      <a:pt x="4063999" y="2034277"/>
                      <a:pt x="4058510" y="2042463"/>
                    </a:cubicBezTo>
                    <a:cubicBezTo>
                      <a:pt x="4053021" y="2049284"/>
                      <a:pt x="4042043" y="2043827"/>
                      <a:pt x="4042043" y="2050648"/>
                    </a:cubicBezTo>
                    <a:cubicBezTo>
                      <a:pt x="4042043" y="2056105"/>
                      <a:pt x="4047532" y="2073841"/>
                      <a:pt x="4042043" y="2073841"/>
                    </a:cubicBezTo>
                    <a:cubicBezTo>
                      <a:pt x="4036555" y="2073841"/>
                      <a:pt x="4036555" y="2067019"/>
                      <a:pt x="4025577" y="2064291"/>
                    </a:cubicBezTo>
                    <a:cubicBezTo>
                      <a:pt x="4014599" y="2061562"/>
                      <a:pt x="4021460" y="2032913"/>
                      <a:pt x="4013226" y="2031549"/>
                    </a:cubicBezTo>
                    <a:cubicBezTo>
                      <a:pt x="4004993" y="2030184"/>
                      <a:pt x="4006365" y="2037006"/>
                      <a:pt x="4000876" y="2037006"/>
                    </a:cubicBezTo>
                    <a:cubicBezTo>
                      <a:pt x="3995387" y="2035641"/>
                      <a:pt x="3992643" y="2045191"/>
                      <a:pt x="3987154" y="2045191"/>
                    </a:cubicBezTo>
                    <a:cubicBezTo>
                      <a:pt x="3983037" y="2046555"/>
                      <a:pt x="3985782" y="2028820"/>
                      <a:pt x="3992643" y="2026091"/>
                    </a:cubicBezTo>
                    <a:cubicBezTo>
                      <a:pt x="3999504" y="2023363"/>
                      <a:pt x="4006365" y="2009720"/>
                      <a:pt x="4011854" y="2013813"/>
                    </a:cubicBezTo>
                    <a:cubicBezTo>
                      <a:pt x="4015971" y="2016542"/>
                      <a:pt x="4025577" y="2023363"/>
                      <a:pt x="4025577" y="2016542"/>
                    </a:cubicBezTo>
                    <a:cubicBezTo>
                      <a:pt x="4025577" y="2011085"/>
                      <a:pt x="4033810" y="2016542"/>
                      <a:pt x="4035182" y="2008356"/>
                    </a:cubicBezTo>
                    <a:cubicBezTo>
                      <a:pt x="4035182" y="2000170"/>
                      <a:pt x="4047532" y="2006992"/>
                      <a:pt x="4043416" y="1998806"/>
                    </a:cubicBezTo>
                    <a:cubicBezTo>
                      <a:pt x="4041357" y="1994714"/>
                      <a:pt x="4044102" y="1991644"/>
                      <a:pt x="4047361" y="1991303"/>
                    </a:cubicBezTo>
                    <a:close/>
                    <a:moveTo>
                      <a:pt x="4027853" y="1988856"/>
                    </a:moveTo>
                    <a:cubicBezTo>
                      <a:pt x="4032249" y="1994360"/>
                      <a:pt x="4017595" y="2003991"/>
                      <a:pt x="4014665" y="1998487"/>
                    </a:cubicBezTo>
                    <a:cubicBezTo>
                      <a:pt x="4013199" y="1994360"/>
                      <a:pt x="4023457" y="1983353"/>
                      <a:pt x="4027853" y="1988856"/>
                    </a:cubicBezTo>
                    <a:close/>
                    <a:moveTo>
                      <a:pt x="1090555" y="1970837"/>
                    </a:moveTo>
                    <a:cubicBezTo>
                      <a:pt x="1093447" y="1969830"/>
                      <a:pt x="1097189" y="1969494"/>
                      <a:pt x="1099230" y="1971509"/>
                    </a:cubicBezTo>
                    <a:cubicBezTo>
                      <a:pt x="1101951" y="1974196"/>
                      <a:pt x="1103312" y="1979569"/>
                      <a:pt x="1099230" y="1982256"/>
                    </a:cubicBezTo>
                    <a:cubicBezTo>
                      <a:pt x="1096508" y="1983599"/>
                      <a:pt x="1089705" y="1984942"/>
                      <a:pt x="1088344" y="1983599"/>
                    </a:cubicBezTo>
                    <a:cubicBezTo>
                      <a:pt x="1085622" y="1980912"/>
                      <a:pt x="1091065" y="1976882"/>
                      <a:pt x="1086983" y="1974196"/>
                    </a:cubicBezTo>
                    <a:cubicBezTo>
                      <a:pt x="1085623" y="1973524"/>
                      <a:pt x="1087664" y="1971845"/>
                      <a:pt x="1090555" y="1970837"/>
                    </a:cubicBezTo>
                    <a:close/>
                    <a:moveTo>
                      <a:pt x="3943284" y="1965303"/>
                    </a:moveTo>
                    <a:cubicBezTo>
                      <a:pt x="3944140" y="1964455"/>
                      <a:pt x="3944910" y="1964625"/>
                      <a:pt x="3945594" y="1966320"/>
                    </a:cubicBezTo>
                    <a:cubicBezTo>
                      <a:pt x="3948331" y="1973100"/>
                      <a:pt x="3949699" y="1979880"/>
                      <a:pt x="3941488" y="1986660"/>
                    </a:cubicBezTo>
                    <a:cubicBezTo>
                      <a:pt x="3933277" y="1993440"/>
                      <a:pt x="3915486" y="2024628"/>
                      <a:pt x="3912749" y="2017848"/>
                    </a:cubicBezTo>
                    <a:cubicBezTo>
                      <a:pt x="3910012" y="2013780"/>
                      <a:pt x="3926434" y="1997508"/>
                      <a:pt x="3933277" y="1986660"/>
                    </a:cubicBezTo>
                    <a:cubicBezTo>
                      <a:pt x="3937383" y="1979541"/>
                      <a:pt x="3940718" y="1967845"/>
                      <a:pt x="3943284" y="1965303"/>
                    </a:cubicBezTo>
                    <a:close/>
                    <a:moveTo>
                      <a:pt x="3986705" y="1951381"/>
                    </a:moveTo>
                    <a:cubicBezTo>
                      <a:pt x="3993547" y="1950015"/>
                      <a:pt x="4012707" y="1966407"/>
                      <a:pt x="4011338" y="1973237"/>
                    </a:cubicBezTo>
                    <a:cubicBezTo>
                      <a:pt x="4009970" y="1980067"/>
                      <a:pt x="4015444" y="1971871"/>
                      <a:pt x="4016812" y="1977335"/>
                    </a:cubicBezTo>
                    <a:cubicBezTo>
                      <a:pt x="4019549" y="1981433"/>
                      <a:pt x="4007233" y="2008753"/>
                      <a:pt x="4000390" y="2007387"/>
                    </a:cubicBezTo>
                    <a:cubicBezTo>
                      <a:pt x="3993547" y="2004655"/>
                      <a:pt x="3993547" y="1990995"/>
                      <a:pt x="3997653" y="1986897"/>
                    </a:cubicBezTo>
                    <a:cubicBezTo>
                      <a:pt x="4001759" y="1981433"/>
                      <a:pt x="3996284" y="1965041"/>
                      <a:pt x="3996284" y="1971871"/>
                    </a:cubicBezTo>
                    <a:cubicBezTo>
                      <a:pt x="3996284" y="1977335"/>
                      <a:pt x="3990810" y="1975969"/>
                      <a:pt x="3988073" y="1977335"/>
                    </a:cubicBezTo>
                    <a:cubicBezTo>
                      <a:pt x="3982599" y="1978701"/>
                      <a:pt x="3979862" y="1952747"/>
                      <a:pt x="3986705" y="1951381"/>
                    </a:cubicBezTo>
                    <a:close/>
                    <a:moveTo>
                      <a:pt x="3962149" y="1922121"/>
                    </a:moveTo>
                    <a:cubicBezTo>
                      <a:pt x="3960812" y="1916678"/>
                      <a:pt x="3986212" y="1938449"/>
                      <a:pt x="3976854" y="1942531"/>
                    </a:cubicBezTo>
                    <a:cubicBezTo>
                      <a:pt x="3966160" y="1945253"/>
                      <a:pt x="3963486" y="1930285"/>
                      <a:pt x="3962149" y="1922121"/>
                    </a:cubicBezTo>
                    <a:close/>
                    <a:moveTo>
                      <a:pt x="3963562" y="1822378"/>
                    </a:moveTo>
                    <a:cubicBezTo>
                      <a:pt x="3970382" y="1818253"/>
                      <a:pt x="3984021" y="1827878"/>
                      <a:pt x="3986749" y="1825128"/>
                    </a:cubicBezTo>
                    <a:cubicBezTo>
                      <a:pt x="3989476" y="1822378"/>
                      <a:pt x="3990840" y="1825128"/>
                      <a:pt x="3989476" y="1832003"/>
                    </a:cubicBezTo>
                    <a:cubicBezTo>
                      <a:pt x="3988113" y="1838878"/>
                      <a:pt x="3996296" y="1854003"/>
                      <a:pt x="3990840" y="1862253"/>
                    </a:cubicBezTo>
                    <a:cubicBezTo>
                      <a:pt x="3984021" y="1871878"/>
                      <a:pt x="3974474" y="1882878"/>
                      <a:pt x="3979929" y="1889753"/>
                    </a:cubicBezTo>
                    <a:cubicBezTo>
                      <a:pt x="3985385" y="1896628"/>
                      <a:pt x="3979929" y="1913128"/>
                      <a:pt x="3988113" y="1907628"/>
                    </a:cubicBezTo>
                    <a:cubicBezTo>
                      <a:pt x="3994932" y="1902128"/>
                      <a:pt x="4008571" y="1906253"/>
                      <a:pt x="4009935" y="1911753"/>
                    </a:cubicBezTo>
                    <a:cubicBezTo>
                      <a:pt x="4009935" y="1917253"/>
                      <a:pt x="4020846" y="1920003"/>
                      <a:pt x="4020846" y="1928253"/>
                    </a:cubicBezTo>
                    <a:cubicBezTo>
                      <a:pt x="4020846" y="1937878"/>
                      <a:pt x="4034485" y="1933753"/>
                      <a:pt x="4038577" y="1943378"/>
                    </a:cubicBezTo>
                    <a:cubicBezTo>
                      <a:pt x="4041305" y="1953003"/>
                      <a:pt x="4048124" y="1962628"/>
                      <a:pt x="4042669" y="1966753"/>
                    </a:cubicBezTo>
                    <a:cubicBezTo>
                      <a:pt x="4035849" y="1972253"/>
                      <a:pt x="4034485" y="1972253"/>
                      <a:pt x="4034485" y="1977753"/>
                    </a:cubicBezTo>
                    <a:cubicBezTo>
                      <a:pt x="4035849" y="1984628"/>
                      <a:pt x="4031757" y="1992878"/>
                      <a:pt x="4030394" y="1983253"/>
                    </a:cubicBezTo>
                    <a:cubicBezTo>
                      <a:pt x="4029030" y="1975003"/>
                      <a:pt x="4018118" y="1966753"/>
                      <a:pt x="4022210" y="1959878"/>
                    </a:cubicBezTo>
                    <a:cubicBezTo>
                      <a:pt x="4026302" y="1953003"/>
                      <a:pt x="4019482" y="1946128"/>
                      <a:pt x="4015391" y="1951628"/>
                    </a:cubicBezTo>
                    <a:cubicBezTo>
                      <a:pt x="4011299" y="1955753"/>
                      <a:pt x="4008571" y="1939253"/>
                      <a:pt x="4011299" y="1933753"/>
                    </a:cubicBezTo>
                    <a:cubicBezTo>
                      <a:pt x="4012663" y="1929628"/>
                      <a:pt x="4000388" y="1915878"/>
                      <a:pt x="3992204" y="1917253"/>
                    </a:cubicBezTo>
                    <a:cubicBezTo>
                      <a:pt x="3982657" y="1918628"/>
                      <a:pt x="3986749" y="1907628"/>
                      <a:pt x="3977201" y="1911753"/>
                    </a:cubicBezTo>
                    <a:cubicBezTo>
                      <a:pt x="3969018" y="1915878"/>
                      <a:pt x="3959471" y="1914503"/>
                      <a:pt x="3960835" y="1906253"/>
                    </a:cubicBezTo>
                    <a:cubicBezTo>
                      <a:pt x="3963562" y="1896628"/>
                      <a:pt x="3960835" y="1891128"/>
                      <a:pt x="3956743" y="1891128"/>
                    </a:cubicBezTo>
                    <a:cubicBezTo>
                      <a:pt x="3954015" y="1891128"/>
                      <a:pt x="3951287" y="1870503"/>
                      <a:pt x="3952651" y="1865003"/>
                    </a:cubicBezTo>
                    <a:cubicBezTo>
                      <a:pt x="3954015" y="1860878"/>
                      <a:pt x="3958107" y="1870503"/>
                      <a:pt x="3960835" y="1867753"/>
                    </a:cubicBezTo>
                    <a:cubicBezTo>
                      <a:pt x="3963562" y="1865003"/>
                      <a:pt x="3958107" y="1827878"/>
                      <a:pt x="3963562" y="1822378"/>
                    </a:cubicBezTo>
                    <a:close/>
                    <a:moveTo>
                      <a:pt x="826208" y="1818970"/>
                    </a:moveTo>
                    <a:cubicBezTo>
                      <a:pt x="835647" y="1818003"/>
                      <a:pt x="856568" y="1822646"/>
                      <a:pt x="854527" y="1828838"/>
                    </a:cubicBezTo>
                    <a:cubicBezTo>
                      <a:pt x="851806" y="1835717"/>
                      <a:pt x="824592" y="1827462"/>
                      <a:pt x="821870" y="1821958"/>
                    </a:cubicBezTo>
                    <a:cubicBezTo>
                      <a:pt x="821190" y="1820239"/>
                      <a:pt x="823061" y="1819293"/>
                      <a:pt x="826208" y="1818970"/>
                    </a:cubicBezTo>
                    <a:close/>
                    <a:moveTo>
                      <a:pt x="1013328" y="1817086"/>
                    </a:moveTo>
                    <a:cubicBezTo>
                      <a:pt x="1020884" y="1817413"/>
                      <a:pt x="1028944" y="1820028"/>
                      <a:pt x="1027600" y="1823950"/>
                    </a:cubicBezTo>
                    <a:cubicBezTo>
                      <a:pt x="1026257" y="1829179"/>
                      <a:pt x="1007451" y="1835716"/>
                      <a:pt x="1002078" y="1823950"/>
                    </a:cubicBezTo>
                    <a:cubicBezTo>
                      <a:pt x="998720" y="1818721"/>
                      <a:pt x="1005772" y="1816760"/>
                      <a:pt x="1013328" y="1817086"/>
                    </a:cubicBezTo>
                    <a:close/>
                    <a:moveTo>
                      <a:pt x="3803668" y="1790888"/>
                    </a:moveTo>
                    <a:cubicBezTo>
                      <a:pt x="3807643" y="1791061"/>
                      <a:pt x="3811100" y="1791752"/>
                      <a:pt x="3811791" y="1793826"/>
                    </a:cubicBezTo>
                    <a:cubicBezTo>
                      <a:pt x="3813174" y="1797974"/>
                      <a:pt x="3803495" y="1809035"/>
                      <a:pt x="3803495" y="1815949"/>
                    </a:cubicBezTo>
                    <a:cubicBezTo>
                      <a:pt x="3803495" y="1822862"/>
                      <a:pt x="3782756" y="1832541"/>
                      <a:pt x="3775842" y="1817331"/>
                    </a:cubicBezTo>
                    <a:cubicBezTo>
                      <a:pt x="3770312" y="1802122"/>
                      <a:pt x="3785521" y="1791061"/>
                      <a:pt x="3792434" y="1791061"/>
                    </a:cubicBezTo>
                    <a:cubicBezTo>
                      <a:pt x="3795200" y="1791061"/>
                      <a:pt x="3799693" y="1790715"/>
                      <a:pt x="3803668" y="1790888"/>
                    </a:cubicBezTo>
                    <a:close/>
                    <a:moveTo>
                      <a:pt x="904829" y="1787448"/>
                    </a:moveTo>
                    <a:cubicBezTo>
                      <a:pt x="908988" y="1783329"/>
                      <a:pt x="920078" y="1790194"/>
                      <a:pt x="929782" y="1792940"/>
                    </a:cubicBezTo>
                    <a:cubicBezTo>
                      <a:pt x="932554" y="1792940"/>
                      <a:pt x="936713" y="1794313"/>
                      <a:pt x="938099" y="1792940"/>
                    </a:cubicBezTo>
                    <a:cubicBezTo>
                      <a:pt x="946417" y="1790194"/>
                      <a:pt x="981074" y="1802551"/>
                      <a:pt x="981074" y="1813535"/>
                    </a:cubicBezTo>
                    <a:cubicBezTo>
                      <a:pt x="981074" y="1825891"/>
                      <a:pt x="960280" y="1816280"/>
                      <a:pt x="947803" y="1821772"/>
                    </a:cubicBezTo>
                    <a:cubicBezTo>
                      <a:pt x="935327" y="1827264"/>
                      <a:pt x="933941" y="1834129"/>
                      <a:pt x="927009" y="1830010"/>
                    </a:cubicBezTo>
                    <a:cubicBezTo>
                      <a:pt x="921464" y="1825891"/>
                      <a:pt x="914533" y="1821772"/>
                      <a:pt x="904829" y="1825891"/>
                    </a:cubicBezTo>
                    <a:cubicBezTo>
                      <a:pt x="893739" y="1830010"/>
                      <a:pt x="882649" y="1824518"/>
                      <a:pt x="884035" y="1820399"/>
                    </a:cubicBezTo>
                    <a:cubicBezTo>
                      <a:pt x="886808" y="1812162"/>
                      <a:pt x="914533" y="1820399"/>
                      <a:pt x="914533" y="1813535"/>
                    </a:cubicBezTo>
                    <a:cubicBezTo>
                      <a:pt x="914533" y="1805297"/>
                      <a:pt x="896511" y="1792940"/>
                      <a:pt x="904829" y="1787448"/>
                    </a:cubicBezTo>
                    <a:close/>
                    <a:moveTo>
                      <a:pt x="758716" y="1726702"/>
                    </a:moveTo>
                    <a:cubicBezTo>
                      <a:pt x="765663" y="1725389"/>
                      <a:pt x="773273" y="1725475"/>
                      <a:pt x="781140" y="1727886"/>
                    </a:cubicBezTo>
                    <a:cubicBezTo>
                      <a:pt x="812606" y="1736153"/>
                      <a:pt x="848176" y="1765087"/>
                      <a:pt x="857753" y="1765087"/>
                    </a:cubicBezTo>
                    <a:cubicBezTo>
                      <a:pt x="868697" y="1765087"/>
                      <a:pt x="890587" y="1781621"/>
                      <a:pt x="887851" y="1785755"/>
                    </a:cubicBezTo>
                    <a:cubicBezTo>
                      <a:pt x="885114" y="1789888"/>
                      <a:pt x="844072" y="1791266"/>
                      <a:pt x="835863" y="1787133"/>
                    </a:cubicBezTo>
                    <a:cubicBezTo>
                      <a:pt x="829023" y="1784377"/>
                      <a:pt x="844072" y="1776110"/>
                      <a:pt x="829023" y="1771977"/>
                    </a:cubicBezTo>
                    <a:cubicBezTo>
                      <a:pt x="812606" y="1767843"/>
                      <a:pt x="811238" y="1751309"/>
                      <a:pt x="794820" y="1751309"/>
                    </a:cubicBezTo>
                    <a:cubicBezTo>
                      <a:pt x="778403" y="1749931"/>
                      <a:pt x="768827" y="1747176"/>
                      <a:pt x="768827" y="1743042"/>
                    </a:cubicBezTo>
                    <a:cubicBezTo>
                      <a:pt x="767459" y="1738909"/>
                      <a:pt x="760618" y="1729264"/>
                      <a:pt x="752410" y="1736153"/>
                    </a:cubicBezTo>
                    <a:cubicBezTo>
                      <a:pt x="745569" y="1743042"/>
                      <a:pt x="729152" y="1758198"/>
                      <a:pt x="725048" y="1751309"/>
                    </a:cubicBezTo>
                    <a:cubicBezTo>
                      <a:pt x="722996" y="1747176"/>
                      <a:pt x="737874" y="1730642"/>
                      <a:pt x="758716" y="1726702"/>
                    </a:cubicBezTo>
                    <a:close/>
                    <a:moveTo>
                      <a:pt x="3986917" y="1688739"/>
                    </a:moveTo>
                    <a:cubicBezTo>
                      <a:pt x="3990974" y="1695519"/>
                      <a:pt x="3972042" y="1744335"/>
                      <a:pt x="3967985" y="1747047"/>
                    </a:cubicBezTo>
                    <a:cubicBezTo>
                      <a:pt x="3966633" y="1748403"/>
                      <a:pt x="3954462" y="1737555"/>
                      <a:pt x="3959871" y="1715859"/>
                    </a:cubicBezTo>
                    <a:cubicBezTo>
                      <a:pt x="3965281" y="1692807"/>
                      <a:pt x="3982860" y="1683315"/>
                      <a:pt x="3986917" y="1688739"/>
                    </a:cubicBezTo>
                    <a:close/>
                    <a:moveTo>
                      <a:pt x="824288" y="1683975"/>
                    </a:moveTo>
                    <a:cubicBezTo>
                      <a:pt x="825538" y="1682808"/>
                      <a:pt x="827324" y="1683475"/>
                      <a:pt x="829467" y="1686809"/>
                    </a:cubicBezTo>
                    <a:cubicBezTo>
                      <a:pt x="832325" y="1693476"/>
                      <a:pt x="829467" y="1697477"/>
                      <a:pt x="830896" y="1700144"/>
                    </a:cubicBezTo>
                    <a:cubicBezTo>
                      <a:pt x="830896" y="1702811"/>
                      <a:pt x="836611" y="1706812"/>
                      <a:pt x="835182" y="1712146"/>
                    </a:cubicBezTo>
                    <a:cubicBezTo>
                      <a:pt x="833753" y="1713479"/>
                      <a:pt x="828039" y="1708145"/>
                      <a:pt x="828039" y="1704144"/>
                    </a:cubicBezTo>
                    <a:cubicBezTo>
                      <a:pt x="828039" y="1700144"/>
                      <a:pt x="822324" y="1698810"/>
                      <a:pt x="822324" y="1692143"/>
                    </a:cubicBezTo>
                    <a:cubicBezTo>
                      <a:pt x="822324" y="1688142"/>
                      <a:pt x="823038" y="1685142"/>
                      <a:pt x="824288" y="1683975"/>
                    </a:cubicBezTo>
                    <a:close/>
                    <a:moveTo>
                      <a:pt x="4127138" y="1508257"/>
                    </a:moveTo>
                    <a:cubicBezTo>
                      <a:pt x="4129664" y="1507571"/>
                      <a:pt x="4131348" y="1508257"/>
                      <a:pt x="4131348" y="1510999"/>
                    </a:cubicBezTo>
                    <a:cubicBezTo>
                      <a:pt x="4132695" y="1515112"/>
                      <a:pt x="4142123" y="1513741"/>
                      <a:pt x="4142123" y="1520596"/>
                    </a:cubicBezTo>
                    <a:cubicBezTo>
                      <a:pt x="4142123" y="1526080"/>
                      <a:pt x="4152899" y="1521967"/>
                      <a:pt x="4144817" y="1532935"/>
                    </a:cubicBezTo>
                    <a:cubicBezTo>
                      <a:pt x="4138083" y="1542532"/>
                      <a:pt x="4132695" y="1563098"/>
                      <a:pt x="4127307" y="1564469"/>
                    </a:cubicBezTo>
                    <a:cubicBezTo>
                      <a:pt x="4121919" y="1565840"/>
                      <a:pt x="4117878" y="1552130"/>
                      <a:pt x="4121919" y="1541161"/>
                    </a:cubicBezTo>
                    <a:cubicBezTo>
                      <a:pt x="4125960" y="1531564"/>
                      <a:pt x="4121919" y="1516483"/>
                      <a:pt x="4119225" y="1521967"/>
                    </a:cubicBezTo>
                    <a:cubicBezTo>
                      <a:pt x="4117878" y="1528822"/>
                      <a:pt x="4113837" y="1534306"/>
                      <a:pt x="4111143" y="1527451"/>
                    </a:cubicBezTo>
                    <a:cubicBezTo>
                      <a:pt x="4108449" y="1521967"/>
                      <a:pt x="4111143" y="1520596"/>
                      <a:pt x="4117878" y="1513741"/>
                    </a:cubicBezTo>
                    <a:cubicBezTo>
                      <a:pt x="4121246" y="1510999"/>
                      <a:pt x="4124613" y="1508942"/>
                      <a:pt x="4127138" y="1508257"/>
                    </a:cubicBezTo>
                    <a:close/>
                    <a:moveTo>
                      <a:pt x="4184026" y="1494686"/>
                    </a:moveTo>
                    <a:cubicBezTo>
                      <a:pt x="4187597" y="1494856"/>
                      <a:pt x="4190999" y="1496897"/>
                      <a:pt x="4190999" y="1500979"/>
                    </a:cubicBezTo>
                    <a:cubicBezTo>
                      <a:pt x="4190999" y="1509143"/>
                      <a:pt x="4185556" y="1521390"/>
                      <a:pt x="4180114" y="1518668"/>
                    </a:cubicBezTo>
                    <a:cubicBezTo>
                      <a:pt x="4176031" y="1514586"/>
                      <a:pt x="4169228" y="1517308"/>
                      <a:pt x="4167867" y="1524111"/>
                    </a:cubicBezTo>
                    <a:cubicBezTo>
                      <a:pt x="4166506" y="1530915"/>
                      <a:pt x="4162424" y="1530915"/>
                      <a:pt x="4158342" y="1529554"/>
                    </a:cubicBezTo>
                    <a:cubicBezTo>
                      <a:pt x="4152899" y="1526833"/>
                      <a:pt x="4152899" y="1506422"/>
                      <a:pt x="4161064" y="1503701"/>
                    </a:cubicBezTo>
                    <a:cubicBezTo>
                      <a:pt x="4167867" y="1502340"/>
                      <a:pt x="4173310" y="1505061"/>
                      <a:pt x="4176031" y="1499618"/>
                    </a:cubicBezTo>
                    <a:cubicBezTo>
                      <a:pt x="4176712" y="1496217"/>
                      <a:pt x="4180454" y="1494516"/>
                      <a:pt x="4184026" y="1494686"/>
                    </a:cubicBezTo>
                    <a:close/>
                    <a:moveTo>
                      <a:pt x="2316120" y="1407855"/>
                    </a:moveTo>
                    <a:cubicBezTo>
                      <a:pt x="2318321" y="1408191"/>
                      <a:pt x="2319336" y="1408862"/>
                      <a:pt x="2319336" y="1409534"/>
                    </a:cubicBezTo>
                    <a:cubicBezTo>
                      <a:pt x="2317982" y="1410877"/>
                      <a:pt x="2311212" y="1420280"/>
                      <a:pt x="2312566" y="1426996"/>
                    </a:cubicBezTo>
                    <a:cubicBezTo>
                      <a:pt x="2313920" y="1435056"/>
                      <a:pt x="2312566" y="1440429"/>
                      <a:pt x="2308504" y="1440429"/>
                    </a:cubicBezTo>
                    <a:cubicBezTo>
                      <a:pt x="2303088" y="1439086"/>
                      <a:pt x="2301734" y="1429683"/>
                      <a:pt x="2290902" y="1426996"/>
                    </a:cubicBezTo>
                    <a:cubicBezTo>
                      <a:pt x="2278715" y="1422967"/>
                      <a:pt x="2274653" y="1418937"/>
                      <a:pt x="2274653" y="1416250"/>
                    </a:cubicBezTo>
                    <a:cubicBezTo>
                      <a:pt x="2273299" y="1412220"/>
                      <a:pt x="2281423" y="1405504"/>
                      <a:pt x="2286840" y="1408191"/>
                    </a:cubicBezTo>
                    <a:cubicBezTo>
                      <a:pt x="2293610" y="1412220"/>
                      <a:pt x="2296318" y="1410877"/>
                      <a:pt x="2305796" y="1408191"/>
                    </a:cubicBezTo>
                    <a:cubicBezTo>
                      <a:pt x="2310535" y="1407519"/>
                      <a:pt x="2313920" y="1407519"/>
                      <a:pt x="2316120" y="1407855"/>
                    </a:cubicBezTo>
                    <a:close/>
                    <a:moveTo>
                      <a:pt x="2124202" y="1370270"/>
                    </a:moveTo>
                    <a:cubicBezTo>
                      <a:pt x="2125860" y="1370421"/>
                      <a:pt x="2127136" y="1371453"/>
                      <a:pt x="2127476" y="1373860"/>
                    </a:cubicBezTo>
                    <a:cubicBezTo>
                      <a:pt x="2128837" y="1383491"/>
                      <a:pt x="2120672" y="1384867"/>
                      <a:pt x="2113869" y="1379364"/>
                    </a:cubicBezTo>
                    <a:cubicBezTo>
                      <a:pt x="2111828" y="1377988"/>
                      <a:pt x="2114889" y="1374204"/>
                      <a:pt x="2118631" y="1371968"/>
                    </a:cubicBezTo>
                    <a:cubicBezTo>
                      <a:pt x="2120502" y="1370851"/>
                      <a:pt x="2122543" y="1370120"/>
                      <a:pt x="2124202" y="1370270"/>
                    </a:cubicBezTo>
                    <a:close/>
                    <a:moveTo>
                      <a:pt x="2225683" y="1342571"/>
                    </a:moveTo>
                    <a:cubicBezTo>
                      <a:pt x="2228939" y="1343932"/>
                      <a:pt x="2231339" y="1346993"/>
                      <a:pt x="2230653" y="1351076"/>
                    </a:cubicBezTo>
                    <a:cubicBezTo>
                      <a:pt x="2227911" y="1359240"/>
                      <a:pt x="2230653" y="1376929"/>
                      <a:pt x="2227911" y="1382372"/>
                    </a:cubicBezTo>
                    <a:cubicBezTo>
                      <a:pt x="2225169" y="1386454"/>
                      <a:pt x="2222427" y="1383733"/>
                      <a:pt x="2216943" y="1390536"/>
                    </a:cubicBezTo>
                    <a:cubicBezTo>
                      <a:pt x="2211459" y="1395979"/>
                      <a:pt x="2208717" y="1382372"/>
                      <a:pt x="2210088" y="1371486"/>
                    </a:cubicBezTo>
                    <a:cubicBezTo>
                      <a:pt x="2212830" y="1360601"/>
                      <a:pt x="2201862" y="1352436"/>
                      <a:pt x="2204604" y="1346993"/>
                    </a:cubicBezTo>
                    <a:cubicBezTo>
                      <a:pt x="2205975" y="1342911"/>
                      <a:pt x="2211459" y="1349715"/>
                      <a:pt x="2215572" y="1344272"/>
                    </a:cubicBezTo>
                    <a:cubicBezTo>
                      <a:pt x="2218314" y="1341551"/>
                      <a:pt x="2222427" y="1341210"/>
                      <a:pt x="2225683" y="1342571"/>
                    </a:cubicBezTo>
                    <a:close/>
                    <a:moveTo>
                      <a:pt x="4296042" y="1341927"/>
                    </a:moveTo>
                    <a:cubicBezTo>
                      <a:pt x="4297719" y="1341949"/>
                      <a:pt x="4298923" y="1342897"/>
                      <a:pt x="4299267" y="1345312"/>
                    </a:cubicBezTo>
                    <a:cubicBezTo>
                      <a:pt x="4299267" y="1356351"/>
                      <a:pt x="4311649" y="1389469"/>
                      <a:pt x="4306146" y="1396369"/>
                    </a:cubicBezTo>
                    <a:cubicBezTo>
                      <a:pt x="4300643" y="1403268"/>
                      <a:pt x="4288260" y="1408788"/>
                      <a:pt x="4291012" y="1417067"/>
                    </a:cubicBezTo>
                    <a:cubicBezTo>
                      <a:pt x="4295139" y="1425347"/>
                      <a:pt x="4291012" y="1440526"/>
                      <a:pt x="4288260" y="1447425"/>
                    </a:cubicBezTo>
                    <a:cubicBezTo>
                      <a:pt x="4284133" y="1452945"/>
                      <a:pt x="4289636" y="1466744"/>
                      <a:pt x="4284133" y="1473644"/>
                    </a:cubicBezTo>
                    <a:cubicBezTo>
                      <a:pt x="4278629" y="1481923"/>
                      <a:pt x="4268999" y="1483303"/>
                      <a:pt x="4268999" y="1476403"/>
                    </a:cubicBezTo>
                    <a:cubicBezTo>
                      <a:pt x="4267623" y="1470884"/>
                      <a:pt x="4264871" y="1487443"/>
                      <a:pt x="4259368" y="1487443"/>
                    </a:cubicBezTo>
                    <a:cubicBezTo>
                      <a:pt x="4253864" y="1488823"/>
                      <a:pt x="4252489" y="1477783"/>
                      <a:pt x="4246985" y="1487443"/>
                    </a:cubicBezTo>
                    <a:cubicBezTo>
                      <a:pt x="4242858" y="1495722"/>
                      <a:pt x="4230475" y="1495722"/>
                      <a:pt x="4227724" y="1488823"/>
                    </a:cubicBezTo>
                    <a:cubicBezTo>
                      <a:pt x="4223596" y="1481923"/>
                      <a:pt x="4216717" y="1486063"/>
                      <a:pt x="4222220" y="1491582"/>
                    </a:cubicBezTo>
                    <a:cubicBezTo>
                      <a:pt x="4227724" y="1497102"/>
                      <a:pt x="4223596" y="1495722"/>
                      <a:pt x="4216717" y="1504002"/>
                    </a:cubicBezTo>
                    <a:cubicBezTo>
                      <a:pt x="4211214" y="1512281"/>
                      <a:pt x="4198831" y="1515041"/>
                      <a:pt x="4197455" y="1505382"/>
                    </a:cubicBezTo>
                    <a:cubicBezTo>
                      <a:pt x="4197455" y="1497102"/>
                      <a:pt x="4205710" y="1487443"/>
                      <a:pt x="4191952" y="1488823"/>
                    </a:cubicBezTo>
                    <a:cubicBezTo>
                      <a:pt x="4176818" y="1488823"/>
                      <a:pt x="4154805" y="1495722"/>
                      <a:pt x="4152053" y="1499862"/>
                    </a:cubicBezTo>
                    <a:cubicBezTo>
                      <a:pt x="4149301" y="1505382"/>
                      <a:pt x="4139671" y="1502622"/>
                      <a:pt x="4134167" y="1505382"/>
                    </a:cubicBezTo>
                    <a:cubicBezTo>
                      <a:pt x="4130040" y="1508141"/>
                      <a:pt x="4125912" y="1495722"/>
                      <a:pt x="4134167" y="1494342"/>
                    </a:cubicBezTo>
                    <a:cubicBezTo>
                      <a:pt x="4142422" y="1492962"/>
                      <a:pt x="4152053" y="1479163"/>
                      <a:pt x="4158932" y="1472264"/>
                    </a:cubicBezTo>
                    <a:cubicBezTo>
                      <a:pt x="4164435" y="1465364"/>
                      <a:pt x="4171315" y="1475024"/>
                      <a:pt x="4182321" y="1470884"/>
                    </a:cubicBezTo>
                    <a:cubicBezTo>
                      <a:pt x="4193328" y="1465364"/>
                      <a:pt x="4201583" y="1462604"/>
                      <a:pt x="4201583" y="1468124"/>
                    </a:cubicBezTo>
                    <a:cubicBezTo>
                      <a:pt x="4200207" y="1472264"/>
                      <a:pt x="4213965" y="1469504"/>
                      <a:pt x="4211214" y="1463984"/>
                    </a:cubicBezTo>
                    <a:cubicBezTo>
                      <a:pt x="4208462" y="1458465"/>
                      <a:pt x="4222220" y="1457085"/>
                      <a:pt x="4220844" y="1444666"/>
                    </a:cubicBezTo>
                    <a:cubicBezTo>
                      <a:pt x="4220844" y="1432246"/>
                      <a:pt x="4234603" y="1423967"/>
                      <a:pt x="4233227" y="1429487"/>
                    </a:cubicBezTo>
                    <a:cubicBezTo>
                      <a:pt x="4230475" y="1435006"/>
                      <a:pt x="4234603" y="1443286"/>
                      <a:pt x="4242858" y="1435006"/>
                    </a:cubicBezTo>
                    <a:cubicBezTo>
                      <a:pt x="4251113" y="1428107"/>
                      <a:pt x="4256616" y="1429487"/>
                      <a:pt x="4257992" y="1421207"/>
                    </a:cubicBezTo>
                    <a:cubicBezTo>
                      <a:pt x="4259368" y="1414308"/>
                      <a:pt x="4267623" y="1414308"/>
                      <a:pt x="4267623" y="1403268"/>
                    </a:cubicBezTo>
                    <a:cubicBezTo>
                      <a:pt x="4267623" y="1392229"/>
                      <a:pt x="4281381" y="1382570"/>
                      <a:pt x="4275878" y="1378430"/>
                    </a:cubicBezTo>
                    <a:cubicBezTo>
                      <a:pt x="4270374" y="1372910"/>
                      <a:pt x="4273126" y="1354972"/>
                      <a:pt x="4278629" y="1352212"/>
                    </a:cubicBezTo>
                    <a:cubicBezTo>
                      <a:pt x="4280693" y="1350832"/>
                      <a:pt x="4285508" y="1346692"/>
                      <a:pt x="4289980" y="1344105"/>
                    </a:cubicBezTo>
                    <a:cubicBezTo>
                      <a:pt x="4292215" y="1342811"/>
                      <a:pt x="4294365" y="1341906"/>
                      <a:pt x="4296042" y="1341927"/>
                    </a:cubicBezTo>
                    <a:close/>
                    <a:moveTo>
                      <a:pt x="2224541" y="1297554"/>
                    </a:moveTo>
                    <a:cubicBezTo>
                      <a:pt x="2227262" y="1297554"/>
                      <a:pt x="2227262" y="1332832"/>
                      <a:pt x="2220459" y="1334243"/>
                    </a:cubicBezTo>
                    <a:cubicBezTo>
                      <a:pt x="2215016" y="1335654"/>
                      <a:pt x="2208212" y="1313076"/>
                      <a:pt x="2215016" y="1307432"/>
                    </a:cubicBezTo>
                    <a:cubicBezTo>
                      <a:pt x="2220459" y="1303198"/>
                      <a:pt x="2221819" y="1297554"/>
                      <a:pt x="2224541" y="1297554"/>
                    </a:cubicBezTo>
                    <a:close/>
                    <a:moveTo>
                      <a:pt x="4305270" y="1246581"/>
                    </a:moveTo>
                    <a:cubicBezTo>
                      <a:pt x="4307832" y="1244865"/>
                      <a:pt x="4311589" y="1245208"/>
                      <a:pt x="4314322" y="1250014"/>
                    </a:cubicBezTo>
                    <a:cubicBezTo>
                      <a:pt x="4319788" y="1260997"/>
                      <a:pt x="4341651" y="1282965"/>
                      <a:pt x="4348484" y="1280219"/>
                    </a:cubicBezTo>
                    <a:cubicBezTo>
                      <a:pt x="4355316" y="1278846"/>
                      <a:pt x="4360782" y="1270608"/>
                      <a:pt x="4364881" y="1276100"/>
                    </a:cubicBezTo>
                    <a:cubicBezTo>
                      <a:pt x="4367614" y="1281592"/>
                      <a:pt x="4378546" y="1266489"/>
                      <a:pt x="4378546" y="1270608"/>
                    </a:cubicBezTo>
                    <a:cubicBezTo>
                      <a:pt x="4379912" y="1276100"/>
                      <a:pt x="4358049" y="1291203"/>
                      <a:pt x="4362148" y="1295322"/>
                    </a:cubicBezTo>
                    <a:cubicBezTo>
                      <a:pt x="4364881" y="1298068"/>
                      <a:pt x="4363515" y="1303560"/>
                      <a:pt x="4353950" y="1303560"/>
                    </a:cubicBezTo>
                    <a:cubicBezTo>
                      <a:pt x="4343018" y="1303560"/>
                      <a:pt x="4332086" y="1307679"/>
                      <a:pt x="4330720" y="1315916"/>
                    </a:cubicBezTo>
                    <a:cubicBezTo>
                      <a:pt x="4329353" y="1325527"/>
                      <a:pt x="4326620" y="1328273"/>
                      <a:pt x="4319788" y="1321408"/>
                    </a:cubicBezTo>
                    <a:cubicBezTo>
                      <a:pt x="4312956" y="1313170"/>
                      <a:pt x="4302024" y="1310424"/>
                      <a:pt x="4296558" y="1314543"/>
                    </a:cubicBezTo>
                    <a:cubicBezTo>
                      <a:pt x="4291093" y="1317289"/>
                      <a:pt x="4284260" y="1310424"/>
                      <a:pt x="4282894" y="1315916"/>
                    </a:cubicBezTo>
                    <a:cubicBezTo>
                      <a:pt x="4282894" y="1321408"/>
                      <a:pt x="4293826" y="1324154"/>
                      <a:pt x="4292459" y="1329646"/>
                    </a:cubicBezTo>
                    <a:cubicBezTo>
                      <a:pt x="4292459" y="1335138"/>
                      <a:pt x="4288360" y="1326900"/>
                      <a:pt x="4284260" y="1332392"/>
                    </a:cubicBezTo>
                    <a:cubicBezTo>
                      <a:pt x="4280161" y="1337884"/>
                      <a:pt x="4274695" y="1342003"/>
                      <a:pt x="4276062" y="1336511"/>
                    </a:cubicBezTo>
                    <a:cubicBezTo>
                      <a:pt x="4277428" y="1331019"/>
                      <a:pt x="4280161" y="1324154"/>
                      <a:pt x="4276062" y="1321408"/>
                    </a:cubicBezTo>
                    <a:cubicBezTo>
                      <a:pt x="4273329" y="1320035"/>
                      <a:pt x="4271962" y="1313170"/>
                      <a:pt x="4278795" y="1310424"/>
                    </a:cubicBezTo>
                    <a:cubicBezTo>
                      <a:pt x="4285627" y="1307679"/>
                      <a:pt x="4280161" y="1300814"/>
                      <a:pt x="4285627" y="1299441"/>
                    </a:cubicBezTo>
                    <a:cubicBezTo>
                      <a:pt x="4291093" y="1298068"/>
                      <a:pt x="4299291" y="1299441"/>
                      <a:pt x="4297925" y="1292576"/>
                    </a:cubicBezTo>
                    <a:cubicBezTo>
                      <a:pt x="4297925" y="1285711"/>
                      <a:pt x="4303391" y="1285711"/>
                      <a:pt x="4303391" y="1276100"/>
                    </a:cubicBezTo>
                    <a:cubicBezTo>
                      <a:pt x="4303391" y="1265116"/>
                      <a:pt x="4308857" y="1263743"/>
                      <a:pt x="4303391" y="1255506"/>
                    </a:cubicBezTo>
                    <a:cubicBezTo>
                      <a:pt x="4301341" y="1252073"/>
                      <a:pt x="4302708" y="1248297"/>
                      <a:pt x="4305270" y="1246581"/>
                    </a:cubicBezTo>
                    <a:close/>
                    <a:moveTo>
                      <a:pt x="1052317" y="1133945"/>
                    </a:moveTo>
                    <a:cubicBezTo>
                      <a:pt x="1064630" y="1135964"/>
                      <a:pt x="1090272" y="1145601"/>
                      <a:pt x="1089257" y="1152893"/>
                    </a:cubicBezTo>
                    <a:cubicBezTo>
                      <a:pt x="1087903" y="1162617"/>
                      <a:pt x="1047282" y="1141781"/>
                      <a:pt x="1045928" y="1134835"/>
                    </a:cubicBezTo>
                    <a:cubicBezTo>
                      <a:pt x="1045589" y="1133446"/>
                      <a:pt x="1048213" y="1133272"/>
                      <a:pt x="1052317" y="1133945"/>
                    </a:cubicBezTo>
                    <a:close/>
                    <a:moveTo>
                      <a:pt x="1177235" y="1092333"/>
                    </a:moveTo>
                    <a:cubicBezTo>
                      <a:pt x="1184121" y="1089591"/>
                      <a:pt x="1191006" y="1095075"/>
                      <a:pt x="1184121" y="1099188"/>
                    </a:cubicBezTo>
                    <a:cubicBezTo>
                      <a:pt x="1177235" y="1103301"/>
                      <a:pt x="1179989" y="1111527"/>
                      <a:pt x="1173104" y="1121124"/>
                    </a:cubicBezTo>
                    <a:cubicBezTo>
                      <a:pt x="1166218" y="1129351"/>
                      <a:pt x="1170350" y="1140319"/>
                      <a:pt x="1171727" y="1133464"/>
                    </a:cubicBezTo>
                    <a:cubicBezTo>
                      <a:pt x="1173104" y="1126608"/>
                      <a:pt x="1186875" y="1129351"/>
                      <a:pt x="1184121" y="1133464"/>
                    </a:cubicBezTo>
                    <a:cubicBezTo>
                      <a:pt x="1179989" y="1137577"/>
                      <a:pt x="1189629" y="1138948"/>
                      <a:pt x="1191006" y="1144432"/>
                    </a:cubicBezTo>
                    <a:cubicBezTo>
                      <a:pt x="1192383" y="1149916"/>
                      <a:pt x="1204777" y="1154029"/>
                      <a:pt x="1204777" y="1148545"/>
                    </a:cubicBezTo>
                    <a:cubicBezTo>
                      <a:pt x="1204777" y="1141690"/>
                      <a:pt x="1222680" y="1148545"/>
                      <a:pt x="1217171" y="1151287"/>
                    </a:cubicBezTo>
                    <a:cubicBezTo>
                      <a:pt x="1213040" y="1155400"/>
                      <a:pt x="1211663" y="1173223"/>
                      <a:pt x="1217171" y="1170481"/>
                    </a:cubicBezTo>
                    <a:cubicBezTo>
                      <a:pt x="1222680" y="1167739"/>
                      <a:pt x="1229565" y="1169110"/>
                      <a:pt x="1224057" y="1174594"/>
                    </a:cubicBezTo>
                    <a:cubicBezTo>
                      <a:pt x="1217171" y="1180078"/>
                      <a:pt x="1221303" y="1191047"/>
                      <a:pt x="1224057" y="1185562"/>
                    </a:cubicBezTo>
                    <a:cubicBezTo>
                      <a:pt x="1226811" y="1178707"/>
                      <a:pt x="1235074" y="1192418"/>
                      <a:pt x="1230942" y="1202015"/>
                    </a:cubicBezTo>
                    <a:cubicBezTo>
                      <a:pt x="1226811" y="1210241"/>
                      <a:pt x="1208909" y="1204757"/>
                      <a:pt x="1211663" y="1199273"/>
                    </a:cubicBezTo>
                    <a:cubicBezTo>
                      <a:pt x="1214417" y="1193789"/>
                      <a:pt x="1207532" y="1191047"/>
                      <a:pt x="1202023" y="1193789"/>
                    </a:cubicBezTo>
                    <a:cubicBezTo>
                      <a:pt x="1196515" y="1197902"/>
                      <a:pt x="1188252" y="1207499"/>
                      <a:pt x="1188252" y="1200644"/>
                    </a:cubicBezTo>
                    <a:cubicBezTo>
                      <a:pt x="1188252" y="1195160"/>
                      <a:pt x="1199269" y="1185562"/>
                      <a:pt x="1192383" y="1186933"/>
                    </a:cubicBezTo>
                    <a:cubicBezTo>
                      <a:pt x="1184121" y="1188305"/>
                      <a:pt x="1184121" y="1177336"/>
                      <a:pt x="1177235" y="1182820"/>
                    </a:cubicBezTo>
                    <a:cubicBezTo>
                      <a:pt x="1170350" y="1189676"/>
                      <a:pt x="1163464" y="1188305"/>
                      <a:pt x="1155201" y="1186933"/>
                    </a:cubicBezTo>
                    <a:cubicBezTo>
                      <a:pt x="1145562" y="1185562"/>
                      <a:pt x="1135922" y="1192418"/>
                      <a:pt x="1130414" y="1188305"/>
                    </a:cubicBezTo>
                    <a:cubicBezTo>
                      <a:pt x="1120774" y="1181449"/>
                      <a:pt x="1140053" y="1169110"/>
                      <a:pt x="1134545" y="1164997"/>
                    </a:cubicBezTo>
                    <a:cubicBezTo>
                      <a:pt x="1129036" y="1160884"/>
                      <a:pt x="1137299" y="1152658"/>
                      <a:pt x="1144185" y="1154029"/>
                    </a:cubicBezTo>
                    <a:cubicBezTo>
                      <a:pt x="1151070" y="1154029"/>
                      <a:pt x="1151070" y="1144432"/>
                      <a:pt x="1151070" y="1136206"/>
                    </a:cubicBezTo>
                    <a:cubicBezTo>
                      <a:pt x="1151070" y="1126608"/>
                      <a:pt x="1170350" y="1096446"/>
                      <a:pt x="1177235" y="1092333"/>
                    </a:cubicBezTo>
                    <a:close/>
                    <a:moveTo>
                      <a:pt x="4317532" y="1025645"/>
                    </a:moveTo>
                    <a:cubicBezTo>
                      <a:pt x="4321735" y="1022915"/>
                      <a:pt x="4317532" y="1040661"/>
                      <a:pt x="4327337" y="1048851"/>
                    </a:cubicBezTo>
                    <a:cubicBezTo>
                      <a:pt x="4337143" y="1057041"/>
                      <a:pt x="4324536" y="1072057"/>
                      <a:pt x="4328738" y="1088437"/>
                    </a:cubicBezTo>
                    <a:cubicBezTo>
                      <a:pt x="4334341" y="1104818"/>
                      <a:pt x="4344146" y="1149865"/>
                      <a:pt x="4346948" y="1155325"/>
                    </a:cubicBezTo>
                    <a:cubicBezTo>
                      <a:pt x="4349749" y="1162150"/>
                      <a:pt x="4348349" y="1167610"/>
                      <a:pt x="4341345" y="1159420"/>
                    </a:cubicBezTo>
                    <a:cubicBezTo>
                      <a:pt x="4334341" y="1151230"/>
                      <a:pt x="4321735" y="1149865"/>
                      <a:pt x="4321735" y="1160785"/>
                    </a:cubicBezTo>
                    <a:cubicBezTo>
                      <a:pt x="4321735" y="1173070"/>
                      <a:pt x="4314731" y="1182626"/>
                      <a:pt x="4317532" y="1192181"/>
                    </a:cubicBezTo>
                    <a:cubicBezTo>
                      <a:pt x="4320334" y="1201737"/>
                      <a:pt x="4323135" y="1215387"/>
                      <a:pt x="4328738" y="1214022"/>
                    </a:cubicBezTo>
                    <a:cubicBezTo>
                      <a:pt x="4332940" y="1214022"/>
                      <a:pt x="4337143" y="1234498"/>
                      <a:pt x="4331540" y="1231768"/>
                    </a:cubicBezTo>
                    <a:cubicBezTo>
                      <a:pt x="4325937" y="1229038"/>
                      <a:pt x="4325937" y="1215387"/>
                      <a:pt x="4317532" y="1216752"/>
                    </a:cubicBezTo>
                    <a:cubicBezTo>
                      <a:pt x="4309128" y="1219482"/>
                      <a:pt x="4313330" y="1237228"/>
                      <a:pt x="4306326" y="1229038"/>
                    </a:cubicBezTo>
                    <a:cubicBezTo>
                      <a:pt x="4303525" y="1224942"/>
                      <a:pt x="4313330" y="1185356"/>
                      <a:pt x="4309128" y="1177166"/>
                    </a:cubicBezTo>
                    <a:cubicBezTo>
                      <a:pt x="4306326" y="1167610"/>
                      <a:pt x="4314731" y="1114373"/>
                      <a:pt x="4310529" y="1103453"/>
                    </a:cubicBezTo>
                    <a:cubicBezTo>
                      <a:pt x="4307727" y="1093898"/>
                      <a:pt x="4303525" y="1077517"/>
                      <a:pt x="4306326" y="1066597"/>
                    </a:cubicBezTo>
                    <a:cubicBezTo>
                      <a:pt x="4309128" y="1055676"/>
                      <a:pt x="4302124" y="1046121"/>
                      <a:pt x="4309128" y="1046121"/>
                    </a:cubicBezTo>
                    <a:cubicBezTo>
                      <a:pt x="4317532" y="1044756"/>
                      <a:pt x="4311929" y="1029740"/>
                      <a:pt x="4317532" y="1025645"/>
                    </a:cubicBezTo>
                    <a:close/>
                    <a:moveTo>
                      <a:pt x="1965122" y="994354"/>
                    </a:moveTo>
                    <a:cubicBezTo>
                      <a:pt x="1968552" y="992462"/>
                      <a:pt x="1971983" y="991431"/>
                      <a:pt x="1975413" y="994870"/>
                    </a:cubicBezTo>
                    <a:cubicBezTo>
                      <a:pt x="1982275" y="1003125"/>
                      <a:pt x="1989136" y="1011380"/>
                      <a:pt x="1983647" y="1016884"/>
                    </a:cubicBezTo>
                    <a:cubicBezTo>
                      <a:pt x="1979530" y="1021011"/>
                      <a:pt x="1972669" y="1022387"/>
                      <a:pt x="1971297" y="1026514"/>
                    </a:cubicBezTo>
                    <a:cubicBezTo>
                      <a:pt x="1971297" y="1026514"/>
                      <a:pt x="1971297" y="1027890"/>
                      <a:pt x="1972669" y="1029266"/>
                    </a:cubicBezTo>
                    <a:cubicBezTo>
                      <a:pt x="1975413" y="1036145"/>
                      <a:pt x="1979530" y="1069165"/>
                      <a:pt x="1972669" y="1073293"/>
                    </a:cubicBezTo>
                    <a:cubicBezTo>
                      <a:pt x="1964435" y="1077420"/>
                      <a:pt x="1960319" y="1069165"/>
                      <a:pt x="1952085" y="1077420"/>
                    </a:cubicBezTo>
                    <a:cubicBezTo>
                      <a:pt x="1945224" y="1087051"/>
                      <a:pt x="1931502" y="1091179"/>
                      <a:pt x="1924641" y="1091179"/>
                    </a:cubicBezTo>
                    <a:cubicBezTo>
                      <a:pt x="1916407" y="1091179"/>
                      <a:pt x="1908174" y="1081548"/>
                      <a:pt x="1909546" y="1076045"/>
                    </a:cubicBezTo>
                    <a:cubicBezTo>
                      <a:pt x="1910918" y="1070541"/>
                      <a:pt x="1920524" y="1071917"/>
                      <a:pt x="1920524" y="1063662"/>
                    </a:cubicBezTo>
                    <a:cubicBezTo>
                      <a:pt x="1920524" y="1056783"/>
                      <a:pt x="1931502" y="1054031"/>
                      <a:pt x="1924641" y="1047152"/>
                    </a:cubicBezTo>
                    <a:cubicBezTo>
                      <a:pt x="1917779" y="1041649"/>
                      <a:pt x="1912290" y="1041649"/>
                      <a:pt x="1916407" y="1034769"/>
                    </a:cubicBezTo>
                    <a:cubicBezTo>
                      <a:pt x="1920524" y="1027890"/>
                      <a:pt x="1909546" y="1023763"/>
                      <a:pt x="1915035" y="1019635"/>
                    </a:cubicBezTo>
                    <a:cubicBezTo>
                      <a:pt x="1920524" y="1016884"/>
                      <a:pt x="1926013" y="1023763"/>
                      <a:pt x="1931502" y="1019635"/>
                    </a:cubicBezTo>
                    <a:cubicBezTo>
                      <a:pt x="1936991" y="1015508"/>
                      <a:pt x="1945224" y="1016884"/>
                      <a:pt x="1945224" y="1011380"/>
                    </a:cubicBezTo>
                    <a:cubicBezTo>
                      <a:pt x="1945224" y="1007253"/>
                      <a:pt x="1936991" y="1010004"/>
                      <a:pt x="1936991" y="1003125"/>
                    </a:cubicBezTo>
                    <a:cubicBezTo>
                      <a:pt x="1936991" y="996246"/>
                      <a:pt x="1946596" y="996246"/>
                      <a:pt x="1953458" y="998998"/>
                    </a:cubicBezTo>
                    <a:cubicBezTo>
                      <a:pt x="1953458" y="998998"/>
                      <a:pt x="1954830" y="998998"/>
                      <a:pt x="1954830" y="998998"/>
                    </a:cubicBezTo>
                    <a:cubicBezTo>
                      <a:pt x="1958261" y="998998"/>
                      <a:pt x="1961691" y="996246"/>
                      <a:pt x="1965122" y="994354"/>
                    </a:cubicBezTo>
                    <a:close/>
                    <a:moveTo>
                      <a:pt x="2264455" y="975638"/>
                    </a:moveTo>
                    <a:cubicBezTo>
                      <a:pt x="2265816" y="968941"/>
                      <a:pt x="2268537" y="980996"/>
                      <a:pt x="2269898" y="979657"/>
                    </a:cubicBezTo>
                    <a:cubicBezTo>
                      <a:pt x="2272619" y="979657"/>
                      <a:pt x="2273980" y="974299"/>
                      <a:pt x="2275341" y="975638"/>
                    </a:cubicBezTo>
                    <a:cubicBezTo>
                      <a:pt x="2278062" y="976978"/>
                      <a:pt x="2271259" y="991712"/>
                      <a:pt x="2271259" y="995730"/>
                    </a:cubicBezTo>
                    <a:cubicBezTo>
                      <a:pt x="2272619" y="998409"/>
                      <a:pt x="2265816" y="1011804"/>
                      <a:pt x="2260373" y="1010464"/>
                    </a:cubicBezTo>
                    <a:cubicBezTo>
                      <a:pt x="2254930" y="1009125"/>
                      <a:pt x="2252209" y="1001088"/>
                      <a:pt x="2256291" y="1002428"/>
                    </a:cubicBezTo>
                    <a:cubicBezTo>
                      <a:pt x="2260373" y="1003767"/>
                      <a:pt x="2264455" y="999749"/>
                      <a:pt x="2260373" y="997070"/>
                    </a:cubicBezTo>
                    <a:cubicBezTo>
                      <a:pt x="2257652" y="995730"/>
                      <a:pt x="2249487" y="987693"/>
                      <a:pt x="2254930" y="980996"/>
                    </a:cubicBezTo>
                    <a:cubicBezTo>
                      <a:pt x="2259012" y="972959"/>
                      <a:pt x="2264455" y="980996"/>
                      <a:pt x="2264455" y="975638"/>
                    </a:cubicBezTo>
                    <a:close/>
                    <a:moveTo>
                      <a:pt x="2369740" y="922904"/>
                    </a:moveTo>
                    <a:cubicBezTo>
                      <a:pt x="2378074" y="922904"/>
                      <a:pt x="2360016" y="949892"/>
                      <a:pt x="2358627" y="947193"/>
                    </a:cubicBezTo>
                    <a:cubicBezTo>
                      <a:pt x="2355849" y="944494"/>
                      <a:pt x="2360016" y="922904"/>
                      <a:pt x="2369740" y="922904"/>
                    </a:cubicBezTo>
                    <a:close/>
                    <a:moveTo>
                      <a:pt x="1972162" y="908021"/>
                    </a:moveTo>
                    <a:cubicBezTo>
                      <a:pt x="1974849" y="912188"/>
                      <a:pt x="1968133" y="924690"/>
                      <a:pt x="1962760" y="924690"/>
                    </a:cubicBezTo>
                    <a:cubicBezTo>
                      <a:pt x="1957387" y="926079"/>
                      <a:pt x="1969476" y="903854"/>
                      <a:pt x="1972162" y="908021"/>
                    </a:cubicBezTo>
                    <a:close/>
                    <a:moveTo>
                      <a:pt x="2434927" y="901302"/>
                    </a:moveTo>
                    <a:cubicBezTo>
                      <a:pt x="2436663" y="902153"/>
                      <a:pt x="2437010" y="903853"/>
                      <a:pt x="2435621" y="905894"/>
                    </a:cubicBezTo>
                    <a:cubicBezTo>
                      <a:pt x="2432843" y="908616"/>
                      <a:pt x="2423120" y="918141"/>
                      <a:pt x="2418952" y="918141"/>
                    </a:cubicBezTo>
                    <a:cubicBezTo>
                      <a:pt x="2416174" y="918141"/>
                      <a:pt x="2416174" y="904534"/>
                      <a:pt x="2425898" y="901812"/>
                    </a:cubicBezTo>
                    <a:cubicBezTo>
                      <a:pt x="2430065" y="900452"/>
                      <a:pt x="2433190" y="900452"/>
                      <a:pt x="2434927" y="901302"/>
                    </a:cubicBezTo>
                    <a:close/>
                    <a:moveTo>
                      <a:pt x="2024217" y="895267"/>
                    </a:moveTo>
                    <a:cubicBezTo>
                      <a:pt x="2028326" y="899380"/>
                      <a:pt x="2021478" y="902122"/>
                      <a:pt x="2021478" y="906235"/>
                    </a:cubicBezTo>
                    <a:cubicBezTo>
                      <a:pt x="2022847" y="910348"/>
                      <a:pt x="2014630" y="919945"/>
                      <a:pt x="2010521" y="922687"/>
                    </a:cubicBezTo>
                    <a:cubicBezTo>
                      <a:pt x="2006412" y="924058"/>
                      <a:pt x="2010521" y="930914"/>
                      <a:pt x="2015999" y="928171"/>
                    </a:cubicBezTo>
                    <a:cubicBezTo>
                      <a:pt x="2020108" y="925429"/>
                      <a:pt x="2044761" y="925429"/>
                      <a:pt x="2044761" y="929543"/>
                    </a:cubicBezTo>
                    <a:cubicBezTo>
                      <a:pt x="2044761" y="935027"/>
                      <a:pt x="2037913" y="958334"/>
                      <a:pt x="2032435" y="962447"/>
                    </a:cubicBezTo>
                    <a:cubicBezTo>
                      <a:pt x="2026956" y="967931"/>
                      <a:pt x="2024217" y="976157"/>
                      <a:pt x="2026956" y="974786"/>
                    </a:cubicBezTo>
                    <a:cubicBezTo>
                      <a:pt x="2031065" y="974786"/>
                      <a:pt x="2037913" y="972044"/>
                      <a:pt x="2040652" y="977528"/>
                    </a:cubicBezTo>
                    <a:cubicBezTo>
                      <a:pt x="2044761" y="984383"/>
                      <a:pt x="2050239" y="980270"/>
                      <a:pt x="2051609" y="987125"/>
                    </a:cubicBezTo>
                    <a:cubicBezTo>
                      <a:pt x="2052979" y="995352"/>
                      <a:pt x="2054348" y="1009062"/>
                      <a:pt x="2062566" y="1010433"/>
                    </a:cubicBezTo>
                    <a:cubicBezTo>
                      <a:pt x="2070784" y="1013175"/>
                      <a:pt x="2074892" y="1030998"/>
                      <a:pt x="2074892" y="1033740"/>
                    </a:cubicBezTo>
                    <a:cubicBezTo>
                      <a:pt x="2073523" y="1036482"/>
                      <a:pt x="2076262" y="1043337"/>
                      <a:pt x="2079001" y="1044708"/>
                    </a:cubicBezTo>
                    <a:cubicBezTo>
                      <a:pt x="2081740" y="1044708"/>
                      <a:pt x="2077632" y="1050193"/>
                      <a:pt x="2080371" y="1054306"/>
                    </a:cubicBezTo>
                    <a:cubicBezTo>
                      <a:pt x="2081740" y="1059790"/>
                      <a:pt x="2085849" y="1059790"/>
                      <a:pt x="2087219" y="1055677"/>
                    </a:cubicBezTo>
                    <a:cubicBezTo>
                      <a:pt x="2088588" y="1051564"/>
                      <a:pt x="2105024" y="1057048"/>
                      <a:pt x="2103654" y="1065274"/>
                    </a:cubicBezTo>
                    <a:cubicBezTo>
                      <a:pt x="2103654" y="1073500"/>
                      <a:pt x="2095436" y="1077613"/>
                      <a:pt x="2091328" y="1084468"/>
                    </a:cubicBezTo>
                    <a:cubicBezTo>
                      <a:pt x="2085849" y="1089952"/>
                      <a:pt x="2084480" y="1095436"/>
                      <a:pt x="2089958" y="1095436"/>
                    </a:cubicBezTo>
                    <a:cubicBezTo>
                      <a:pt x="2094067" y="1094065"/>
                      <a:pt x="2099545" y="1095436"/>
                      <a:pt x="2096806" y="1099549"/>
                    </a:cubicBezTo>
                    <a:cubicBezTo>
                      <a:pt x="2092697" y="1102291"/>
                      <a:pt x="2080371" y="1110518"/>
                      <a:pt x="2074892" y="1110518"/>
                    </a:cubicBezTo>
                    <a:cubicBezTo>
                      <a:pt x="2069414" y="1109146"/>
                      <a:pt x="2058457" y="1111889"/>
                      <a:pt x="2057087" y="1113260"/>
                    </a:cubicBezTo>
                    <a:cubicBezTo>
                      <a:pt x="2054348" y="1116002"/>
                      <a:pt x="2047500" y="1107775"/>
                      <a:pt x="2044761" y="1110518"/>
                    </a:cubicBezTo>
                    <a:cubicBezTo>
                      <a:pt x="2040652" y="1113260"/>
                      <a:pt x="2037913" y="1116002"/>
                      <a:pt x="2031065" y="1114631"/>
                    </a:cubicBezTo>
                    <a:cubicBezTo>
                      <a:pt x="2025586" y="1113260"/>
                      <a:pt x="2022847" y="1117373"/>
                      <a:pt x="2020108" y="1116002"/>
                    </a:cubicBezTo>
                    <a:cubicBezTo>
                      <a:pt x="2017369" y="1116002"/>
                      <a:pt x="2017369" y="1125599"/>
                      <a:pt x="2013260" y="1124228"/>
                    </a:cubicBezTo>
                    <a:cubicBezTo>
                      <a:pt x="2009151" y="1124228"/>
                      <a:pt x="2007782" y="1118744"/>
                      <a:pt x="2000934" y="1121486"/>
                    </a:cubicBezTo>
                    <a:cubicBezTo>
                      <a:pt x="1994086" y="1125599"/>
                      <a:pt x="1991346" y="1132454"/>
                      <a:pt x="1989977" y="1129712"/>
                    </a:cubicBezTo>
                    <a:cubicBezTo>
                      <a:pt x="1985868" y="1124228"/>
                      <a:pt x="2005042" y="1103662"/>
                      <a:pt x="2010521" y="1099549"/>
                    </a:cubicBezTo>
                    <a:cubicBezTo>
                      <a:pt x="2014630" y="1096807"/>
                      <a:pt x="2022847" y="1102291"/>
                      <a:pt x="2026956" y="1096807"/>
                    </a:cubicBezTo>
                    <a:cubicBezTo>
                      <a:pt x="2032435" y="1092694"/>
                      <a:pt x="2032435" y="1089952"/>
                      <a:pt x="2025586" y="1092694"/>
                    </a:cubicBezTo>
                    <a:cubicBezTo>
                      <a:pt x="2018738" y="1095436"/>
                      <a:pt x="2015999" y="1089952"/>
                      <a:pt x="2009151" y="1089952"/>
                    </a:cubicBezTo>
                    <a:cubicBezTo>
                      <a:pt x="2003673" y="1089952"/>
                      <a:pt x="2003673" y="1083097"/>
                      <a:pt x="1999564" y="1087210"/>
                    </a:cubicBezTo>
                    <a:cubicBezTo>
                      <a:pt x="1995455" y="1091323"/>
                      <a:pt x="1984498" y="1081726"/>
                      <a:pt x="1994086" y="1078984"/>
                    </a:cubicBezTo>
                    <a:cubicBezTo>
                      <a:pt x="2002303" y="1076242"/>
                      <a:pt x="2009151" y="1070758"/>
                      <a:pt x="2009151" y="1066645"/>
                    </a:cubicBezTo>
                    <a:cubicBezTo>
                      <a:pt x="2009151" y="1062532"/>
                      <a:pt x="2000934" y="1062532"/>
                      <a:pt x="1999564" y="1058419"/>
                    </a:cubicBezTo>
                    <a:cubicBezTo>
                      <a:pt x="1999564" y="1055677"/>
                      <a:pt x="2006412" y="1051564"/>
                      <a:pt x="2005042" y="1047450"/>
                    </a:cubicBezTo>
                    <a:cubicBezTo>
                      <a:pt x="2002303" y="1043337"/>
                      <a:pt x="2009151" y="1041966"/>
                      <a:pt x="2009151" y="1044708"/>
                    </a:cubicBezTo>
                    <a:cubicBezTo>
                      <a:pt x="2010521" y="1047450"/>
                      <a:pt x="2024217" y="1047450"/>
                      <a:pt x="2025586" y="1043337"/>
                    </a:cubicBezTo>
                    <a:cubicBezTo>
                      <a:pt x="2026956" y="1039224"/>
                      <a:pt x="2025586" y="1030998"/>
                      <a:pt x="2026956" y="1026885"/>
                    </a:cubicBezTo>
                    <a:cubicBezTo>
                      <a:pt x="2029695" y="1021401"/>
                      <a:pt x="2026956" y="1021401"/>
                      <a:pt x="2022847" y="1018659"/>
                    </a:cubicBezTo>
                    <a:cubicBezTo>
                      <a:pt x="2018738" y="1017288"/>
                      <a:pt x="2015999" y="1011804"/>
                      <a:pt x="2020108" y="1007691"/>
                    </a:cubicBezTo>
                    <a:cubicBezTo>
                      <a:pt x="2024217" y="1002207"/>
                      <a:pt x="2021478" y="995352"/>
                      <a:pt x="2015999" y="1002207"/>
                    </a:cubicBezTo>
                    <a:cubicBezTo>
                      <a:pt x="2010521" y="1009062"/>
                      <a:pt x="1994086" y="1009062"/>
                      <a:pt x="1992716" y="1004949"/>
                    </a:cubicBezTo>
                    <a:cubicBezTo>
                      <a:pt x="1992716" y="999465"/>
                      <a:pt x="2000934" y="991239"/>
                      <a:pt x="1999564" y="985754"/>
                    </a:cubicBezTo>
                    <a:cubicBezTo>
                      <a:pt x="1996825" y="978899"/>
                      <a:pt x="2000934" y="972044"/>
                      <a:pt x="1998194" y="972044"/>
                    </a:cubicBezTo>
                    <a:cubicBezTo>
                      <a:pt x="1994086" y="972044"/>
                      <a:pt x="1996825" y="985754"/>
                      <a:pt x="1988607" y="987125"/>
                    </a:cubicBezTo>
                    <a:cubicBezTo>
                      <a:pt x="1980389" y="988496"/>
                      <a:pt x="1985868" y="973415"/>
                      <a:pt x="1981759" y="974786"/>
                    </a:cubicBezTo>
                    <a:cubicBezTo>
                      <a:pt x="1979020" y="977528"/>
                      <a:pt x="1970802" y="985754"/>
                      <a:pt x="1970802" y="980270"/>
                    </a:cubicBezTo>
                    <a:cubicBezTo>
                      <a:pt x="1970802" y="974786"/>
                      <a:pt x="1984498" y="973415"/>
                      <a:pt x="1984498" y="967931"/>
                    </a:cubicBezTo>
                    <a:cubicBezTo>
                      <a:pt x="1983129" y="962447"/>
                      <a:pt x="1974911" y="966560"/>
                      <a:pt x="1974911" y="958334"/>
                    </a:cubicBezTo>
                    <a:cubicBezTo>
                      <a:pt x="1976281" y="950108"/>
                      <a:pt x="1987237" y="944624"/>
                      <a:pt x="1981759" y="944624"/>
                    </a:cubicBezTo>
                    <a:cubicBezTo>
                      <a:pt x="1974911" y="943253"/>
                      <a:pt x="1965324" y="937769"/>
                      <a:pt x="1969433" y="933656"/>
                    </a:cubicBezTo>
                    <a:cubicBezTo>
                      <a:pt x="1974911" y="928171"/>
                      <a:pt x="1977650" y="935027"/>
                      <a:pt x="1979020" y="937769"/>
                    </a:cubicBezTo>
                    <a:cubicBezTo>
                      <a:pt x="1981759" y="939140"/>
                      <a:pt x="1984498" y="936398"/>
                      <a:pt x="1983129" y="932285"/>
                    </a:cubicBezTo>
                    <a:cubicBezTo>
                      <a:pt x="1981759" y="926800"/>
                      <a:pt x="1991346" y="924058"/>
                      <a:pt x="1989977" y="918574"/>
                    </a:cubicBezTo>
                    <a:cubicBezTo>
                      <a:pt x="1989977" y="913090"/>
                      <a:pt x="1992716" y="900751"/>
                      <a:pt x="2000934" y="903493"/>
                    </a:cubicBezTo>
                    <a:cubicBezTo>
                      <a:pt x="2007782" y="904864"/>
                      <a:pt x="2014630" y="904864"/>
                      <a:pt x="2017369" y="902122"/>
                    </a:cubicBezTo>
                    <a:cubicBezTo>
                      <a:pt x="2020108" y="899380"/>
                      <a:pt x="2021478" y="891154"/>
                      <a:pt x="2024217" y="895267"/>
                    </a:cubicBezTo>
                    <a:close/>
                    <a:moveTo>
                      <a:pt x="2426655" y="891220"/>
                    </a:moveTo>
                    <a:cubicBezTo>
                      <a:pt x="2429740" y="890889"/>
                      <a:pt x="2432987" y="891550"/>
                      <a:pt x="2432337" y="893535"/>
                    </a:cubicBezTo>
                    <a:cubicBezTo>
                      <a:pt x="2429740" y="897504"/>
                      <a:pt x="2424545" y="897504"/>
                      <a:pt x="2421947" y="894858"/>
                    </a:cubicBezTo>
                    <a:cubicBezTo>
                      <a:pt x="2420648" y="892873"/>
                      <a:pt x="2423570" y="891550"/>
                      <a:pt x="2426655" y="891220"/>
                    </a:cubicBezTo>
                    <a:close/>
                    <a:moveTo>
                      <a:pt x="2056517" y="843176"/>
                    </a:moveTo>
                    <a:cubicBezTo>
                      <a:pt x="2062162" y="840354"/>
                      <a:pt x="2057928" y="858698"/>
                      <a:pt x="2053695" y="864343"/>
                    </a:cubicBezTo>
                    <a:cubicBezTo>
                      <a:pt x="2050873" y="865754"/>
                      <a:pt x="2049462" y="844587"/>
                      <a:pt x="2056517" y="843176"/>
                    </a:cubicBezTo>
                    <a:close/>
                    <a:moveTo>
                      <a:pt x="802480" y="795904"/>
                    </a:moveTo>
                    <a:cubicBezTo>
                      <a:pt x="814386" y="795904"/>
                      <a:pt x="805126" y="816915"/>
                      <a:pt x="801157" y="818316"/>
                    </a:cubicBezTo>
                    <a:cubicBezTo>
                      <a:pt x="793220" y="819717"/>
                      <a:pt x="790574" y="797305"/>
                      <a:pt x="802480" y="795904"/>
                    </a:cubicBezTo>
                    <a:close/>
                    <a:moveTo>
                      <a:pt x="758786" y="776472"/>
                    </a:moveTo>
                    <a:cubicBezTo>
                      <a:pt x="762376" y="775595"/>
                      <a:pt x="765042" y="775770"/>
                      <a:pt x="765386" y="777526"/>
                    </a:cubicBezTo>
                    <a:cubicBezTo>
                      <a:pt x="766762" y="784547"/>
                      <a:pt x="750252" y="807017"/>
                      <a:pt x="739245" y="798591"/>
                    </a:cubicBezTo>
                    <a:cubicBezTo>
                      <a:pt x="728926" y="791218"/>
                      <a:pt x="748016" y="779106"/>
                      <a:pt x="758786" y="776472"/>
                    </a:cubicBezTo>
                    <a:close/>
                    <a:moveTo>
                      <a:pt x="709001" y="688100"/>
                    </a:moveTo>
                    <a:cubicBezTo>
                      <a:pt x="713469" y="685707"/>
                      <a:pt x="717936" y="686391"/>
                      <a:pt x="717936" y="691178"/>
                    </a:cubicBezTo>
                    <a:cubicBezTo>
                      <a:pt x="717936" y="702119"/>
                      <a:pt x="728932" y="703487"/>
                      <a:pt x="737179" y="708958"/>
                    </a:cubicBezTo>
                    <a:cubicBezTo>
                      <a:pt x="745427" y="714428"/>
                      <a:pt x="770168" y="721267"/>
                      <a:pt x="768794" y="730841"/>
                    </a:cubicBezTo>
                    <a:cubicBezTo>
                      <a:pt x="767419" y="740415"/>
                      <a:pt x="792161" y="743150"/>
                      <a:pt x="789412" y="751356"/>
                    </a:cubicBezTo>
                    <a:cubicBezTo>
                      <a:pt x="788037" y="760930"/>
                      <a:pt x="767419" y="759562"/>
                      <a:pt x="757797" y="751356"/>
                    </a:cubicBezTo>
                    <a:cubicBezTo>
                      <a:pt x="748176" y="743150"/>
                      <a:pt x="741303" y="745885"/>
                      <a:pt x="737179" y="751356"/>
                    </a:cubicBezTo>
                    <a:cubicBezTo>
                      <a:pt x="733056" y="758195"/>
                      <a:pt x="719310" y="770504"/>
                      <a:pt x="711063" y="769136"/>
                    </a:cubicBezTo>
                    <a:cubicBezTo>
                      <a:pt x="700067" y="769136"/>
                      <a:pt x="711063" y="754092"/>
                      <a:pt x="701441" y="754092"/>
                    </a:cubicBezTo>
                    <a:cubicBezTo>
                      <a:pt x="693194" y="754092"/>
                      <a:pt x="684947" y="762298"/>
                      <a:pt x="682198" y="755459"/>
                    </a:cubicBezTo>
                    <a:cubicBezTo>
                      <a:pt x="679449" y="747253"/>
                      <a:pt x="698692" y="744518"/>
                      <a:pt x="695943" y="729473"/>
                    </a:cubicBezTo>
                    <a:cubicBezTo>
                      <a:pt x="691820" y="715796"/>
                      <a:pt x="698692" y="718532"/>
                      <a:pt x="700067" y="703487"/>
                    </a:cubicBezTo>
                    <a:cubicBezTo>
                      <a:pt x="700067" y="695965"/>
                      <a:pt x="704534" y="690494"/>
                      <a:pt x="709001" y="688100"/>
                    </a:cubicBezTo>
                    <a:close/>
                    <a:moveTo>
                      <a:pt x="1811016" y="666893"/>
                    </a:moveTo>
                    <a:cubicBezTo>
                      <a:pt x="1815125" y="664141"/>
                      <a:pt x="1823345" y="676523"/>
                      <a:pt x="1826084" y="675148"/>
                    </a:cubicBezTo>
                    <a:cubicBezTo>
                      <a:pt x="1830194" y="673772"/>
                      <a:pt x="1837043" y="671020"/>
                      <a:pt x="1837043" y="673772"/>
                    </a:cubicBezTo>
                    <a:cubicBezTo>
                      <a:pt x="1837043" y="677899"/>
                      <a:pt x="1841153" y="682027"/>
                      <a:pt x="1839783" y="686154"/>
                    </a:cubicBezTo>
                    <a:cubicBezTo>
                      <a:pt x="1839783" y="690282"/>
                      <a:pt x="1843892" y="695785"/>
                      <a:pt x="1849372" y="695785"/>
                    </a:cubicBezTo>
                    <a:cubicBezTo>
                      <a:pt x="1854851" y="695785"/>
                      <a:pt x="1858961" y="705416"/>
                      <a:pt x="1857591" y="710919"/>
                    </a:cubicBezTo>
                    <a:cubicBezTo>
                      <a:pt x="1854851" y="716423"/>
                      <a:pt x="1849372" y="726054"/>
                      <a:pt x="1845262" y="726054"/>
                    </a:cubicBezTo>
                    <a:cubicBezTo>
                      <a:pt x="1841153" y="724678"/>
                      <a:pt x="1841153" y="737060"/>
                      <a:pt x="1832934" y="737060"/>
                    </a:cubicBezTo>
                    <a:cubicBezTo>
                      <a:pt x="1823345" y="738436"/>
                      <a:pt x="1816495" y="742564"/>
                      <a:pt x="1811016" y="748067"/>
                    </a:cubicBezTo>
                    <a:cubicBezTo>
                      <a:pt x="1805536" y="752195"/>
                      <a:pt x="1793208" y="749443"/>
                      <a:pt x="1791838" y="754946"/>
                    </a:cubicBezTo>
                    <a:cubicBezTo>
                      <a:pt x="1789098" y="761826"/>
                      <a:pt x="1772660" y="767329"/>
                      <a:pt x="1764441" y="763201"/>
                    </a:cubicBezTo>
                    <a:cubicBezTo>
                      <a:pt x="1754852" y="759074"/>
                      <a:pt x="1742523" y="746691"/>
                      <a:pt x="1735674" y="749443"/>
                    </a:cubicBezTo>
                    <a:cubicBezTo>
                      <a:pt x="1727455" y="750819"/>
                      <a:pt x="1719236" y="754946"/>
                      <a:pt x="1715126" y="749443"/>
                    </a:cubicBezTo>
                    <a:cubicBezTo>
                      <a:pt x="1712386" y="746691"/>
                      <a:pt x="1715126" y="743940"/>
                      <a:pt x="1723345" y="743940"/>
                    </a:cubicBezTo>
                    <a:cubicBezTo>
                      <a:pt x="1730194" y="742564"/>
                      <a:pt x="1731564" y="737060"/>
                      <a:pt x="1728825" y="735685"/>
                    </a:cubicBezTo>
                    <a:cubicBezTo>
                      <a:pt x="1726085" y="732933"/>
                      <a:pt x="1728825" y="726054"/>
                      <a:pt x="1723345" y="728805"/>
                    </a:cubicBezTo>
                    <a:cubicBezTo>
                      <a:pt x="1717866" y="731557"/>
                      <a:pt x="1717866" y="724678"/>
                      <a:pt x="1717866" y="721926"/>
                    </a:cubicBezTo>
                    <a:cubicBezTo>
                      <a:pt x="1717866" y="717799"/>
                      <a:pt x="1697318" y="724678"/>
                      <a:pt x="1694578" y="720550"/>
                    </a:cubicBezTo>
                    <a:cubicBezTo>
                      <a:pt x="1693208" y="717799"/>
                      <a:pt x="1704167" y="713671"/>
                      <a:pt x="1713756" y="715047"/>
                    </a:cubicBezTo>
                    <a:cubicBezTo>
                      <a:pt x="1721975" y="716423"/>
                      <a:pt x="1724715" y="713671"/>
                      <a:pt x="1721975" y="709544"/>
                    </a:cubicBezTo>
                    <a:cubicBezTo>
                      <a:pt x="1717866" y="706792"/>
                      <a:pt x="1728825" y="704040"/>
                      <a:pt x="1724715" y="699913"/>
                    </a:cubicBezTo>
                    <a:cubicBezTo>
                      <a:pt x="1720605" y="695785"/>
                      <a:pt x="1712386" y="697161"/>
                      <a:pt x="1705537" y="699913"/>
                    </a:cubicBezTo>
                    <a:cubicBezTo>
                      <a:pt x="1697318" y="704040"/>
                      <a:pt x="1689099" y="699913"/>
                      <a:pt x="1690469" y="695785"/>
                    </a:cubicBezTo>
                    <a:cubicBezTo>
                      <a:pt x="1690469" y="691658"/>
                      <a:pt x="1694578" y="688906"/>
                      <a:pt x="1697318" y="683403"/>
                    </a:cubicBezTo>
                    <a:cubicBezTo>
                      <a:pt x="1701427" y="677899"/>
                      <a:pt x="1705537" y="673772"/>
                      <a:pt x="1708277" y="677899"/>
                    </a:cubicBezTo>
                    <a:cubicBezTo>
                      <a:pt x="1711016" y="682027"/>
                      <a:pt x="1719236" y="683403"/>
                      <a:pt x="1713756" y="679275"/>
                    </a:cubicBezTo>
                    <a:cubicBezTo>
                      <a:pt x="1709647" y="673772"/>
                      <a:pt x="1704167" y="668268"/>
                      <a:pt x="1712386" y="668268"/>
                    </a:cubicBezTo>
                    <a:cubicBezTo>
                      <a:pt x="1719236" y="668268"/>
                      <a:pt x="1741153" y="683403"/>
                      <a:pt x="1735674" y="687530"/>
                    </a:cubicBezTo>
                    <a:cubicBezTo>
                      <a:pt x="1730194" y="691658"/>
                      <a:pt x="1738414" y="706792"/>
                      <a:pt x="1739783" y="702664"/>
                    </a:cubicBezTo>
                    <a:cubicBezTo>
                      <a:pt x="1742523" y="698537"/>
                      <a:pt x="1746633" y="694409"/>
                      <a:pt x="1750742" y="697161"/>
                    </a:cubicBezTo>
                    <a:cubicBezTo>
                      <a:pt x="1753482" y="699913"/>
                      <a:pt x="1754852" y="693034"/>
                      <a:pt x="1752112" y="688906"/>
                    </a:cubicBezTo>
                    <a:cubicBezTo>
                      <a:pt x="1750742" y="683403"/>
                      <a:pt x="1754852" y="672396"/>
                      <a:pt x="1760331" y="682027"/>
                    </a:cubicBezTo>
                    <a:cubicBezTo>
                      <a:pt x="1764441" y="691658"/>
                      <a:pt x="1767180" y="690282"/>
                      <a:pt x="1765811" y="686154"/>
                    </a:cubicBezTo>
                    <a:cubicBezTo>
                      <a:pt x="1765811" y="682027"/>
                      <a:pt x="1771290" y="673772"/>
                      <a:pt x="1776769" y="677899"/>
                    </a:cubicBezTo>
                    <a:cubicBezTo>
                      <a:pt x="1782249" y="682027"/>
                      <a:pt x="1784989" y="684778"/>
                      <a:pt x="1784989" y="680651"/>
                    </a:cubicBezTo>
                    <a:cubicBezTo>
                      <a:pt x="1784989" y="677899"/>
                      <a:pt x="1790468" y="675148"/>
                      <a:pt x="1794578" y="679275"/>
                    </a:cubicBezTo>
                    <a:cubicBezTo>
                      <a:pt x="1797317" y="683403"/>
                      <a:pt x="1800057" y="683403"/>
                      <a:pt x="1800057" y="679275"/>
                    </a:cubicBezTo>
                    <a:cubicBezTo>
                      <a:pt x="1800057" y="675148"/>
                      <a:pt x="1808276" y="682027"/>
                      <a:pt x="1809646" y="677899"/>
                    </a:cubicBezTo>
                    <a:cubicBezTo>
                      <a:pt x="1811016" y="675148"/>
                      <a:pt x="1808276" y="668268"/>
                      <a:pt x="1811016" y="666893"/>
                    </a:cubicBezTo>
                    <a:close/>
                    <a:moveTo>
                      <a:pt x="853620" y="606991"/>
                    </a:moveTo>
                    <a:cubicBezTo>
                      <a:pt x="860424" y="606991"/>
                      <a:pt x="869949" y="606991"/>
                      <a:pt x="872670" y="612349"/>
                    </a:cubicBezTo>
                    <a:cubicBezTo>
                      <a:pt x="878113" y="620386"/>
                      <a:pt x="879474" y="636459"/>
                      <a:pt x="871309" y="637799"/>
                    </a:cubicBezTo>
                    <a:cubicBezTo>
                      <a:pt x="863145" y="639138"/>
                      <a:pt x="845456" y="649854"/>
                      <a:pt x="838652" y="636459"/>
                    </a:cubicBezTo>
                    <a:cubicBezTo>
                      <a:pt x="831849" y="621725"/>
                      <a:pt x="845456" y="608330"/>
                      <a:pt x="853620" y="606991"/>
                    </a:cubicBezTo>
                    <a:close/>
                    <a:moveTo>
                      <a:pt x="1206809" y="542938"/>
                    </a:moveTo>
                    <a:cubicBezTo>
                      <a:pt x="1214564" y="541170"/>
                      <a:pt x="1229298" y="545464"/>
                      <a:pt x="1232400" y="553546"/>
                    </a:cubicBezTo>
                    <a:cubicBezTo>
                      <a:pt x="1237914" y="564321"/>
                      <a:pt x="1246186" y="558933"/>
                      <a:pt x="1246186" y="567015"/>
                    </a:cubicBezTo>
                    <a:cubicBezTo>
                      <a:pt x="1244807" y="576444"/>
                      <a:pt x="1224128" y="583179"/>
                      <a:pt x="1217235" y="575097"/>
                    </a:cubicBezTo>
                    <a:cubicBezTo>
                      <a:pt x="1210342" y="567015"/>
                      <a:pt x="1206206" y="571056"/>
                      <a:pt x="1199313" y="562974"/>
                    </a:cubicBezTo>
                    <a:cubicBezTo>
                      <a:pt x="1193799" y="554893"/>
                      <a:pt x="1200692" y="550852"/>
                      <a:pt x="1202070" y="546811"/>
                    </a:cubicBezTo>
                    <a:cubicBezTo>
                      <a:pt x="1202415" y="544790"/>
                      <a:pt x="1204224" y="543527"/>
                      <a:pt x="1206809" y="542938"/>
                    </a:cubicBezTo>
                    <a:close/>
                    <a:moveTo>
                      <a:pt x="3333898" y="444778"/>
                    </a:moveTo>
                    <a:cubicBezTo>
                      <a:pt x="3335535" y="444906"/>
                      <a:pt x="3336811" y="445938"/>
                      <a:pt x="3337151" y="448346"/>
                    </a:cubicBezTo>
                    <a:cubicBezTo>
                      <a:pt x="3338511" y="457977"/>
                      <a:pt x="3331708" y="459353"/>
                      <a:pt x="3324904" y="455226"/>
                    </a:cubicBezTo>
                    <a:cubicBezTo>
                      <a:pt x="3320822" y="452130"/>
                      <a:pt x="3328986" y="444391"/>
                      <a:pt x="3333898" y="444778"/>
                    </a:cubicBezTo>
                    <a:close/>
                    <a:moveTo>
                      <a:pt x="259215" y="443479"/>
                    </a:moveTo>
                    <a:cubicBezTo>
                      <a:pt x="261937" y="449194"/>
                      <a:pt x="260576" y="454909"/>
                      <a:pt x="252412" y="457767"/>
                    </a:cubicBezTo>
                    <a:cubicBezTo>
                      <a:pt x="255133" y="453480"/>
                      <a:pt x="256494" y="447765"/>
                      <a:pt x="259215" y="443479"/>
                    </a:cubicBezTo>
                    <a:close/>
                    <a:moveTo>
                      <a:pt x="3195360" y="430778"/>
                    </a:moveTo>
                    <a:cubicBezTo>
                      <a:pt x="3206404" y="430778"/>
                      <a:pt x="3214686" y="436070"/>
                      <a:pt x="3213306" y="438716"/>
                    </a:cubicBezTo>
                    <a:cubicBezTo>
                      <a:pt x="3211925" y="442684"/>
                      <a:pt x="3195360" y="446653"/>
                      <a:pt x="3188458" y="445330"/>
                    </a:cubicBezTo>
                    <a:cubicBezTo>
                      <a:pt x="3182936" y="445330"/>
                      <a:pt x="3184317" y="430778"/>
                      <a:pt x="3195360" y="430778"/>
                    </a:cubicBezTo>
                    <a:close/>
                    <a:moveTo>
                      <a:pt x="401072" y="417205"/>
                    </a:moveTo>
                    <a:cubicBezTo>
                      <a:pt x="413339" y="424049"/>
                      <a:pt x="406524" y="436370"/>
                      <a:pt x="398346" y="444583"/>
                    </a:cubicBezTo>
                    <a:cubicBezTo>
                      <a:pt x="391530" y="452797"/>
                      <a:pt x="395619" y="478807"/>
                      <a:pt x="405161" y="487020"/>
                    </a:cubicBezTo>
                    <a:cubicBezTo>
                      <a:pt x="414703" y="496603"/>
                      <a:pt x="398346" y="503448"/>
                      <a:pt x="411976" y="514399"/>
                    </a:cubicBezTo>
                    <a:cubicBezTo>
                      <a:pt x="424244" y="526719"/>
                      <a:pt x="428333" y="522613"/>
                      <a:pt x="436512" y="529457"/>
                    </a:cubicBezTo>
                    <a:cubicBezTo>
                      <a:pt x="444691" y="536302"/>
                      <a:pt x="465137" y="541778"/>
                      <a:pt x="465137" y="555467"/>
                    </a:cubicBezTo>
                    <a:cubicBezTo>
                      <a:pt x="463774" y="567787"/>
                      <a:pt x="446054" y="549991"/>
                      <a:pt x="441964" y="555467"/>
                    </a:cubicBezTo>
                    <a:cubicBezTo>
                      <a:pt x="437875" y="562312"/>
                      <a:pt x="425607" y="563681"/>
                      <a:pt x="426970" y="567787"/>
                    </a:cubicBezTo>
                    <a:cubicBezTo>
                      <a:pt x="428333" y="573263"/>
                      <a:pt x="433786" y="577370"/>
                      <a:pt x="439238" y="569156"/>
                    </a:cubicBezTo>
                    <a:cubicBezTo>
                      <a:pt x="444691" y="560943"/>
                      <a:pt x="461048" y="578739"/>
                      <a:pt x="448780" y="585584"/>
                    </a:cubicBezTo>
                    <a:cubicBezTo>
                      <a:pt x="437875" y="592428"/>
                      <a:pt x="407887" y="596535"/>
                      <a:pt x="399709" y="585584"/>
                    </a:cubicBezTo>
                    <a:cubicBezTo>
                      <a:pt x="395619" y="581477"/>
                      <a:pt x="380625" y="581477"/>
                      <a:pt x="379262" y="577370"/>
                    </a:cubicBezTo>
                    <a:cubicBezTo>
                      <a:pt x="377899" y="571894"/>
                      <a:pt x="372447" y="566418"/>
                      <a:pt x="366994" y="576001"/>
                    </a:cubicBezTo>
                    <a:cubicBezTo>
                      <a:pt x="361542" y="585584"/>
                      <a:pt x="356090" y="588321"/>
                      <a:pt x="343822" y="588321"/>
                    </a:cubicBezTo>
                    <a:cubicBezTo>
                      <a:pt x="332917" y="586953"/>
                      <a:pt x="320649" y="600642"/>
                      <a:pt x="297477" y="600642"/>
                    </a:cubicBezTo>
                    <a:cubicBezTo>
                      <a:pt x="272941" y="599273"/>
                      <a:pt x="262037" y="596535"/>
                      <a:pt x="262037" y="581477"/>
                    </a:cubicBezTo>
                    <a:cubicBezTo>
                      <a:pt x="263400" y="567787"/>
                      <a:pt x="244316" y="582846"/>
                      <a:pt x="226596" y="573263"/>
                    </a:cubicBezTo>
                    <a:cubicBezTo>
                      <a:pt x="207513" y="562312"/>
                      <a:pt x="206150" y="562312"/>
                      <a:pt x="204787" y="555467"/>
                    </a:cubicBezTo>
                    <a:cubicBezTo>
                      <a:pt x="204787" y="554098"/>
                      <a:pt x="204787" y="554098"/>
                      <a:pt x="204787" y="554098"/>
                    </a:cubicBezTo>
                    <a:cubicBezTo>
                      <a:pt x="208876" y="545884"/>
                      <a:pt x="211602" y="537671"/>
                      <a:pt x="215692" y="530826"/>
                    </a:cubicBezTo>
                    <a:cubicBezTo>
                      <a:pt x="219781" y="521244"/>
                      <a:pt x="223870" y="511661"/>
                      <a:pt x="229322" y="502079"/>
                    </a:cubicBezTo>
                    <a:cubicBezTo>
                      <a:pt x="229322" y="500710"/>
                      <a:pt x="230686" y="499341"/>
                      <a:pt x="232049" y="497972"/>
                    </a:cubicBezTo>
                    <a:cubicBezTo>
                      <a:pt x="237501" y="485651"/>
                      <a:pt x="242953" y="473331"/>
                      <a:pt x="249769" y="461011"/>
                    </a:cubicBezTo>
                    <a:cubicBezTo>
                      <a:pt x="253858" y="463748"/>
                      <a:pt x="262037" y="465117"/>
                      <a:pt x="263400" y="462379"/>
                    </a:cubicBezTo>
                    <a:cubicBezTo>
                      <a:pt x="268852" y="458273"/>
                      <a:pt x="260674" y="445952"/>
                      <a:pt x="274304" y="444583"/>
                    </a:cubicBezTo>
                    <a:cubicBezTo>
                      <a:pt x="287935" y="443214"/>
                      <a:pt x="301566" y="451428"/>
                      <a:pt x="300203" y="459642"/>
                    </a:cubicBezTo>
                    <a:cubicBezTo>
                      <a:pt x="298840" y="466486"/>
                      <a:pt x="297477" y="471962"/>
                      <a:pt x="304292" y="463748"/>
                    </a:cubicBezTo>
                    <a:cubicBezTo>
                      <a:pt x="312471" y="456904"/>
                      <a:pt x="320649" y="471962"/>
                      <a:pt x="323376" y="462379"/>
                    </a:cubicBezTo>
                    <a:cubicBezTo>
                      <a:pt x="324739" y="452797"/>
                      <a:pt x="309745" y="452797"/>
                      <a:pt x="311108" y="445952"/>
                    </a:cubicBezTo>
                    <a:cubicBezTo>
                      <a:pt x="312471" y="439108"/>
                      <a:pt x="334280" y="450059"/>
                      <a:pt x="339733" y="459642"/>
                    </a:cubicBezTo>
                    <a:cubicBezTo>
                      <a:pt x="345185" y="469224"/>
                      <a:pt x="346548" y="493865"/>
                      <a:pt x="352000" y="492496"/>
                    </a:cubicBezTo>
                    <a:cubicBezTo>
                      <a:pt x="357453" y="491127"/>
                      <a:pt x="365631" y="491127"/>
                      <a:pt x="361542" y="482913"/>
                    </a:cubicBezTo>
                    <a:cubicBezTo>
                      <a:pt x="357453" y="474700"/>
                      <a:pt x="346548" y="444583"/>
                      <a:pt x="352000" y="436370"/>
                    </a:cubicBezTo>
                    <a:cubicBezTo>
                      <a:pt x="356090" y="428156"/>
                      <a:pt x="362905" y="440477"/>
                      <a:pt x="368358" y="436370"/>
                    </a:cubicBezTo>
                    <a:cubicBezTo>
                      <a:pt x="373810" y="432263"/>
                      <a:pt x="390167" y="451428"/>
                      <a:pt x="390167" y="445952"/>
                    </a:cubicBezTo>
                    <a:cubicBezTo>
                      <a:pt x="390167" y="441845"/>
                      <a:pt x="372447" y="429525"/>
                      <a:pt x="369721" y="426787"/>
                    </a:cubicBezTo>
                    <a:cubicBezTo>
                      <a:pt x="368358" y="422680"/>
                      <a:pt x="388804" y="411729"/>
                      <a:pt x="401072" y="417205"/>
                    </a:cubicBezTo>
                    <a:close/>
                    <a:moveTo>
                      <a:pt x="711572" y="415789"/>
                    </a:moveTo>
                    <a:cubicBezTo>
                      <a:pt x="715627" y="416174"/>
                      <a:pt x="718103" y="417199"/>
                      <a:pt x="718103" y="418567"/>
                    </a:cubicBezTo>
                    <a:cubicBezTo>
                      <a:pt x="718103" y="425405"/>
                      <a:pt x="711273" y="424037"/>
                      <a:pt x="701711" y="436346"/>
                    </a:cubicBezTo>
                    <a:cubicBezTo>
                      <a:pt x="693515" y="447287"/>
                      <a:pt x="689417" y="456860"/>
                      <a:pt x="693515" y="462330"/>
                    </a:cubicBezTo>
                    <a:cubicBezTo>
                      <a:pt x="698979" y="469169"/>
                      <a:pt x="693515" y="478742"/>
                      <a:pt x="697613" y="486948"/>
                    </a:cubicBezTo>
                    <a:cubicBezTo>
                      <a:pt x="700345" y="496521"/>
                      <a:pt x="724933" y="510197"/>
                      <a:pt x="723567" y="499256"/>
                    </a:cubicBezTo>
                    <a:cubicBezTo>
                      <a:pt x="723567" y="488315"/>
                      <a:pt x="714005" y="492418"/>
                      <a:pt x="707175" y="485580"/>
                    </a:cubicBezTo>
                    <a:cubicBezTo>
                      <a:pt x="700345" y="478742"/>
                      <a:pt x="719469" y="471904"/>
                      <a:pt x="715371" y="467801"/>
                    </a:cubicBezTo>
                    <a:cubicBezTo>
                      <a:pt x="711273" y="463698"/>
                      <a:pt x="700345" y="451390"/>
                      <a:pt x="711273" y="440449"/>
                    </a:cubicBezTo>
                    <a:cubicBezTo>
                      <a:pt x="720835" y="428140"/>
                      <a:pt x="738593" y="432243"/>
                      <a:pt x="744057" y="424037"/>
                    </a:cubicBezTo>
                    <a:cubicBezTo>
                      <a:pt x="749521" y="417199"/>
                      <a:pt x="771377" y="411729"/>
                      <a:pt x="775475" y="424037"/>
                    </a:cubicBezTo>
                    <a:cubicBezTo>
                      <a:pt x="779573" y="436346"/>
                      <a:pt x="783670" y="439081"/>
                      <a:pt x="786402" y="447287"/>
                    </a:cubicBezTo>
                    <a:cubicBezTo>
                      <a:pt x="789134" y="454125"/>
                      <a:pt x="779573" y="478742"/>
                      <a:pt x="785036" y="478742"/>
                    </a:cubicBezTo>
                    <a:cubicBezTo>
                      <a:pt x="791866" y="478742"/>
                      <a:pt x="809624" y="459595"/>
                      <a:pt x="810990" y="469169"/>
                    </a:cubicBezTo>
                    <a:cubicBezTo>
                      <a:pt x="812356" y="478742"/>
                      <a:pt x="823284" y="481477"/>
                      <a:pt x="821918" y="473271"/>
                    </a:cubicBezTo>
                    <a:cubicBezTo>
                      <a:pt x="820552" y="465066"/>
                      <a:pt x="831480" y="456860"/>
                      <a:pt x="838310" y="456860"/>
                    </a:cubicBezTo>
                    <a:cubicBezTo>
                      <a:pt x="846506" y="456860"/>
                      <a:pt x="875192" y="460963"/>
                      <a:pt x="872460" y="473271"/>
                    </a:cubicBezTo>
                    <a:cubicBezTo>
                      <a:pt x="869728" y="485580"/>
                      <a:pt x="891584" y="478742"/>
                      <a:pt x="891584" y="486948"/>
                    </a:cubicBezTo>
                    <a:cubicBezTo>
                      <a:pt x="891584" y="493786"/>
                      <a:pt x="906609" y="512932"/>
                      <a:pt x="910707" y="504726"/>
                    </a:cubicBezTo>
                    <a:cubicBezTo>
                      <a:pt x="913439" y="495153"/>
                      <a:pt x="932563" y="495153"/>
                      <a:pt x="933929" y="503359"/>
                    </a:cubicBezTo>
                    <a:cubicBezTo>
                      <a:pt x="936661" y="510197"/>
                      <a:pt x="927099" y="517035"/>
                      <a:pt x="920269" y="518403"/>
                    </a:cubicBezTo>
                    <a:cubicBezTo>
                      <a:pt x="913439" y="519770"/>
                      <a:pt x="920269" y="529343"/>
                      <a:pt x="925733" y="523873"/>
                    </a:cubicBezTo>
                    <a:cubicBezTo>
                      <a:pt x="932563" y="519770"/>
                      <a:pt x="946223" y="512932"/>
                      <a:pt x="946223" y="519770"/>
                    </a:cubicBezTo>
                    <a:cubicBezTo>
                      <a:pt x="946223" y="526608"/>
                      <a:pt x="948955" y="532079"/>
                      <a:pt x="958517" y="527976"/>
                    </a:cubicBezTo>
                    <a:cubicBezTo>
                      <a:pt x="966713" y="525241"/>
                      <a:pt x="985837" y="532079"/>
                      <a:pt x="981739" y="537549"/>
                    </a:cubicBezTo>
                    <a:cubicBezTo>
                      <a:pt x="979007" y="543020"/>
                      <a:pt x="974909" y="552593"/>
                      <a:pt x="979007" y="552593"/>
                    </a:cubicBezTo>
                    <a:cubicBezTo>
                      <a:pt x="984471" y="552593"/>
                      <a:pt x="985837" y="543020"/>
                      <a:pt x="991301" y="545755"/>
                    </a:cubicBezTo>
                    <a:cubicBezTo>
                      <a:pt x="995399" y="549858"/>
                      <a:pt x="1003595" y="558063"/>
                      <a:pt x="999497" y="562166"/>
                    </a:cubicBezTo>
                    <a:cubicBezTo>
                      <a:pt x="995399" y="566269"/>
                      <a:pt x="989935" y="563534"/>
                      <a:pt x="989935" y="570372"/>
                    </a:cubicBezTo>
                    <a:cubicBezTo>
                      <a:pt x="991301" y="577210"/>
                      <a:pt x="1011791" y="571739"/>
                      <a:pt x="1007693" y="581313"/>
                    </a:cubicBezTo>
                    <a:cubicBezTo>
                      <a:pt x="1004961" y="590886"/>
                      <a:pt x="988569" y="575842"/>
                      <a:pt x="987203" y="586783"/>
                    </a:cubicBezTo>
                    <a:cubicBezTo>
                      <a:pt x="985837" y="599092"/>
                      <a:pt x="998131" y="607297"/>
                      <a:pt x="1007693" y="608665"/>
                    </a:cubicBezTo>
                    <a:cubicBezTo>
                      <a:pt x="1017254" y="608665"/>
                      <a:pt x="1028182" y="622341"/>
                      <a:pt x="1035012" y="619606"/>
                    </a:cubicBezTo>
                    <a:cubicBezTo>
                      <a:pt x="1043208" y="618238"/>
                      <a:pt x="1063698" y="631914"/>
                      <a:pt x="1063698" y="637385"/>
                    </a:cubicBezTo>
                    <a:cubicBezTo>
                      <a:pt x="1063698" y="644223"/>
                      <a:pt x="1065064" y="652428"/>
                      <a:pt x="1077358" y="652428"/>
                    </a:cubicBezTo>
                    <a:cubicBezTo>
                      <a:pt x="1088286" y="651061"/>
                      <a:pt x="1103312" y="660634"/>
                      <a:pt x="1095116" y="666105"/>
                    </a:cubicBezTo>
                    <a:cubicBezTo>
                      <a:pt x="1086920" y="670207"/>
                      <a:pt x="1074626" y="681148"/>
                      <a:pt x="1074626" y="689354"/>
                    </a:cubicBezTo>
                    <a:cubicBezTo>
                      <a:pt x="1075992" y="698927"/>
                      <a:pt x="1060966" y="692089"/>
                      <a:pt x="1058234" y="700295"/>
                    </a:cubicBezTo>
                    <a:cubicBezTo>
                      <a:pt x="1056868" y="709868"/>
                      <a:pt x="1055502" y="719441"/>
                      <a:pt x="1041842" y="705765"/>
                    </a:cubicBezTo>
                    <a:cubicBezTo>
                      <a:pt x="1028182" y="692089"/>
                      <a:pt x="1026816" y="679781"/>
                      <a:pt x="1018620" y="678413"/>
                    </a:cubicBezTo>
                    <a:cubicBezTo>
                      <a:pt x="1010425" y="678413"/>
                      <a:pt x="1003595" y="660634"/>
                      <a:pt x="996765" y="670207"/>
                    </a:cubicBezTo>
                    <a:cubicBezTo>
                      <a:pt x="989935" y="678413"/>
                      <a:pt x="1000863" y="685251"/>
                      <a:pt x="992667" y="690722"/>
                    </a:cubicBezTo>
                    <a:cubicBezTo>
                      <a:pt x="983105" y="696192"/>
                      <a:pt x="1007693" y="719441"/>
                      <a:pt x="1018620" y="719441"/>
                    </a:cubicBezTo>
                    <a:cubicBezTo>
                      <a:pt x="1028182" y="719441"/>
                      <a:pt x="1033646" y="734485"/>
                      <a:pt x="1033646" y="745426"/>
                    </a:cubicBezTo>
                    <a:cubicBezTo>
                      <a:pt x="1033646" y="756367"/>
                      <a:pt x="1052770" y="752264"/>
                      <a:pt x="1043208" y="767308"/>
                    </a:cubicBezTo>
                    <a:cubicBezTo>
                      <a:pt x="1032280" y="782352"/>
                      <a:pt x="1013157" y="776881"/>
                      <a:pt x="999497" y="763205"/>
                    </a:cubicBezTo>
                    <a:cubicBezTo>
                      <a:pt x="987203" y="750897"/>
                      <a:pt x="965347" y="754999"/>
                      <a:pt x="976275" y="759102"/>
                    </a:cubicBezTo>
                    <a:cubicBezTo>
                      <a:pt x="987203" y="761837"/>
                      <a:pt x="1022718" y="800131"/>
                      <a:pt x="1017254" y="809704"/>
                    </a:cubicBezTo>
                    <a:cubicBezTo>
                      <a:pt x="1011791" y="816542"/>
                      <a:pt x="976275" y="796028"/>
                      <a:pt x="968079" y="786454"/>
                    </a:cubicBezTo>
                    <a:cubicBezTo>
                      <a:pt x="959883" y="776881"/>
                      <a:pt x="938027" y="780984"/>
                      <a:pt x="931197" y="772778"/>
                    </a:cubicBezTo>
                    <a:cubicBezTo>
                      <a:pt x="923001" y="763205"/>
                      <a:pt x="932563" y="749529"/>
                      <a:pt x="921635" y="748161"/>
                    </a:cubicBezTo>
                    <a:cubicBezTo>
                      <a:pt x="910707" y="746794"/>
                      <a:pt x="912073" y="730382"/>
                      <a:pt x="903877" y="729015"/>
                    </a:cubicBezTo>
                    <a:cubicBezTo>
                      <a:pt x="894316" y="726280"/>
                      <a:pt x="880656" y="722177"/>
                      <a:pt x="879290" y="730382"/>
                    </a:cubicBezTo>
                    <a:cubicBezTo>
                      <a:pt x="877924" y="738588"/>
                      <a:pt x="876558" y="734485"/>
                      <a:pt x="864264" y="733118"/>
                    </a:cubicBezTo>
                    <a:cubicBezTo>
                      <a:pt x="851970" y="733118"/>
                      <a:pt x="835578" y="741323"/>
                      <a:pt x="828748" y="731750"/>
                    </a:cubicBezTo>
                    <a:cubicBezTo>
                      <a:pt x="821918" y="722177"/>
                      <a:pt x="830114" y="708501"/>
                      <a:pt x="838310" y="708501"/>
                    </a:cubicBezTo>
                    <a:cubicBezTo>
                      <a:pt x="845140" y="708501"/>
                      <a:pt x="839676" y="696192"/>
                      <a:pt x="858800" y="703030"/>
                    </a:cubicBezTo>
                    <a:cubicBezTo>
                      <a:pt x="877924" y="711236"/>
                      <a:pt x="898414" y="703030"/>
                      <a:pt x="895682" y="693457"/>
                    </a:cubicBezTo>
                    <a:cubicBezTo>
                      <a:pt x="894316" y="685251"/>
                      <a:pt x="880656" y="671575"/>
                      <a:pt x="899779" y="662002"/>
                    </a:cubicBezTo>
                    <a:cubicBezTo>
                      <a:pt x="920269" y="652428"/>
                      <a:pt x="943491" y="672943"/>
                      <a:pt x="940759" y="679781"/>
                    </a:cubicBezTo>
                    <a:cubicBezTo>
                      <a:pt x="938027" y="686619"/>
                      <a:pt x="970811" y="674310"/>
                      <a:pt x="963981" y="666105"/>
                    </a:cubicBezTo>
                    <a:cubicBezTo>
                      <a:pt x="957151" y="659267"/>
                      <a:pt x="947589" y="645590"/>
                      <a:pt x="939393" y="652428"/>
                    </a:cubicBezTo>
                    <a:cubicBezTo>
                      <a:pt x="929831" y="657899"/>
                      <a:pt x="913439" y="659267"/>
                      <a:pt x="913439" y="655164"/>
                    </a:cubicBezTo>
                    <a:cubicBezTo>
                      <a:pt x="912073" y="649693"/>
                      <a:pt x="921635" y="636017"/>
                      <a:pt x="913439" y="622341"/>
                    </a:cubicBezTo>
                    <a:cubicBezTo>
                      <a:pt x="905243" y="607297"/>
                      <a:pt x="898414" y="599092"/>
                      <a:pt x="888852" y="603194"/>
                    </a:cubicBezTo>
                    <a:cubicBezTo>
                      <a:pt x="883388" y="607297"/>
                      <a:pt x="883388" y="584048"/>
                      <a:pt x="875192" y="585416"/>
                    </a:cubicBezTo>
                    <a:cubicBezTo>
                      <a:pt x="865630" y="585416"/>
                      <a:pt x="856068" y="599092"/>
                      <a:pt x="850604" y="593621"/>
                    </a:cubicBezTo>
                    <a:cubicBezTo>
                      <a:pt x="843774" y="586783"/>
                      <a:pt x="865630" y="584048"/>
                      <a:pt x="865630" y="577210"/>
                    </a:cubicBezTo>
                    <a:cubicBezTo>
                      <a:pt x="864264" y="570372"/>
                      <a:pt x="842408" y="563534"/>
                      <a:pt x="841042" y="558063"/>
                    </a:cubicBezTo>
                    <a:cubicBezTo>
                      <a:pt x="841042" y="552593"/>
                      <a:pt x="835578" y="555328"/>
                      <a:pt x="832846" y="548490"/>
                    </a:cubicBezTo>
                    <a:cubicBezTo>
                      <a:pt x="831480" y="541652"/>
                      <a:pt x="820552" y="538917"/>
                      <a:pt x="813722" y="534814"/>
                    </a:cubicBezTo>
                    <a:cubicBezTo>
                      <a:pt x="808258" y="530711"/>
                      <a:pt x="805526" y="541652"/>
                      <a:pt x="810990" y="543020"/>
                    </a:cubicBezTo>
                    <a:cubicBezTo>
                      <a:pt x="815088" y="545755"/>
                      <a:pt x="820552" y="553960"/>
                      <a:pt x="812356" y="555328"/>
                    </a:cubicBezTo>
                    <a:cubicBezTo>
                      <a:pt x="805526" y="556696"/>
                      <a:pt x="779573" y="545755"/>
                      <a:pt x="776841" y="549858"/>
                    </a:cubicBezTo>
                    <a:cubicBezTo>
                      <a:pt x="775475" y="553960"/>
                      <a:pt x="767279" y="558063"/>
                      <a:pt x="760449" y="558063"/>
                    </a:cubicBezTo>
                    <a:cubicBezTo>
                      <a:pt x="754985" y="556696"/>
                      <a:pt x="739959" y="551225"/>
                      <a:pt x="726299" y="549858"/>
                    </a:cubicBezTo>
                    <a:cubicBezTo>
                      <a:pt x="712639" y="549858"/>
                      <a:pt x="698979" y="552593"/>
                      <a:pt x="694881" y="544387"/>
                    </a:cubicBezTo>
                    <a:cubicBezTo>
                      <a:pt x="689417" y="537549"/>
                      <a:pt x="689417" y="537549"/>
                      <a:pt x="678489" y="540284"/>
                    </a:cubicBezTo>
                    <a:cubicBezTo>
                      <a:pt x="667561" y="543020"/>
                      <a:pt x="648438" y="529343"/>
                      <a:pt x="647072" y="521138"/>
                    </a:cubicBezTo>
                    <a:cubicBezTo>
                      <a:pt x="647072" y="514300"/>
                      <a:pt x="662098" y="517035"/>
                      <a:pt x="671659" y="519770"/>
                    </a:cubicBezTo>
                    <a:cubicBezTo>
                      <a:pt x="679855" y="521138"/>
                      <a:pt x="686685" y="515667"/>
                      <a:pt x="674391" y="510197"/>
                    </a:cubicBezTo>
                    <a:cubicBezTo>
                      <a:pt x="663463" y="506094"/>
                      <a:pt x="642974" y="510197"/>
                      <a:pt x="641608" y="503359"/>
                    </a:cubicBezTo>
                    <a:cubicBezTo>
                      <a:pt x="640242" y="496521"/>
                      <a:pt x="633412" y="462330"/>
                      <a:pt x="656634" y="437713"/>
                    </a:cubicBezTo>
                    <a:cubicBezTo>
                      <a:pt x="673025" y="419251"/>
                      <a:pt x="699406" y="414635"/>
                      <a:pt x="711572" y="415789"/>
                    </a:cubicBezTo>
                    <a:close/>
                    <a:moveTo>
                      <a:pt x="788597" y="415533"/>
                    </a:moveTo>
                    <a:cubicBezTo>
                      <a:pt x="790866" y="415361"/>
                      <a:pt x="793621" y="416136"/>
                      <a:pt x="796589" y="417170"/>
                    </a:cubicBezTo>
                    <a:cubicBezTo>
                      <a:pt x="802524" y="419238"/>
                      <a:pt x="809307" y="422340"/>
                      <a:pt x="814733" y="420962"/>
                    </a:cubicBezTo>
                    <a:cubicBezTo>
                      <a:pt x="825586" y="418204"/>
                      <a:pt x="854074" y="436127"/>
                      <a:pt x="854074" y="445777"/>
                    </a:cubicBezTo>
                    <a:cubicBezTo>
                      <a:pt x="854074" y="455427"/>
                      <a:pt x="826942" y="445777"/>
                      <a:pt x="816089" y="452670"/>
                    </a:cubicBezTo>
                    <a:cubicBezTo>
                      <a:pt x="806593" y="460942"/>
                      <a:pt x="794384" y="456806"/>
                      <a:pt x="793028" y="443020"/>
                    </a:cubicBezTo>
                    <a:cubicBezTo>
                      <a:pt x="793028" y="430612"/>
                      <a:pt x="779462" y="430612"/>
                      <a:pt x="783531" y="419583"/>
                    </a:cubicBezTo>
                    <a:cubicBezTo>
                      <a:pt x="784548" y="416826"/>
                      <a:pt x="786329" y="415705"/>
                      <a:pt x="788597" y="415533"/>
                    </a:cubicBezTo>
                    <a:close/>
                    <a:moveTo>
                      <a:pt x="587418" y="403572"/>
                    </a:moveTo>
                    <a:cubicBezTo>
                      <a:pt x="598372" y="403572"/>
                      <a:pt x="601110" y="410413"/>
                      <a:pt x="613434" y="409045"/>
                    </a:cubicBezTo>
                    <a:cubicBezTo>
                      <a:pt x="625757" y="409045"/>
                      <a:pt x="635342" y="409045"/>
                      <a:pt x="629865" y="418623"/>
                    </a:cubicBezTo>
                    <a:cubicBezTo>
                      <a:pt x="624388" y="426832"/>
                      <a:pt x="610695" y="451461"/>
                      <a:pt x="606587" y="455566"/>
                    </a:cubicBezTo>
                    <a:cubicBezTo>
                      <a:pt x="602480" y="459670"/>
                      <a:pt x="590156" y="452829"/>
                      <a:pt x="581940" y="452829"/>
                    </a:cubicBezTo>
                    <a:cubicBezTo>
                      <a:pt x="575094" y="452829"/>
                      <a:pt x="576463" y="456934"/>
                      <a:pt x="580571" y="459670"/>
                    </a:cubicBezTo>
                    <a:cubicBezTo>
                      <a:pt x="586048" y="461039"/>
                      <a:pt x="584679" y="463775"/>
                      <a:pt x="579202" y="471985"/>
                    </a:cubicBezTo>
                    <a:cubicBezTo>
                      <a:pt x="572356" y="478826"/>
                      <a:pt x="570986" y="481563"/>
                      <a:pt x="566878" y="481563"/>
                    </a:cubicBezTo>
                    <a:cubicBezTo>
                      <a:pt x="564140" y="481563"/>
                      <a:pt x="565509" y="491140"/>
                      <a:pt x="570986" y="489772"/>
                    </a:cubicBezTo>
                    <a:cubicBezTo>
                      <a:pt x="576463" y="488404"/>
                      <a:pt x="590156" y="502086"/>
                      <a:pt x="591525" y="506191"/>
                    </a:cubicBezTo>
                    <a:cubicBezTo>
                      <a:pt x="592895" y="510296"/>
                      <a:pt x="587418" y="521242"/>
                      <a:pt x="590156" y="523978"/>
                    </a:cubicBezTo>
                    <a:cubicBezTo>
                      <a:pt x="594264" y="525347"/>
                      <a:pt x="605218" y="526715"/>
                      <a:pt x="605218" y="533556"/>
                    </a:cubicBezTo>
                    <a:cubicBezTo>
                      <a:pt x="605218" y="540397"/>
                      <a:pt x="617542" y="540397"/>
                      <a:pt x="614803" y="545870"/>
                    </a:cubicBezTo>
                    <a:cubicBezTo>
                      <a:pt x="610695" y="551343"/>
                      <a:pt x="605218" y="544502"/>
                      <a:pt x="605218" y="549975"/>
                    </a:cubicBezTo>
                    <a:cubicBezTo>
                      <a:pt x="605218" y="554080"/>
                      <a:pt x="601110" y="562289"/>
                      <a:pt x="605218" y="566394"/>
                    </a:cubicBezTo>
                    <a:cubicBezTo>
                      <a:pt x="607957" y="569131"/>
                      <a:pt x="613434" y="560921"/>
                      <a:pt x="616172" y="562289"/>
                    </a:cubicBezTo>
                    <a:cubicBezTo>
                      <a:pt x="620280" y="563658"/>
                      <a:pt x="628496" y="569131"/>
                      <a:pt x="632604" y="569131"/>
                    </a:cubicBezTo>
                    <a:cubicBezTo>
                      <a:pt x="636711" y="569131"/>
                      <a:pt x="633973" y="575972"/>
                      <a:pt x="628496" y="577340"/>
                    </a:cubicBezTo>
                    <a:cubicBezTo>
                      <a:pt x="623019" y="578708"/>
                      <a:pt x="623019" y="582813"/>
                      <a:pt x="627126" y="585550"/>
                    </a:cubicBezTo>
                    <a:cubicBezTo>
                      <a:pt x="629865" y="586918"/>
                      <a:pt x="627126" y="608810"/>
                      <a:pt x="631234" y="607442"/>
                    </a:cubicBezTo>
                    <a:cubicBezTo>
                      <a:pt x="635342" y="607442"/>
                      <a:pt x="633973" y="595128"/>
                      <a:pt x="639450" y="592391"/>
                    </a:cubicBezTo>
                    <a:cubicBezTo>
                      <a:pt x="643558" y="591023"/>
                      <a:pt x="642188" y="582813"/>
                      <a:pt x="644927" y="580077"/>
                    </a:cubicBezTo>
                    <a:cubicBezTo>
                      <a:pt x="647666" y="575972"/>
                      <a:pt x="654512" y="575972"/>
                      <a:pt x="659989" y="584181"/>
                    </a:cubicBezTo>
                    <a:cubicBezTo>
                      <a:pt x="665466" y="591023"/>
                      <a:pt x="669574" y="589655"/>
                      <a:pt x="669574" y="596496"/>
                    </a:cubicBezTo>
                    <a:cubicBezTo>
                      <a:pt x="670943" y="604705"/>
                      <a:pt x="673682" y="608810"/>
                      <a:pt x="670943" y="608810"/>
                    </a:cubicBezTo>
                    <a:cubicBezTo>
                      <a:pt x="666835" y="610178"/>
                      <a:pt x="664097" y="611547"/>
                      <a:pt x="664097" y="618388"/>
                    </a:cubicBezTo>
                    <a:cubicBezTo>
                      <a:pt x="662728" y="623861"/>
                      <a:pt x="669574" y="632070"/>
                      <a:pt x="673682" y="637543"/>
                    </a:cubicBezTo>
                    <a:cubicBezTo>
                      <a:pt x="679159" y="643016"/>
                      <a:pt x="679159" y="653962"/>
                      <a:pt x="683267" y="645753"/>
                    </a:cubicBezTo>
                    <a:cubicBezTo>
                      <a:pt x="686005" y="638912"/>
                      <a:pt x="695590" y="643016"/>
                      <a:pt x="694221" y="636175"/>
                    </a:cubicBezTo>
                    <a:cubicBezTo>
                      <a:pt x="692852" y="630702"/>
                      <a:pt x="692852" y="626597"/>
                      <a:pt x="688744" y="625229"/>
                    </a:cubicBezTo>
                    <a:cubicBezTo>
                      <a:pt x="684636" y="623861"/>
                      <a:pt x="684636" y="610178"/>
                      <a:pt x="690113" y="610178"/>
                    </a:cubicBezTo>
                    <a:cubicBezTo>
                      <a:pt x="695590" y="610178"/>
                      <a:pt x="691482" y="625229"/>
                      <a:pt x="696959" y="622493"/>
                    </a:cubicBezTo>
                    <a:cubicBezTo>
                      <a:pt x="703806" y="618388"/>
                      <a:pt x="703806" y="614283"/>
                      <a:pt x="705175" y="603337"/>
                    </a:cubicBezTo>
                    <a:cubicBezTo>
                      <a:pt x="706544" y="592391"/>
                      <a:pt x="712021" y="593759"/>
                      <a:pt x="714760" y="595128"/>
                    </a:cubicBezTo>
                    <a:cubicBezTo>
                      <a:pt x="718868" y="595128"/>
                      <a:pt x="713391" y="588286"/>
                      <a:pt x="717498" y="585550"/>
                    </a:cubicBezTo>
                    <a:cubicBezTo>
                      <a:pt x="722976" y="584181"/>
                      <a:pt x="718868" y="577340"/>
                      <a:pt x="713391" y="577340"/>
                    </a:cubicBezTo>
                    <a:cubicBezTo>
                      <a:pt x="707914" y="575972"/>
                      <a:pt x="707914" y="559553"/>
                      <a:pt x="712021" y="558185"/>
                    </a:cubicBezTo>
                    <a:cubicBezTo>
                      <a:pt x="714760" y="558185"/>
                      <a:pt x="729822" y="558185"/>
                      <a:pt x="736668" y="560921"/>
                    </a:cubicBezTo>
                    <a:cubicBezTo>
                      <a:pt x="743515" y="565026"/>
                      <a:pt x="754469" y="560921"/>
                      <a:pt x="754469" y="567762"/>
                    </a:cubicBezTo>
                    <a:cubicBezTo>
                      <a:pt x="754469" y="573235"/>
                      <a:pt x="759946" y="577340"/>
                      <a:pt x="766792" y="577340"/>
                    </a:cubicBezTo>
                    <a:cubicBezTo>
                      <a:pt x="772269" y="577340"/>
                      <a:pt x="777746" y="581445"/>
                      <a:pt x="772269" y="585550"/>
                    </a:cubicBezTo>
                    <a:cubicBezTo>
                      <a:pt x="765423" y="589655"/>
                      <a:pt x="779116" y="591023"/>
                      <a:pt x="776377" y="596496"/>
                    </a:cubicBezTo>
                    <a:cubicBezTo>
                      <a:pt x="772269" y="603337"/>
                      <a:pt x="766792" y="606074"/>
                      <a:pt x="759946" y="603337"/>
                    </a:cubicBezTo>
                    <a:cubicBezTo>
                      <a:pt x="753100" y="601969"/>
                      <a:pt x="754469" y="608810"/>
                      <a:pt x="759946" y="611547"/>
                    </a:cubicBezTo>
                    <a:cubicBezTo>
                      <a:pt x="765423" y="615651"/>
                      <a:pt x="759946" y="619756"/>
                      <a:pt x="765423" y="625229"/>
                    </a:cubicBezTo>
                    <a:cubicBezTo>
                      <a:pt x="770900" y="630702"/>
                      <a:pt x="777746" y="637543"/>
                      <a:pt x="772269" y="645753"/>
                    </a:cubicBezTo>
                    <a:cubicBezTo>
                      <a:pt x="768162" y="653962"/>
                      <a:pt x="768162" y="648489"/>
                      <a:pt x="764054" y="652594"/>
                    </a:cubicBezTo>
                    <a:cubicBezTo>
                      <a:pt x="759946" y="658067"/>
                      <a:pt x="755838" y="663540"/>
                      <a:pt x="748992" y="666277"/>
                    </a:cubicBezTo>
                    <a:cubicBezTo>
                      <a:pt x="742145" y="669013"/>
                      <a:pt x="739407" y="675854"/>
                      <a:pt x="735299" y="666277"/>
                    </a:cubicBezTo>
                    <a:cubicBezTo>
                      <a:pt x="732560" y="659435"/>
                      <a:pt x="727083" y="660804"/>
                      <a:pt x="724345" y="653962"/>
                    </a:cubicBezTo>
                    <a:cubicBezTo>
                      <a:pt x="722976" y="648489"/>
                      <a:pt x="713391" y="655331"/>
                      <a:pt x="721606" y="659435"/>
                    </a:cubicBezTo>
                    <a:cubicBezTo>
                      <a:pt x="729822" y="663540"/>
                      <a:pt x="735299" y="673118"/>
                      <a:pt x="731191" y="673118"/>
                    </a:cubicBezTo>
                    <a:cubicBezTo>
                      <a:pt x="725714" y="673118"/>
                      <a:pt x="716129" y="677223"/>
                      <a:pt x="713391" y="674486"/>
                    </a:cubicBezTo>
                    <a:cubicBezTo>
                      <a:pt x="712021" y="671750"/>
                      <a:pt x="709283" y="666277"/>
                      <a:pt x="703806" y="666277"/>
                    </a:cubicBezTo>
                    <a:cubicBezTo>
                      <a:pt x="698329" y="666277"/>
                      <a:pt x="687374" y="669013"/>
                      <a:pt x="691482" y="671750"/>
                    </a:cubicBezTo>
                    <a:cubicBezTo>
                      <a:pt x="695590" y="675854"/>
                      <a:pt x="706544" y="678591"/>
                      <a:pt x="701067" y="682696"/>
                    </a:cubicBezTo>
                    <a:cubicBezTo>
                      <a:pt x="695590" y="688169"/>
                      <a:pt x="683267" y="704588"/>
                      <a:pt x="676420" y="703219"/>
                    </a:cubicBezTo>
                    <a:cubicBezTo>
                      <a:pt x="669574" y="703219"/>
                      <a:pt x="653143" y="686800"/>
                      <a:pt x="644927" y="685432"/>
                    </a:cubicBezTo>
                    <a:cubicBezTo>
                      <a:pt x="638081" y="684064"/>
                      <a:pt x="636711" y="689537"/>
                      <a:pt x="643558" y="696378"/>
                    </a:cubicBezTo>
                    <a:cubicBezTo>
                      <a:pt x="650404" y="701851"/>
                      <a:pt x="658620" y="708692"/>
                      <a:pt x="670943" y="707324"/>
                    </a:cubicBezTo>
                    <a:cubicBezTo>
                      <a:pt x="684636" y="705956"/>
                      <a:pt x="690113" y="710061"/>
                      <a:pt x="683267" y="715534"/>
                    </a:cubicBezTo>
                    <a:cubicBezTo>
                      <a:pt x="676420" y="721007"/>
                      <a:pt x="669574" y="741531"/>
                      <a:pt x="661358" y="744267"/>
                    </a:cubicBezTo>
                    <a:cubicBezTo>
                      <a:pt x="653143" y="747004"/>
                      <a:pt x="639450" y="734689"/>
                      <a:pt x="638081" y="738794"/>
                    </a:cubicBezTo>
                    <a:cubicBezTo>
                      <a:pt x="636711" y="744267"/>
                      <a:pt x="640819" y="755213"/>
                      <a:pt x="633973" y="755213"/>
                    </a:cubicBezTo>
                    <a:cubicBezTo>
                      <a:pt x="627126" y="756581"/>
                      <a:pt x="624388" y="756581"/>
                      <a:pt x="614803" y="752477"/>
                    </a:cubicBezTo>
                    <a:cubicBezTo>
                      <a:pt x="605218" y="748372"/>
                      <a:pt x="580571" y="740162"/>
                      <a:pt x="579202" y="744267"/>
                    </a:cubicBezTo>
                    <a:cubicBezTo>
                      <a:pt x="577833" y="749740"/>
                      <a:pt x="603849" y="749740"/>
                      <a:pt x="603849" y="757950"/>
                    </a:cubicBezTo>
                    <a:cubicBezTo>
                      <a:pt x="603849" y="766159"/>
                      <a:pt x="625757" y="757950"/>
                      <a:pt x="627126" y="767527"/>
                    </a:cubicBezTo>
                    <a:cubicBezTo>
                      <a:pt x="628496" y="778473"/>
                      <a:pt x="616172" y="781210"/>
                      <a:pt x="607957" y="781210"/>
                    </a:cubicBezTo>
                    <a:cubicBezTo>
                      <a:pt x="601110" y="781210"/>
                      <a:pt x="598372" y="782578"/>
                      <a:pt x="601110" y="786683"/>
                    </a:cubicBezTo>
                    <a:cubicBezTo>
                      <a:pt x="605218" y="790788"/>
                      <a:pt x="598372" y="788051"/>
                      <a:pt x="597002" y="792156"/>
                    </a:cubicBezTo>
                    <a:cubicBezTo>
                      <a:pt x="595633" y="797629"/>
                      <a:pt x="595633" y="800365"/>
                      <a:pt x="590156" y="800365"/>
                    </a:cubicBezTo>
                    <a:cubicBezTo>
                      <a:pt x="586048" y="801734"/>
                      <a:pt x="590156" y="814048"/>
                      <a:pt x="584679" y="815416"/>
                    </a:cubicBezTo>
                    <a:cubicBezTo>
                      <a:pt x="579202" y="816784"/>
                      <a:pt x="573725" y="820889"/>
                      <a:pt x="573725" y="826362"/>
                    </a:cubicBezTo>
                    <a:cubicBezTo>
                      <a:pt x="573725" y="833203"/>
                      <a:pt x="564140" y="848254"/>
                      <a:pt x="562771" y="857832"/>
                    </a:cubicBezTo>
                    <a:cubicBezTo>
                      <a:pt x="560032" y="868778"/>
                      <a:pt x="561401" y="892038"/>
                      <a:pt x="562771" y="893407"/>
                    </a:cubicBezTo>
                    <a:cubicBezTo>
                      <a:pt x="565509" y="896143"/>
                      <a:pt x="573725" y="900248"/>
                      <a:pt x="580571" y="898880"/>
                    </a:cubicBezTo>
                    <a:cubicBezTo>
                      <a:pt x="587418" y="897511"/>
                      <a:pt x="590156" y="907089"/>
                      <a:pt x="591525" y="915299"/>
                    </a:cubicBezTo>
                    <a:cubicBezTo>
                      <a:pt x="594264" y="923508"/>
                      <a:pt x="601110" y="935822"/>
                      <a:pt x="599741" y="939927"/>
                    </a:cubicBezTo>
                    <a:cubicBezTo>
                      <a:pt x="597002" y="942664"/>
                      <a:pt x="594264" y="949505"/>
                      <a:pt x="597002" y="948137"/>
                    </a:cubicBezTo>
                    <a:cubicBezTo>
                      <a:pt x="599741" y="948137"/>
                      <a:pt x="614803" y="939927"/>
                      <a:pt x="620280" y="939927"/>
                    </a:cubicBezTo>
                    <a:cubicBezTo>
                      <a:pt x="627126" y="939927"/>
                      <a:pt x="636711" y="950873"/>
                      <a:pt x="642188" y="950873"/>
                    </a:cubicBezTo>
                    <a:cubicBezTo>
                      <a:pt x="646296" y="949505"/>
                      <a:pt x="655881" y="950873"/>
                      <a:pt x="658620" y="954978"/>
                    </a:cubicBezTo>
                    <a:cubicBezTo>
                      <a:pt x="661358" y="959083"/>
                      <a:pt x="672312" y="961819"/>
                      <a:pt x="673682" y="965924"/>
                    </a:cubicBezTo>
                    <a:cubicBezTo>
                      <a:pt x="673682" y="970029"/>
                      <a:pt x="679159" y="976870"/>
                      <a:pt x="690113" y="979607"/>
                    </a:cubicBezTo>
                    <a:cubicBezTo>
                      <a:pt x="701067" y="982343"/>
                      <a:pt x="709283" y="989184"/>
                      <a:pt x="712021" y="991921"/>
                    </a:cubicBezTo>
                    <a:cubicBezTo>
                      <a:pt x="714760" y="994657"/>
                      <a:pt x="718868" y="997394"/>
                      <a:pt x="728453" y="996026"/>
                    </a:cubicBezTo>
                    <a:cubicBezTo>
                      <a:pt x="736668" y="994657"/>
                      <a:pt x="746253" y="997394"/>
                      <a:pt x="751730" y="997394"/>
                    </a:cubicBezTo>
                    <a:cubicBezTo>
                      <a:pt x="758577" y="997394"/>
                      <a:pt x="762684" y="1004235"/>
                      <a:pt x="761315" y="1009708"/>
                    </a:cubicBezTo>
                    <a:cubicBezTo>
                      <a:pt x="758577" y="1013813"/>
                      <a:pt x="757207" y="1019286"/>
                      <a:pt x="758577" y="1024759"/>
                    </a:cubicBezTo>
                    <a:cubicBezTo>
                      <a:pt x="761315" y="1030232"/>
                      <a:pt x="759946" y="1046651"/>
                      <a:pt x="759946" y="1053492"/>
                    </a:cubicBezTo>
                    <a:cubicBezTo>
                      <a:pt x="759946" y="1060333"/>
                      <a:pt x="770900" y="1064438"/>
                      <a:pt x="770900" y="1069911"/>
                    </a:cubicBezTo>
                    <a:cubicBezTo>
                      <a:pt x="770900" y="1076752"/>
                      <a:pt x="776377" y="1078121"/>
                      <a:pt x="781854" y="1083594"/>
                    </a:cubicBezTo>
                    <a:cubicBezTo>
                      <a:pt x="788701" y="1089067"/>
                      <a:pt x="785962" y="1097276"/>
                      <a:pt x="787331" y="1095908"/>
                    </a:cubicBezTo>
                    <a:cubicBezTo>
                      <a:pt x="790070" y="1095908"/>
                      <a:pt x="801024" y="1106854"/>
                      <a:pt x="801024" y="1102749"/>
                    </a:cubicBezTo>
                    <a:cubicBezTo>
                      <a:pt x="801024" y="1097276"/>
                      <a:pt x="805132" y="1086330"/>
                      <a:pt x="810609" y="1090435"/>
                    </a:cubicBezTo>
                    <a:cubicBezTo>
                      <a:pt x="814717" y="1094540"/>
                      <a:pt x="817455" y="1098645"/>
                      <a:pt x="817455" y="1091803"/>
                    </a:cubicBezTo>
                    <a:cubicBezTo>
                      <a:pt x="816086" y="1084962"/>
                      <a:pt x="809240" y="1087699"/>
                      <a:pt x="814717" y="1082225"/>
                    </a:cubicBezTo>
                    <a:cubicBezTo>
                      <a:pt x="820194" y="1076752"/>
                      <a:pt x="822932" y="1074016"/>
                      <a:pt x="818825" y="1065806"/>
                    </a:cubicBezTo>
                    <a:cubicBezTo>
                      <a:pt x="813347" y="1057597"/>
                      <a:pt x="816086" y="1052124"/>
                      <a:pt x="813347" y="1042546"/>
                    </a:cubicBezTo>
                    <a:cubicBezTo>
                      <a:pt x="810609" y="1034337"/>
                      <a:pt x="814717" y="1031600"/>
                      <a:pt x="809240" y="1024759"/>
                    </a:cubicBezTo>
                    <a:cubicBezTo>
                      <a:pt x="803763" y="1016549"/>
                      <a:pt x="801024" y="1005603"/>
                      <a:pt x="805132" y="1005603"/>
                    </a:cubicBezTo>
                    <a:cubicBezTo>
                      <a:pt x="809240" y="1005603"/>
                      <a:pt x="818825" y="1006972"/>
                      <a:pt x="827040" y="996026"/>
                    </a:cubicBezTo>
                    <a:cubicBezTo>
                      <a:pt x="836625" y="985080"/>
                      <a:pt x="847579" y="982343"/>
                      <a:pt x="850318" y="970029"/>
                    </a:cubicBezTo>
                    <a:cubicBezTo>
                      <a:pt x="851687" y="956346"/>
                      <a:pt x="851687" y="939927"/>
                      <a:pt x="846210" y="927613"/>
                    </a:cubicBezTo>
                    <a:cubicBezTo>
                      <a:pt x="840733" y="916667"/>
                      <a:pt x="825671" y="909826"/>
                      <a:pt x="822932" y="905721"/>
                    </a:cubicBezTo>
                    <a:cubicBezTo>
                      <a:pt x="818825" y="901616"/>
                      <a:pt x="822932" y="893407"/>
                      <a:pt x="827040" y="886565"/>
                    </a:cubicBezTo>
                    <a:cubicBezTo>
                      <a:pt x="832517" y="879724"/>
                      <a:pt x="828409" y="875619"/>
                      <a:pt x="832517" y="874251"/>
                    </a:cubicBezTo>
                    <a:cubicBezTo>
                      <a:pt x="835256" y="872883"/>
                      <a:pt x="839364" y="875619"/>
                      <a:pt x="837994" y="864673"/>
                    </a:cubicBezTo>
                    <a:cubicBezTo>
                      <a:pt x="837994" y="855096"/>
                      <a:pt x="833887" y="855096"/>
                      <a:pt x="832517" y="848254"/>
                    </a:cubicBezTo>
                    <a:cubicBezTo>
                      <a:pt x="829779" y="840045"/>
                      <a:pt x="827040" y="841413"/>
                      <a:pt x="827040" y="837308"/>
                    </a:cubicBezTo>
                    <a:cubicBezTo>
                      <a:pt x="827040" y="833203"/>
                      <a:pt x="832517" y="833203"/>
                      <a:pt x="832517" y="827730"/>
                    </a:cubicBezTo>
                    <a:cubicBezTo>
                      <a:pt x="832517" y="822257"/>
                      <a:pt x="837994" y="824994"/>
                      <a:pt x="836625" y="819521"/>
                    </a:cubicBezTo>
                    <a:cubicBezTo>
                      <a:pt x="833887" y="812680"/>
                      <a:pt x="827040" y="815416"/>
                      <a:pt x="825671" y="805838"/>
                    </a:cubicBezTo>
                    <a:cubicBezTo>
                      <a:pt x="824302" y="797629"/>
                      <a:pt x="832517" y="796261"/>
                      <a:pt x="832517" y="792156"/>
                    </a:cubicBezTo>
                    <a:cubicBezTo>
                      <a:pt x="833887" y="788051"/>
                      <a:pt x="844841" y="789419"/>
                      <a:pt x="853056" y="792156"/>
                    </a:cubicBezTo>
                    <a:cubicBezTo>
                      <a:pt x="862641" y="794892"/>
                      <a:pt x="862641" y="800365"/>
                      <a:pt x="866749" y="797629"/>
                    </a:cubicBezTo>
                    <a:cubicBezTo>
                      <a:pt x="869488" y="794892"/>
                      <a:pt x="877703" y="801734"/>
                      <a:pt x="880442" y="800365"/>
                    </a:cubicBezTo>
                    <a:cubicBezTo>
                      <a:pt x="883180" y="798997"/>
                      <a:pt x="891396" y="793524"/>
                      <a:pt x="896873" y="793524"/>
                    </a:cubicBezTo>
                    <a:cubicBezTo>
                      <a:pt x="902350" y="794892"/>
                      <a:pt x="903719" y="800365"/>
                      <a:pt x="907827" y="800365"/>
                    </a:cubicBezTo>
                    <a:cubicBezTo>
                      <a:pt x="911935" y="800365"/>
                      <a:pt x="914674" y="803102"/>
                      <a:pt x="914674" y="808575"/>
                    </a:cubicBezTo>
                    <a:cubicBezTo>
                      <a:pt x="914674" y="812680"/>
                      <a:pt x="920151" y="807207"/>
                      <a:pt x="921520" y="815416"/>
                    </a:cubicBezTo>
                    <a:cubicBezTo>
                      <a:pt x="924259" y="822257"/>
                      <a:pt x="928366" y="818153"/>
                      <a:pt x="929736" y="826362"/>
                    </a:cubicBezTo>
                    <a:cubicBezTo>
                      <a:pt x="929736" y="833203"/>
                      <a:pt x="943428" y="834572"/>
                      <a:pt x="948905" y="833203"/>
                    </a:cubicBezTo>
                    <a:cubicBezTo>
                      <a:pt x="953013" y="833203"/>
                      <a:pt x="953013" y="841413"/>
                      <a:pt x="957121" y="837308"/>
                    </a:cubicBezTo>
                    <a:cubicBezTo>
                      <a:pt x="961229" y="834572"/>
                      <a:pt x="965337" y="834572"/>
                      <a:pt x="965337" y="838677"/>
                    </a:cubicBezTo>
                    <a:cubicBezTo>
                      <a:pt x="965337" y="842781"/>
                      <a:pt x="959860" y="844150"/>
                      <a:pt x="959860" y="855096"/>
                    </a:cubicBezTo>
                    <a:cubicBezTo>
                      <a:pt x="961229" y="866042"/>
                      <a:pt x="965337" y="872883"/>
                      <a:pt x="962598" y="875619"/>
                    </a:cubicBezTo>
                    <a:cubicBezTo>
                      <a:pt x="958490" y="879724"/>
                      <a:pt x="970814" y="882461"/>
                      <a:pt x="968075" y="889302"/>
                    </a:cubicBezTo>
                    <a:cubicBezTo>
                      <a:pt x="966706" y="896143"/>
                      <a:pt x="970814" y="896143"/>
                      <a:pt x="976291" y="896143"/>
                    </a:cubicBezTo>
                    <a:cubicBezTo>
                      <a:pt x="983137" y="896143"/>
                      <a:pt x="981768" y="908457"/>
                      <a:pt x="985876" y="905721"/>
                    </a:cubicBezTo>
                    <a:cubicBezTo>
                      <a:pt x="989984" y="901616"/>
                      <a:pt x="989984" y="912562"/>
                      <a:pt x="994091" y="913930"/>
                    </a:cubicBezTo>
                    <a:cubicBezTo>
                      <a:pt x="999569" y="913930"/>
                      <a:pt x="1010523" y="908457"/>
                      <a:pt x="1010523" y="902984"/>
                    </a:cubicBezTo>
                    <a:cubicBezTo>
                      <a:pt x="1010523" y="896143"/>
                      <a:pt x="1017369" y="894775"/>
                      <a:pt x="1020108" y="901616"/>
                    </a:cubicBezTo>
                    <a:cubicBezTo>
                      <a:pt x="1022846" y="907089"/>
                      <a:pt x="1020108" y="893407"/>
                      <a:pt x="1025585" y="893407"/>
                    </a:cubicBezTo>
                    <a:cubicBezTo>
                      <a:pt x="1031062" y="893407"/>
                      <a:pt x="1025585" y="887934"/>
                      <a:pt x="1028323" y="883829"/>
                    </a:cubicBezTo>
                    <a:cubicBezTo>
                      <a:pt x="1031062" y="879724"/>
                      <a:pt x="1035170" y="878356"/>
                      <a:pt x="1031062" y="871515"/>
                    </a:cubicBezTo>
                    <a:cubicBezTo>
                      <a:pt x="1028323" y="868778"/>
                      <a:pt x="1035170" y="868778"/>
                      <a:pt x="1037908" y="859200"/>
                    </a:cubicBezTo>
                    <a:cubicBezTo>
                      <a:pt x="1040647" y="848254"/>
                      <a:pt x="1043385" y="845518"/>
                      <a:pt x="1044754" y="852359"/>
                    </a:cubicBezTo>
                    <a:cubicBezTo>
                      <a:pt x="1047493" y="859200"/>
                      <a:pt x="1052970" y="864673"/>
                      <a:pt x="1052970" y="870146"/>
                    </a:cubicBezTo>
                    <a:cubicBezTo>
                      <a:pt x="1052970" y="875619"/>
                      <a:pt x="1063924" y="885197"/>
                      <a:pt x="1063924" y="890670"/>
                    </a:cubicBezTo>
                    <a:cubicBezTo>
                      <a:pt x="1063924" y="896143"/>
                      <a:pt x="1070771" y="901616"/>
                      <a:pt x="1069401" y="905721"/>
                    </a:cubicBezTo>
                    <a:cubicBezTo>
                      <a:pt x="1069401" y="908457"/>
                      <a:pt x="1074879" y="912562"/>
                      <a:pt x="1076248" y="916667"/>
                    </a:cubicBezTo>
                    <a:cubicBezTo>
                      <a:pt x="1076248" y="920772"/>
                      <a:pt x="1087202" y="926245"/>
                      <a:pt x="1085833" y="930349"/>
                    </a:cubicBezTo>
                    <a:cubicBezTo>
                      <a:pt x="1085833" y="934454"/>
                      <a:pt x="1085833" y="939927"/>
                      <a:pt x="1088571" y="939927"/>
                    </a:cubicBezTo>
                    <a:cubicBezTo>
                      <a:pt x="1091310" y="939927"/>
                      <a:pt x="1096787" y="944032"/>
                      <a:pt x="1094048" y="948137"/>
                    </a:cubicBezTo>
                    <a:cubicBezTo>
                      <a:pt x="1092679" y="952241"/>
                      <a:pt x="1087202" y="960451"/>
                      <a:pt x="1081725" y="956346"/>
                    </a:cubicBezTo>
                    <a:cubicBezTo>
                      <a:pt x="1076248" y="952241"/>
                      <a:pt x="1070771" y="959083"/>
                      <a:pt x="1080356" y="961819"/>
                    </a:cubicBezTo>
                    <a:cubicBezTo>
                      <a:pt x="1088571" y="965924"/>
                      <a:pt x="1103633" y="978238"/>
                      <a:pt x="1106372" y="986448"/>
                    </a:cubicBezTo>
                    <a:cubicBezTo>
                      <a:pt x="1109110" y="994657"/>
                      <a:pt x="1111849" y="1000130"/>
                      <a:pt x="1117326" y="996026"/>
                    </a:cubicBezTo>
                    <a:cubicBezTo>
                      <a:pt x="1124172" y="991921"/>
                      <a:pt x="1122803" y="1001499"/>
                      <a:pt x="1126911" y="997394"/>
                    </a:cubicBezTo>
                    <a:cubicBezTo>
                      <a:pt x="1132388" y="993289"/>
                      <a:pt x="1137865" y="1008340"/>
                      <a:pt x="1144711" y="1005603"/>
                    </a:cubicBezTo>
                    <a:cubicBezTo>
                      <a:pt x="1152927" y="1004235"/>
                      <a:pt x="1159773" y="1009708"/>
                      <a:pt x="1157035" y="1015181"/>
                    </a:cubicBezTo>
                    <a:cubicBezTo>
                      <a:pt x="1154296" y="1019286"/>
                      <a:pt x="1147450" y="1016549"/>
                      <a:pt x="1139234" y="1023391"/>
                    </a:cubicBezTo>
                    <a:cubicBezTo>
                      <a:pt x="1131019" y="1028864"/>
                      <a:pt x="1128280" y="1024759"/>
                      <a:pt x="1125542" y="1028864"/>
                    </a:cubicBezTo>
                    <a:cubicBezTo>
                      <a:pt x="1121434" y="1034337"/>
                      <a:pt x="1118695" y="1030232"/>
                      <a:pt x="1115957" y="1034337"/>
                    </a:cubicBezTo>
                    <a:cubicBezTo>
                      <a:pt x="1111849" y="1037073"/>
                      <a:pt x="1111849" y="1049387"/>
                      <a:pt x="1120065" y="1041178"/>
                    </a:cubicBezTo>
                    <a:cubicBezTo>
                      <a:pt x="1126911" y="1032968"/>
                      <a:pt x="1126911" y="1041178"/>
                      <a:pt x="1135126" y="1032968"/>
                    </a:cubicBezTo>
                    <a:cubicBezTo>
                      <a:pt x="1143342" y="1024759"/>
                      <a:pt x="1154296" y="1022022"/>
                      <a:pt x="1159773" y="1026127"/>
                    </a:cubicBezTo>
                    <a:cubicBezTo>
                      <a:pt x="1165250" y="1030232"/>
                      <a:pt x="1154296" y="1041178"/>
                      <a:pt x="1159773" y="1041178"/>
                    </a:cubicBezTo>
                    <a:cubicBezTo>
                      <a:pt x="1166620" y="1042546"/>
                      <a:pt x="1170728" y="1028864"/>
                      <a:pt x="1177574" y="1038441"/>
                    </a:cubicBezTo>
                    <a:cubicBezTo>
                      <a:pt x="1184420" y="1049387"/>
                      <a:pt x="1187159" y="1046651"/>
                      <a:pt x="1185790" y="1053492"/>
                    </a:cubicBezTo>
                    <a:cubicBezTo>
                      <a:pt x="1183051" y="1061702"/>
                      <a:pt x="1181682" y="1064438"/>
                      <a:pt x="1176205" y="1064438"/>
                    </a:cubicBezTo>
                    <a:cubicBezTo>
                      <a:pt x="1170728" y="1065806"/>
                      <a:pt x="1176205" y="1068543"/>
                      <a:pt x="1180312" y="1069911"/>
                    </a:cubicBezTo>
                    <a:cubicBezTo>
                      <a:pt x="1185790" y="1071279"/>
                      <a:pt x="1187159" y="1074016"/>
                      <a:pt x="1181682" y="1078121"/>
                    </a:cubicBezTo>
                    <a:cubicBezTo>
                      <a:pt x="1176205" y="1083594"/>
                      <a:pt x="1170728" y="1094540"/>
                      <a:pt x="1159773" y="1094540"/>
                    </a:cubicBezTo>
                    <a:cubicBezTo>
                      <a:pt x="1148819" y="1093172"/>
                      <a:pt x="1143342" y="1093172"/>
                      <a:pt x="1137865" y="1101381"/>
                    </a:cubicBezTo>
                    <a:cubicBezTo>
                      <a:pt x="1133757" y="1110959"/>
                      <a:pt x="1117326" y="1123273"/>
                      <a:pt x="1110480" y="1123273"/>
                    </a:cubicBezTo>
                    <a:cubicBezTo>
                      <a:pt x="1102264" y="1121905"/>
                      <a:pt x="1017369" y="1121905"/>
                      <a:pt x="1010523" y="1128746"/>
                    </a:cubicBezTo>
                    <a:cubicBezTo>
                      <a:pt x="1003676" y="1136956"/>
                      <a:pt x="1000938" y="1139692"/>
                      <a:pt x="999569" y="1145165"/>
                    </a:cubicBezTo>
                    <a:cubicBezTo>
                      <a:pt x="998199" y="1150638"/>
                      <a:pt x="989984" y="1145165"/>
                      <a:pt x="983137" y="1152006"/>
                    </a:cubicBezTo>
                    <a:cubicBezTo>
                      <a:pt x="974922" y="1158848"/>
                      <a:pt x="963967" y="1178003"/>
                      <a:pt x="961229" y="1176635"/>
                    </a:cubicBezTo>
                    <a:cubicBezTo>
                      <a:pt x="957121" y="1173898"/>
                      <a:pt x="959860" y="1179371"/>
                      <a:pt x="957121" y="1184844"/>
                    </a:cubicBezTo>
                    <a:cubicBezTo>
                      <a:pt x="954383" y="1190317"/>
                      <a:pt x="936582" y="1205368"/>
                      <a:pt x="943428" y="1205368"/>
                    </a:cubicBezTo>
                    <a:cubicBezTo>
                      <a:pt x="950275" y="1205368"/>
                      <a:pt x="965337" y="1178003"/>
                      <a:pt x="977660" y="1169794"/>
                    </a:cubicBezTo>
                    <a:cubicBezTo>
                      <a:pt x="989984" y="1161584"/>
                      <a:pt x="1037908" y="1139692"/>
                      <a:pt x="1046124" y="1156111"/>
                    </a:cubicBezTo>
                    <a:cubicBezTo>
                      <a:pt x="1054339" y="1172530"/>
                      <a:pt x="1037908" y="1176635"/>
                      <a:pt x="1031062" y="1180740"/>
                    </a:cubicBezTo>
                    <a:cubicBezTo>
                      <a:pt x="1022846" y="1184844"/>
                      <a:pt x="1025585" y="1194422"/>
                      <a:pt x="1032431" y="1187581"/>
                    </a:cubicBezTo>
                    <a:cubicBezTo>
                      <a:pt x="1037908" y="1180740"/>
                      <a:pt x="1044754" y="1186213"/>
                      <a:pt x="1039277" y="1194422"/>
                    </a:cubicBezTo>
                    <a:cubicBezTo>
                      <a:pt x="1032431" y="1202632"/>
                      <a:pt x="1040647" y="1205368"/>
                      <a:pt x="1040647" y="1213578"/>
                    </a:cubicBezTo>
                    <a:cubicBezTo>
                      <a:pt x="1042016" y="1221787"/>
                      <a:pt x="1057078" y="1224524"/>
                      <a:pt x="1058447" y="1229997"/>
                    </a:cubicBezTo>
                    <a:cubicBezTo>
                      <a:pt x="1058447" y="1236838"/>
                      <a:pt x="1080356" y="1239575"/>
                      <a:pt x="1085833" y="1236838"/>
                    </a:cubicBezTo>
                    <a:cubicBezTo>
                      <a:pt x="1091310" y="1232733"/>
                      <a:pt x="1092679" y="1238206"/>
                      <a:pt x="1092679" y="1228629"/>
                    </a:cubicBezTo>
                    <a:cubicBezTo>
                      <a:pt x="1092679" y="1224524"/>
                      <a:pt x="1100895" y="1223156"/>
                      <a:pt x="1100895" y="1217683"/>
                    </a:cubicBezTo>
                    <a:cubicBezTo>
                      <a:pt x="1100895" y="1212210"/>
                      <a:pt x="1113218" y="1205368"/>
                      <a:pt x="1111849" y="1209473"/>
                    </a:cubicBezTo>
                    <a:cubicBezTo>
                      <a:pt x="1111849" y="1214946"/>
                      <a:pt x="1107741" y="1224524"/>
                      <a:pt x="1111849" y="1223156"/>
                    </a:cubicBezTo>
                    <a:cubicBezTo>
                      <a:pt x="1117326" y="1221787"/>
                      <a:pt x="1124172" y="1225892"/>
                      <a:pt x="1118695" y="1229997"/>
                    </a:cubicBezTo>
                    <a:cubicBezTo>
                      <a:pt x="1113218" y="1235470"/>
                      <a:pt x="1096787" y="1235470"/>
                      <a:pt x="1096787" y="1239575"/>
                    </a:cubicBezTo>
                    <a:cubicBezTo>
                      <a:pt x="1096787" y="1245048"/>
                      <a:pt x="1102264" y="1246416"/>
                      <a:pt x="1094048" y="1249152"/>
                    </a:cubicBezTo>
                    <a:cubicBezTo>
                      <a:pt x="1085833" y="1253257"/>
                      <a:pt x="1065294" y="1261467"/>
                      <a:pt x="1057078" y="1261467"/>
                    </a:cubicBezTo>
                    <a:cubicBezTo>
                      <a:pt x="1050232" y="1261467"/>
                      <a:pt x="1050232" y="1268308"/>
                      <a:pt x="1042016" y="1276517"/>
                    </a:cubicBezTo>
                    <a:cubicBezTo>
                      <a:pt x="1035170" y="1284727"/>
                      <a:pt x="1026954" y="1287463"/>
                      <a:pt x="1021477" y="1281990"/>
                    </a:cubicBezTo>
                    <a:cubicBezTo>
                      <a:pt x="1016000" y="1275149"/>
                      <a:pt x="1013261" y="1272413"/>
                      <a:pt x="1022846" y="1260098"/>
                    </a:cubicBezTo>
                    <a:cubicBezTo>
                      <a:pt x="1033800" y="1249152"/>
                      <a:pt x="1036539" y="1247784"/>
                      <a:pt x="1043385" y="1247784"/>
                    </a:cubicBezTo>
                    <a:cubicBezTo>
                      <a:pt x="1051601" y="1247784"/>
                      <a:pt x="1065294" y="1243679"/>
                      <a:pt x="1055709" y="1243679"/>
                    </a:cubicBezTo>
                    <a:cubicBezTo>
                      <a:pt x="1046124" y="1245048"/>
                      <a:pt x="1035170" y="1239575"/>
                      <a:pt x="1042016" y="1236838"/>
                    </a:cubicBezTo>
                    <a:cubicBezTo>
                      <a:pt x="1047493" y="1235470"/>
                      <a:pt x="1043385" y="1223156"/>
                      <a:pt x="1040647" y="1228629"/>
                    </a:cubicBezTo>
                    <a:cubicBezTo>
                      <a:pt x="1037908" y="1235470"/>
                      <a:pt x="1028323" y="1245048"/>
                      <a:pt x="1021477" y="1245048"/>
                    </a:cubicBezTo>
                    <a:cubicBezTo>
                      <a:pt x="1017369" y="1245048"/>
                      <a:pt x="1011892" y="1249152"/>
                      <a:pt x="1005046" y="1253257"/>
                    </a:cubicBezTo>
                    <a:cubicBezTo>
                      <a:pt x="1000938" y="1257362"/>
                      <a:pt x="996830" y="1260098"/>
                      <a:pt x="992722" y="1264203"/>
                    </a:cubicBezTo>
                    <a:cubicBezTo>
                      <a:pt x="985876" y="1272413"/>
                      <a:pt x="979029" y="1257362"/>
                      <a:pt x="973552" y="1262835"/>
                    </a:cubicBezTo>
                    <a:cubicBezTo>
                      <a:pt x="968075" y="1269676"/>
                      <a:pt x="968075" y="1277886"/>
                      <a:pt x="962598" y="1277886"/>
                    </a:cubicBezTo>
                    <a:cubicBezTo>
                      <a:pt x="957121" y="1277886"/>
                      <a:pt x="959860" y="1281990"/>
                      <a:pt x="953013" y="1283359"/>
                    </a:cubicBezTo>
                    <a:cubicBezTo>
                      <a:pt x="946167" y="1286095"/>
                      <a:pt x="940690" y="1301146"/>
                      <a:pt x="943428" y="1303882"/>
                    </a:cubicBezTo>
                    <a:cubicBezTo>
                      <a:pt x="944798" y="1307987"/>
                      <a:pt x="935213" y="1312092"/>
                      <a:pt x="940690" y="1314828"/>
                    </a:cubicBezTo>
                    <a:cubicBezTo>
                      <a:pt x="946167" y="1316197"/>
                      <a:pt x="948905" y="1325774"/>
                      <a:pt x="944798" y="1328511"/>
                    </a:cubicBezTo>
                    <a:cubicBezTo>
                      <a:pt x="940690" y="1332616"/>
                      <a:pt x="935213" y="1332616"/>
                      <a:pt x="931105" y="1327143"/>
                    </a:cubicBezTo>
                    <a:cubicBezTo>
                      <a:pt x="928366" y="1321670"/>
                      <a:pt x="932474" y="1335352"/>
                      <a:pt x="924259" y="1335352"/>
                    </a:cubicBezTo>
                    <a:cubicBezTo>
                      <a:pt x="916043" y="1336721"/>
                      <a:pt x="898242" y="1340826"/>
                      <a:pt x="898242" y="1344930"/>
                    </a:cubicBezTo>
                    <a:cubicBezTo>
                      <a:pt x="898242" y="1350403"/>
                      <a:pt x="925628" y="1338089"/>
                      <a:pt x="922889" y="1346299"/>
                    </a:cubicBezTo>
                    <a:cubicBezTo>
                      <a:pt x="921520" y="1349035"/>
                      <a:pt x="906458" y="1354508"/>
                      <a:pt x="899612" y="1353140"/>
                    </a:cubicBezTo>
                    <a:cubicBezTo>
                      <a:pt x="892765" y="1353140"/>
                      <a:pt x="885919" y="1355876"/>
                      <a:pt x="890027" y="1358613"/>
                    </a:cubicBezTo>
                    <a:cubicBezTo>
                      <a:pt x="894135" y="1362718"/>
                      <a:pt x="888657" y="1375032"/>
                      <a:pt x="881811" y="1383241"/>
                    </a:cubicBezTo>
                    <a:cubicBezTo>
                      <a:pt x="876334" y="1390083"/>
                      <a:pt x="874965" y="1390083"/>
                      <a:pt x="870857" y="1383241"/>
                    </a:cubicBezTo>
                    <a:cubicBezTo>
                      <a:pt x="866749" y="1377768"/>
                      <a:pt x="866749" y="1390083"/>
                      <a:pt x="869488" y="1391451"/>
                    </a:cubicBezTo>
                    <a:cubicBezTo>
                      <a:pt x="873595" y="1392819"/>
                      <a:pt x="872226" y="1403765"/>
                      <a:pt x="868118" y="1416079"/>
                    </a:cubicBezTo>
                    <a:cubicBezTo>
                      <a:pt x="862641" y="1428394"/>
                      <a:pt x="858533" y="1431130"/>
                      <a:pt x="861272" y="1421552"/>
                    </a:cubicBezTo>
                    <a:cubicBezTo>
                      <a:pt x="862641" y="1411975"/>
                      <a:pt x="861272" y="1405133"/>
                      <a:pt x="855795" y="1399660"/>
                    </a:cubicBezTo>
                    <a:cubicBezTo>
                      <a:pt x="851687" y="1392819"/>
                      <a:pt x="855795" y="1384610"/>
                      <a:pt x="857164" y="1380505"/>
                    </a:cubicBezTo>
                    <a:cubicBezTo>
                      <a:pt x="859903" y="1376400"/>
                      <a:pt x="854426" y="1376400"/>
                      <a:pt x="853056" y="1380505"/>
                    </a:cubicBezTo>
                    <a:cubicBezTo>
                      <a:pt x="850318" y="1384610"/>
                      <a:pt x="853056" y="1405133"/>
                      <a:pt x="850318" y="1405133"/>
                    </a:cubicBezTo>
                    <a:cubicBezTo>
                      <a:pt x="846210" y="1406502"/>
                      <a:pt x="839364" y="1407870"/>
                      <a:pt x="843471" y="1411975"/>
                    </a:cubicBezTo>
                    <a:cubicBezTo>
                      <a:pt x="848949" y="1416079"/>
                      <a:pt x="857164" y="1422921"/>
                      <a:pt x="854426" y="1428394"/>
                    </a:cubicBezTo>
                    <a:cubicBezTo>
                      <a:pt x="850318" y="1432499"/>
                      <a:pt x="847579" y="1436603"/>
                      <a:pt x="854426" y="1437972"/>
                    </a:cubicBezTo>
                    <a:cubicBezTo>
                      <a:pt x="861272" y="1437972"/>
                      <a:pt x="864011" y="1448918"/>
                      <a:pt x="859903" y="1450286"/>
                    </a:cubicBezTo>
                    <a:cubicBezTo>
                      <a:pt x="855795" y="1453022"/>
                      <a:pt x="857164" y="1455759"/>
                      <a:pt x="865380" y="1457127"/>
                    </a:cubicBezTo>
                    <a:cubicBezTo>
                      <a:pt x="872226" y="1457127"/>
                      <a:pt x="864011" y="1465337"/>
                      <a:pt x="861272" y="1468073"/>
                    </a:cubicBezTo>
                    <a:cubicBezTo>
                      <a:pt x="857164" y="1470810"/>
                      <a:pt x="851687" y="1470810"/>
                      <a:pt x="850318" y="1466705"/>
                    </a:cubicBezTo>
                    <a:cubicBezTo>
                      <a:pt x="848949" y="1463968"/>
                      <a:pt x="843471" y="1469441"/>
                      <a:pt x="846210" y="1473546"/>
                    </a:cubicBezTo>
                    <a:cubicBezTo>
                      <a:pt x="848949" y="1479019"/>
                      <a:pt x="854426" y="1484492"/>
                      <a:pt x="844841" y="1487229"/>
                    </a:cubicBezTo>
                    <a:cubicBezTo>
                      <a:pt x="835256" y="1488597"/>
                      <a:pt x="828409" y="1495438"/>
                      <a:pt x="828409" y="1500911"/>
                    </a:cubicBezTo>
                    <a:cubicBezTo>
                      <a:pt x="827040" y="1506384"/>
                      <a:pt x="822932" y="1505016"/>
                      <a:pt x="818825" y="1505016"/>
                    </a:cubicBezTo>
                    <a:cubicBezTo>
                      <a:pt x="814717" y="1505016"/>
                      <a:pt x="806501" y="1513225"/>
                      <a:pt x="805132" y="1520067"/>
                    </a:cubicBezTo>
                    <a:cubicBezTo>
                      <a:pt x="803763" y="1526908"/>
                      <a:pt x="796916" y="1522803"/>
                      <a:pt x="791439" y="1529645"/>
                    </a:cubicBezTo>
                    <a:cubicBezTo>
                      <a:pt x="785962" y="1535118"/>
                      <a:pt x="773639" y="1555641"/>
                      <a:pt x="772269" y="1569324"/>
                    </a:cubicBezTo>
                    <a:cubicBezTo>
                      <a:pt x="772269" y="1581638"/>
                      <a:pt x="776377" y="1596689"/>
                      <a:pt x="781854" y="1606267"/>
                    </a:cubicBezTo>
                    <a:cubicBezTo>
                      <a:pt x="787331" y="1614476"/>
                      <a:pt x="781854" y="1615844"/>
                      <a:pt x="785962" y="1624054"/>
                    </a:cubicBezTo>
                    <a:cubicBezTo>
                      <a:pt x="791439" y="1630895"/>
                      <a:pt x="795547" y="1655524"/>
                      <a:pt x="795547" y="1662365"/>
                    </a:cubicBezTo>
                    <a:cubicBezTo>
                      <a:pt x="794178" y="1669206"/>
                      <a:pt x="788701" y="1677416"/>
                      <a:pt x="787331" y="1684257"/>
                    </a:cubicBezTo>
                    <a:cubicBezTo>
                      <a:pt x="787331" y="1691098"/>
                      <a:pt x="776377" y="1685625"/>
                      <a:pt x="776377" y="1681521"/>
                    </a:cubicBezTo>
                    <a:cubicBezTo>
                      <a:pt x="775008" y="1677416"/>
                      <a:pt x="770900" y="1667838"/>
                      <a:pt x="765423" y="1665102"/>
                    </a:cubicBezTo>
                    <a:cubicBezTo>
                      <a:pt x="759946" y="1663733"/>
                      <a:pt x="765423" y="1651419"/>
                      <a:pt x="758577" y="1645946"/>
                    </a:cubicBezTo>
                    <a:cubicBezTo>
                      <a:pt x="751730" y="1640473"/>
                      <a:pt x="755838" y="1632263"/>
                      <a:pt x="751730" y="1626790"/>
                    </a:cubicBezTo>
                    <a:cubicBezTo>
                      <a:pt x="748992" y="1621317"/>
                      <a:pt x="757207" y="1613108"/>
                      <a:pt x="751730" y="1604898"/>
                    </a:cubicBezTo>
                    <a:cubicBezTo>
                      <a:pt x="746253" y="1598057"/>
                      <a:pt x="740776" y="1589848"/>
                      <a:pt x="736668" y="1584375"/>
                    </a:cubicBezTo>
                    <a:cubicBezTo>
                      <a:pt x="731191" y="1578902"/>
                      <a:pt x="727083" y="1584375"/>
                      <a:pt x="721606" y="1589848"/>
                    </a:cubicBezTo>
                    <a:cubicBezTo>
                      <a:pt x="716129" y="1595321"/>
                      <a:pt x="710652" y="1593952"/>
                      <a:pt x="710652" y="1588479"/>
                    </a:cubicBezTo>
                    <a:cubicBezTo>
                      <a:pt x="709283" y="1583006"/>
                      <a:pt x="702436" y="1576165"/>
                      <a:pt x="695590" y="1576165"/>
                    </a:cubicBezTo>
                    <a:cubicBezTo>
                      <a:pt x="688744" y="1576165"/>
                      <a:pt x="675051" y="1583006"/>
                      <a:pt x="675051" y="1578902"/>
                    </a:cubicBezTo>
                    <a:cubicBezTo>
                      <a:pt x="675051" y="1573429"/>
                      <a:pt x="670943" y="1567956"/>
                      <a:pt x="668205" y="1573429"/>
                    </a:cubicBezTo>
                    <a:cubicBezTo>
                      <a:pt x="665466" y="1578902"/>
                      <a:pt x="665466" y="1577533"/>
                      <a:pt x="657250" y="1576165"/>
                    </a:cubicBezTo>
                    <a:cubicBezTo>
                      <a:pt x="649035" y="1576165"/>
                      <a:pt x="639450" y="1581638"/>
                      <a:pt x="643558" y="1584375"/>
                    </a:cubicBezTo>
                    <a:cubicBezTo>
                      <a:pt x="647666" y="1588479"/>
                      <a:pt x="642188" y="1591216"/>
                      <a:pt x="646296" y="1595321"/>
                    </a:cubicBezTo>
                    <a:cubicBezTo>
                      <a:pt x="651773" y="1599425"/>
                      <a:pt x="657250" y="1606267"/>
                      <a:pt x="650404" y="1604898"/>
                    </a:cubicBezTo>
                    <a:cubicBezTo>
                      <a:pt x="643558" y="1604898"/>
                      <a:pt x="636711" y="1588479"/>
                      <a:pt x="635342" y="1593952"/>
                    </a:cubicBezTo>
                    <a:cubicBezTo>
                      <a:pt x="635342" y="1598057"/>
                      <a:pt x="635342" y="1600794"/>
                      <a:pt x="628496" y="1599425"/>
                    </a:cubicBezTo>
                    <a:cubicBezTo>
                      <a:pt x="621649" y="1599425"/>
                      <a:pt x="620280" y="1600794"/>
                      <a:pt x="616172" y="1595321"/>
                    </a:cubicBezTo>
                    <a:cubicBezTo>
                      <a:pt x="610695" y="1589848"/>
                      <a:pt x="605218" y="1583006"/>
                      <a:pt x="605218" y="1589848"/>
                    </a:cubicBezTo>
                    <a:cubicBezTo>
                      <a:pt x="603849" y="1595321"/>
                      <a:pt x="595633" y="1593952"/>
                      <a:pt x="591525" y="1588479"/>
                    </a:cubicBezTo>
                    <a:cubicBezTo>
                      <a:pt x="588787" y="1584375"/>
                      <a:pt x="584679" y="1583006"/>
                      <a:pt x="584679" y="1587111"/>
                    </a:cubicBezTo>
                    <a:cubicBezTo>
                      <a:pt x="584679" y="1591216"/>
                      <a:pt x="580571" y="1588479"/>
                      <a:pt x="576463" y="1585743"/>
                    </a:cubicBezTo>
                    <a:cubicBezTo>
                      <a:pt x="572356" y="1584375"/>
                      <a:pt x="573725" y="1595321"/>
                      <a:pt x="566878" y="1593952"/>
                    </a:cubicBezTo>
                    <a:cubicBezTo>
                      <a:pt x="560032" y="1592584"/>
                      <a:pt x="558663" y="1592584"/>
                      <a:pt x="558663" y="1598057"/>
                    </a:cubicBezTo>
                    <a:cubicBezTo>
                      <a:pt x="560032" y="1602162"/>
                      <a:pt x="549078" y="1614476"/>
                      <a:pt x="543601" y="1613108"/>
                    </a:cubicBezTo>
                    <a:cubicBezTo>
                      <a:pt x="538124" y="1611740"/>
                      <a:pt x="534016" y="1611740"/>
                      <a:pt x="534016" y="1617213"/>
                    </a:cubicBezTo>
                    <a:cubicBezTo>
                      <a:pt x="534016" y="1622686"/>
                      <a:pt x="525800" y="1625422"/>
                      <a:pt x="521693" y="1629527"/>
                    </a:cubicBezTo>
                    <a:cubicBezTo>
                      <a:pt x="517585" y="1632263"/>
                      <a:pt x="527170" y="1639105"/>
                      <a:pt x="518954" y="1647314"/>
                    </a:cubicBezTo>
                    <a:cubicBezTo>
                      <a:pt x="510738" y="1654156"/>
                      <a:pt x="523062" y="1656892"/>
                      <a:pt x="523062" y="1671943"/>
                    </a:cubicBezTo>
                    <a:cubicBezTo>
                      <a:pt x="523062" y="1673311"/>
                      <a:pt x="523062" y="1676048"/>
                      <a:pt x="521693" y="1680152"/>
                    </a:cubicBezTo>
                    <a:cubicBezTo>
                      <a:pt x="514846" y="1702044"/>
                      <a:pt x="516215" y="1721200"/>
                      <a:pt x="516215" y="1732146"/>
                    </a:cubicBezTo>
                    <a:cubicBezTo>
                      <a:pt x="516215" y="1744460"/>
                      <a:pt x="517585" y="1760879"/>
                      <a:pt x="521693" y="1769089"/>
                    </a:cubicBezTo>
                    <a:cubicBezTo>
                      <a:pt x="527170" y="1777298"/>
                      <a:pt x="538124" y="1785508"/>
                      <a:pt x="539493" y="1793717"/>
                    </a:cubicBezTo>
                    <a:cubicBezTo>
                      <a:pt x="539493" y="1803295"/>
                      <a:pt x="542232" y="1814241"/>
                      <a:pt x="547709" y="1814241"/>
                    </a:cubicBezTo>
                    <a:cubicBezTo>
                      <a:pt x="554555" y="1812873"/>
                      <a:pt x="561401" y="1825187"/>
                      <a:pt x="565509" y="1823819"/>
                    </a:cubicBezTo>
                    <a:cubicBezTo>
                      <a:pt x="570986" y="1822451"/>
                      <a:pt x="601110" y="1811505"/>
                      <a:pt x="603849" y="1814241"/>
                    </a:cubicBezTo>
                    <a:cubicBezTo>
                      <a:pt x="606587" y="1815609"/>
                      <a:pt x="616172" y="1822451"/>
                      <a:pt x="614803" y="1815609"/>
                    </a:cubicBezTo>
                    <a:cubicBezTo>
                      <a:pt x="614803" y="1810136"/>
                      <a:pt x="625757" y="1808768"/>
                      <a:pt x="625757" y="1799190"/>
                    </a:cubicBezTo>
                    <a:cubicBezTo>
                      <a:pt x="625757" y="1788244"/>
                      <a:pt x="631234" y="1793717"/>
                      <a:pt x="629865" y="1781403"/>
                    </a:cubicBezTo>
                    <a:cubicBezTo>
                      <a:pt x="629865" y="1769089"/>
                      <a:pt x="636711" y="1762247"/>
                      <a:pt x="650404" y="1759511"/>
                    </a:cubicBezTo>
                    <a:cubicBezTo>
                      <a:pt x="665466" y="1756774"/>
                      <a:pt x="669574" y="1754038"/>
                      <a:pt x="676420" y="1758143"/>
                    </a:cubicBezTo>
                    <a:cubicBezTo>
                      <a:pt x="681897" y="1762247"/>
                      <a:pt x="688744" y="1754038"/>
                      <a:pt x="690113" y="1762247"/>
                    </a:cubicBezTo>
                    <a:cubicBezTo>
                      <a:pt x="691482" y="1771825"/>
                      <a:pt x="686005" y="1771825"/>
                      <a:pt x="681897" y="1778667"/>
                    </a:cubicBezTo>
                    <a:cubicBezTo>
                      <a:pt x="676420" y="1784140"/>
                      <a:pt x="680528" y="1788244"/>
                      <a:pt x="679159" y="1799190"/>
                    </a:cubicBezTo>
                    <a:cubicBezTo>
                      <a:pt x="679159" y="1808768"/>
                      <a:pt x="673682" y="1819714"/>
                      <a:pt x="673682" y="1825187"/>
                    </a:cubicBezTo>
                    <a:cubicBezTo>
                      <a:pt x="670943" y="1826555"/>
                      <a:pt x="670943" y="1827924"/>
                      <a:pt x="669574" y="1827924"/>
                    </a:cubicBezTo>
                    <a:cubicBezTo>
                      <a:pt x="661358" y="1829292"/>
                      <a:pt x="669574" y="1853920"/>
                      <a:pt x="662728" y="1859393"/>
                    </a:cubicBezTo>
                    <a:cubicBezTo>
                      <a:pt x="659989" y="1862130"/>
                      <a:pt x="658620" y="1866235"/>
                      <a:pt x="658620" y="1868971"/>
                    </a:cubicBezTo>
                    <a:cubicBezTo>
                      <a:pt x="657250" y="1873076"/>
                      <a:pt x="658620" y="1877181"/>
                      <a:pt x="664097" y="1873076"/>
                    </a:cubicBezTo>
                    <a:cubicBezTo>
                      <a:pt x="675051" y="1866235"/>
                      <a:pt x="684636" y="1875812"/>
                      <a:pt x="694221" y="1871708"/>
                    </a:cubicBezTo>
                    <a:cubicBezTo>
                      <a:pt x="703806" y="1867603"/>
                      <a:pt x="720237" y="1862130"/>
                      <a:pt x="728453" y="1871708"/>
                    </a:cubicBezTo>
                    <a:cubicBezTo>
                      <a:pt x="735299" y="1881285"/>
                      <a:pt x="746253" y="1877181"/>
                      <a:pt x="744884" y="1886758"/>
                    </a:cubicBezTo>
                    <a:cubicBezTo>
                      <a:pt x="744884" y="1888127"/>
                      <a:pt x="746253" y="1888127"/>
                      <a:pt x="744884" y="1889495"/>
                    </a:cubicBezTo>
                    <a:cubicBezTo>
                      <a:pt x="743515" y="1900441"/>
                      <a:pt x="746253" y="1903178"/>
                      <a:pt x="742145" y="1908651"/>
                    </a:cubicBezTo>
                    <a:cubicBezTo>
                      <a:pt x="738038" y="1914124"/>
                      <a:pt x="742145" y="1933279"/>
                      <a:pt x="739407" y="1941489"/>
                    </a:cubicBezTo>
                    <a:cubicBezTo>
                      <a:pt x="738038" y="1948330"/>
                      <a:pt x="733930" y="1959276"/>
                      <a:pt x="736668" y="1964749"/>
                    </a:cubicBezTo>
                    <a:cubicBezTo>
                      <a:pt x="736668" y="1966117"/>
                      <a:pt x="736668" y="1967485"/>
                      <a:pt x="738038" y="1968854"/>
                    </a:cubicBezTo>
                    <a:cubicBezTo>
                      <a:pt x="742145" y="1975695"/>
                      <a:pt x="747622" y="1985273"/>
                      <a:pt x="754469" y="1992114"/>
                    </a:cubicBezTo>
                    <a:cubicBezTo>
                      <a:pt x="757207" y="1996219"/>
                      <a:pt x="759946" y="2000323"/>
                      <a:pt x="761315" y="2001692"/>
                    </a:cubicBezTo>
                    <a:cubicBezTo>
                      <a:pt x="769531" y="2005796"/>
                      <a:pt x="779116" y="2011269"/>
                      <a:pt x="787331" y="2001692"/>
                    </a:cubicBezTo>
                    <a:cubicBezTo>
                      <a:pt x="795547" y="1993482"/>
                      <a:pt x="803763" y="1989377"/>
                      <a:pt x="809240" y="1992114"/>
                    </a:cubicBezTo>
                    <a:cubicBezTo>
                      <a:pt x="816086" y="1996219"/>
                      <a:pt x="825671" y="1994850"/>
                      <a:pt x="832517" y="2004428"/>
                    </a:cubicBezTo>
                    <a:cubicBezTo>
                      <a:pt x="835256" y="2011269"/>
                      <a:pt x="839364" y="2018111"/>
                      <a:pt x="842102" y="2019479"/>
                    </a:cubicBezTo>
                    <a:cubicBezTo>
                      <a:pt x="843471" y="2020847"/>
                      <a:pt x="843471" y="2020847"/>
                      <a:pt x="844841" y="2018111"/>
                    </a:cubicBezTo>
                    <a:cubicBezTo>
                      <a:pt x="848949" y="2014006"/>
                      <a:pt x="853056" y="2003060"/>
                      <a:pt x="861272" y="1996219"/>
                    </a:cubicBezTo>
                    <a:cubicBezTo>
                      <a:pt x="868118" y="1990746"/>
                      <a:pt x="866749" y="1985273"/>
                      <a:pt x="866749" y="1978431"/>
                    </a:cubicBezTo>
                    <a:cubicBezTo>
                      <a:pt x="866749" y="1972958"/>
                      <a:pt x="877703" y="1960644"/>
                      <a:pt x="881811" y="1962012"/>
                    </a:cubicBezTo>
                    <a:cubicBezTo>
                      <a:pt x="885919" y="1963381"/>
                      <a:pt x="888657" y="1968854"/>
                      <a:pt x="888657" y="1963381"/>
                    </a:cubicBezTo>
                    <a:cubicBezTo>
                      <a:pt x="888657" y="1957908"/>
                      <a:pt x="898242" y="1960644"/>
                      <a:pt x="903719" y="1957908"/>
                    </a:cubicBezTo>
                    <a:cubicBezTo>
                      <a:pt x="907827" y="1955171"/>
                      <a:pt x="909197" y="1949698"/>
                      <a:pt x="917412" y="1948330"/>
                    </a:cubicBezTo>
                    <a:cubicBezTo>
                      <a:pt x="924259" y="1946962"/>
                      <a:pt x="928366" y="1933279"/>
                      <a:pt x="935213" y="1938752"/>
                    </a:cubicBezTo>
                    <a:cubicBezTo>
                      <a:pt x="940690" y="1942857"/>
                      <a:pt x="937951" y="1948330"/>
                      <a:pt x="931105" y="1949698"/>
                    </a:cubicBezTo>
                    <a:cubicBezTo>
                      <a:pt x="928366" y="1951066"/>
                      <a:pt x="926997" y="1952435"/>
                      <a:pt x="926997" y="1953803"/>
                    </a:cubicBezTo>
                    <a:cubicBezTo>
                      <a:pt x="925628" y="1957908"/>
                      <a:pt x="926997" y="1963381"/>
                      <a:pt x="929736" y="1967485"/>
                    </a:cubicBezTo>
                    <a:cubicBezTo>
                      <a:pt x="931105" y="1971590"/>
                      <a:pt x="918781" y="1983904"/>
                      <a:pt x="921520" y="1992114"/>
                    </a:cubicBezTo>
                    <a:cubicBezTo>
                      <a:pt x="925628" y="2000323"/>
                      <a:pt x="935213" y="2005796"/>
                      <a:pt x="939321" y="1998955"/>
                    </a:cubicBezTo>
                    <a:cubicBezTo>
                      <a:pt x="942059" y="1990746"/>
                      <a:pt x="932474" y="1978431"/>
                      <a:pt x="933843" y="1970222"/>
                    </a:cubicBezTo>
                    <a:cubicBezTo>
                      <a:pt x="935213" y="1963381"/>
                      <a:pt x="950275" y="1957908"/>
                      <a:pt x="954383" y="1956539"/>
                    </a:cubicBezTo>
                    <a:cubicBezTo>
                      <a:pt x="959860" y="1953803"/>
                      <a:pt x="953013" y="1944225"/>
                      <a:pt x="959860" y="1944225"/>
                    </a:cubicBezTo>
                    <a:cubicBezTo>
                      <a:pt x="966706" y="1944225"/>
                      <a:pt x="963967" y="1955171"/>
                      <a:pt x="973552" y="1953803"/>
                    </a:cubicBezTo>
                    <a:cubicBezTo>
                      <a:pt x="981768" y="1953803"/>
                      <a:pt x="985876" y="1960644"/>
                      <a:pt x="985876" y="1968854"/>
                    </a:cubicBezTo>
                    <a:cubicBezTo>
                      <a:pt x="984507" y="1977063"/>
                      <a:pt x="996830" y="1977063"/>
                      <a:pt x="1006415" y="1972958"/>
                    </a:cubicBezTo>
                    <a:cubicBezTo>
                      <a:pt x="1014631" y="1968854"/>
                      <a:pt x="1028323" y="1989377"/>
                      <a:pt x="1035170" y="1983904"/>
                    </a:cubicBezTo>
                    <a:cubicBezTo>
                      <a:pt x="1043385" y="1978431"/>
                      <a:pt x="1057078" y="1972958"/>
                      <a:pt x="1066663" y="1970222"/>
                    </a:cubicBezTo>
                    <a:cubicBezTo>
                      <a:pt x="1076248" y="1968854"/>
                      <a:pt x="1087202" y="1974327"/>
                      <a:pt x="1078986" y="1975695"/>
                    </a:cubicBezTo>
                    <a:cubicBezTo>
                      <a:pt x="1072140" y="1975695"/>
                      <a:pt x="1070771" y="1983904"/>
                      <a:pt x="1077617" y="1985273"/>
                    </a:cubicBezTo>
                    <a:cubicBezTo>
                      <a:pt x="1084463" y="1988009"/>
                      <a:pt x="1100895" y="1989377"/>
                      <a:pt x="1100895" y="1996219"/>
                    </a:cubicBezTo>
                    <a:cubicBezTo>
                      <a:pt x="1100895" y="2004428"/>
                      <a:pt x="1091310" y="2012638"/>
                      <a:pt x="1096787" y="2012638"/>
                    </a:cubicBezTo>
                    <a:cubicBezTo>
                      <a:pt x="1100895" y="2011269"/>
                      <a:pt x="1111849" y="2011269"/>
                      <a:pt x="1120065" y="2015374"/>
                    </a:cubicBezTo>
                    <a:cubicBezTo>
                      <a:pt x="1122803" y="2015374"/>
                      <a:pt x="1124172" y="2016743"/>
                      <a:pt x="1125542" y="2019479"/>
                    </a:cubicBezTo>
                    <a:cubicBezTo>
                      <a:pt x="1131019" y="2027689"/>
                      <a:pt x="1141973" y="2027689"/>
                      <a:pt x="1141973" y="2034530"/>
                    </a:cubicBezTo>
                    <a:cubicBezTo>
                      <a:pt x="1140604" y="2042739"/>
                      <a:pt x="1144711" y="2046844"/>
                      <a:pt x="1150188" y="2046844"/>
                    </a:cubicBezTo>
                    <a:cubicBezTo>
                      <a:pt x="1152927" y="2046844"/>
                      <a:pt x="1159773" y="2061895"/>
                      <a:pt x="1163881" y="2061895"/>
                    </a:cubicBezTo>
                    <a:cubicBezTo>
                      <a:pt x="1165250" y="2061895"/>
                      <a:pt x="1165250" y="2061895"/>
                      <a:pt x="1165250" y="2061895"/>
                    </a:cubicBezTo>
                    <a:cubicBezTo>
                      <a:pt x="1169358" y="2057790"/>
                      <a:pt x="1174835" y="2056422"/>
                      <a:pt x="1177574" y="2061895"/>
                    </a:cubicBezTo>
                    <a:cubicBezTo>
                      <a:pt x="1180312" y="2067368"/>
                      <a:pt x="1189897" y="2063263"/>
                      <a:pt x="1198113" y="2061895"/>
                    </a:cubicBezTo>
                    <a:cubicBezTo>
                      <a:pt x="1202221" y="2060527"/>
                      <a:pt x="1207698" y="2063263"/>
                      <a:pt x="1213175" y="2066000"/>
                    </a:cubicBezTo>
                    <a:cubicBezTo>
                      <a:pt x="1218652" y="2067368"/>
                      <a:pt x="1222760" y="2070104"/>
                      <a:pt x="1226868" y="2071473"/>
                    </a:cubicBezTo>
                    <a:cubicBezTo>
                      <a:pt x="1237822" y="2074209"/>
                      <a:pt x="1247407" y="2093365"/>
                      <a:pt x="1254253" y="2096101"/>
                    </a:cubicBezTo>
                    <a:cubicBezTo>
                      <a:pt x="1261100" y="2100206"/>
                      <a:pt x="1259730" y="2124834"/>
                      <a:pt x="1265207" y="2133044"/>
                    </a:cubicBezTo>
                    <a:cubicBezTo>
                      <a:pt x="1272054" y="2141254"/>
                      <a:pt x="1283008" y="2142622"/>
                      <a:pt x="1278900" y="2153568"/>
                    </a:cubicBezTo>
                    <a:cubicBezTo>
                      <a:pt x="1274792" y="2163146"/>
                      <a:pt x="1267946" y="2176828"/>
                      <a:pt x="1262469" y="2176828"/>
                    </a:cubicBezTo>
                    <a:cubicBezTo>
                      <a:pt x="1256992" y="2176828"/>
                      <a:pt x="1251515" y="2187774"/>
                      <a:pt x="1258361" y="2191879"/>
                    </a:cubicBezTo>
                    <a:cubicBezTo>
                      <a:pt x="1265207" y="2197352"/>
                      <a:pt x="1259730" y="2182301"/>
                      <a:pt x="1269315" y="2178196"/>
                    </a:cubicBezTo>
                    <a:cubicBezTo>
                      <a:pt x="1277531" y="2172723"/>
                      <a:pt x="1303547" y="2179565"/>
                      <a:pt x="1300808" y="2187774"/>
                    </a:cubicBezTo>
                    <a:cubicBezTo>
                      <a:pt x="1298070" y="2195984"/>
                      <a:pt x="1292593" y="2205561"/>
                      <a:pt x="1287116" y="2209666"/>
                    </a:cubicBezTo>
                    <a:cubicBezTo>
                      <a:pt x="1281639" y="2213771"/>
                      <a:pt x="1289854" y="2221980"/>
                      <a:pt x="1295331" y="2209666"/>
                    </a:cubicBezTo>
                    <a:cubicBezTo>
                      <a:pt x="1299439" y="2195984"/>
                      <a:pt x="1306286" y="2212403"/>
                      <a:pt x="1306286" y="2200088"/>
                    </a:cubicBezTo>
                    <a:cubicBezTo>
                      <a:pt x="1306286" y="2187774"/>
                      <a:pt x="1313132" y="2183669"/>
                      <a:pt x="1329563" y="2191879"/>
                    </a:cubicBezTo>
                    <a:cubicBezTo>
                      <a:pt x="1345994" y="2198720"/>
                      <a:pt x="1366534" y="2211034"/>
                      <a:pt x="1366534" y="2217876"/>
                    </a:cubicBezTo>
                    <a:cubicBezTo>
                      <a:pt x="1366534" y="2226085"/>
                      <a:pt x="1358318" y="2238399"/>
                      <a:pt x="1363795" y="2237031"/>
                    </a:cubicBezTo>
                    <a:cubicBezTo>
                      <a:pt x="1369272" y="2234295"/>
                      <a:pt x="1376118" y="2221980"/>
                      <a:pt x="1384334" y="2224717"/>
                    </a:cubicBezTo>
                    <a:cubicBezTo>
                      <a:pt x="1392550" y="2226085"/>
                      <a:pt x="1403504" y="2237031"/>
                      <a:pt x="1415827" y="2232926"/>
                    </a:cubicBezTo>
                    <a:cubicBezTo>
                      <a:pt x="1426781" y="2228822"/>
                      <a:pt x="1444582" y="2227453"/>
                      <a:pt x="1462383" y="2250714"/>
                    </a:cubicBezTo>
                    <a:cubicBezTo>
                      <a:pt x="1478814" y="2272606"/>
                      <a:pt x="1492507" y="2275342"/>
                      <a:pt x="1499353" y="2275342"/>
                    </a:cubicBezTo>
                    <a:cubicBezTo>
                      <a:pt x="1506199" y="2273974"/>
                      <a:pt x="1510307" y="2271238"/>
                      <a:pt x="1513046" y="2286288"/>
                    </a:cubicBezTo>
                    <a:cubicBezTo>
                      <a:pt x="1515784" y="2299971"/>
                      <a:pt x="1524000" y="2320495"/>
                      <a:pt x="1517153" y="2341018"/>
                    </a:cubicBezTo>
                    <a:cubicBezTo>
                      <a:pt x="1510307" y="2361542"/>
                      <a:pt x="1499353" y="2375225"/>
                      <a:pt x="1495245" y="2377961"/>
                    </a:cubicBezTo>
                    <a:cubicBezTo>
                      <a:pt x="1489768" y="2380698"/>
                      <a:pt x="1482922" y="2380698"/>
                      <a:pt x="1478814" y="2391644"/>
                    </a:cubicBezTo>
                    <a:cubicBezTo>
                      <a:pt x="1476075" y="2403958"/>
                      <a:pt x="1471967" y="2417641"/>
                      <a:pt x="1466490" y="2421745"/>
                    </a:cubicBezTo>
                    <a:cubicBezTo>
                      <a:pt x="1462383" y="2424482"/>
                      <a:pt x="1459644" y="2419009"/>
                      <a:pt x="1456905" y="2417641"/>
                    </a:cubicBezTo>
                    <a:cubicBezTo>
                      <a:pt x="1454167" y="2416272"/>
                      <a:pt x="1451428" y="2421745"/>
                      <a:pt x="1454167" y="2423114"/>
                    </a:cubicBezTo>
                    <a:cubicBezTo>
                      <a:pt x="1456905" y="2424482"/>
                      <a:pt x="1458275" y="2427218"/>
                      <a:pt x="1455536" y="2429955"/>
                    </a:cubicBezTo>
                    <a:cubicBezTo>
                      <a:pt x="1451428" y="2434060"/>
                      <a:pt x="1451428" y="2446374"/>
                      <a:pt x="1451428" y="2458688"/>
                    </a:cubicBezTo>
                    <a:cubicBezTo>
                      <a:pt x="1451428" y="2469634"/>
                      <a:pt x="1455536" y="2481948"/>
                      <a:pt x="1451428" y="2495631"/>
                    </a:cubicBezTo>
                    <a:cubicBezTo>
                      <a:pt x="1447321" y="2507945"/>
                      <a:pt x="1452798" y="2514786"/>
                      <a:pt x="1450059" y="2518891"/>
                    </a:cubicBezTo>
                    <a:cubicBezTo>
                      <a:pt x="1447321" y="2522996"/>
                      <a:pt x="1441843" y="2522996"/>
                      <a:pt x="1441843" y="2528469"/>
                    </a:cubicBezTo>
                    <a:cubicBezTo>
                      <a:pt x="1441843" y="2535310"/>
                      <a:pt x="1439105" y="2543520"/>
                      <a:pt x="1439105" y="2551729"/>
                    </a:cubicBezTo>
                    <a:cubicBezTo>
                      <a:pt x="1439105" y="2559939"/>
                      <a:pt x="1434997" y="2557202"/>
                      <a:pt x="1433628" y="2562675"/>
                    </a:cubicBezTo>
                    <a:cubicBezTo>
                      <a:pt x="1432259" y="2568148"/>
                      <a:pt x="1430889" y="2576358"/>
                      <a:pt x="1426781" y="2580463"/>
                    </a:cubicBezTo>
                    <a:cubicBezTo>
                      <a:pt x="1422674" y="2583199"/>
                      <a:pt x="1421304" y="2588672"/>
                      <a:pt x="1421304" y="2596882"/>
                    </a:cubicBezTo>
                    <a:cubicBezTo>
                      <a:pt x="1421304" y="2605091"/>
                      <a:pt x="1418566" y="2607828"/>
                      <a:pt x="1414458" y="2607828"/>
                    </a:cubicBezTo>
                    <a:cubicBezTo>
                      <a:pt x="1408981" y="2607828"/>
                      <a:pt x="1404873" y="2611932"/>
                      <a:pt x="1404873" y="2618774"/>
                    </a:cubicBezTo>
                    <a:cubicBezTo>
                      <a:pt x="1404873" y="2624247"/>
                      <a:pt x="1399396" y="2624247"/>
                      <a:pt x="1391180" y="2624247"/>
                    </a:cubicBezTo>
                    <a:cubicBezTo>
                      <a:pt x="1382965" y="2624247"/>
                      <a:pt x="1367903" y="2620142"/>
                      <a:pt x="1365164" y="2624247"/>
                    </a:cubicBezTo>
                    <a:cubicBezTo>
                      <a:pt x="1361056" y="2626983"/>
                      <a:pt x="1358318" y="2633824"/>
                      <a:pt x="1352841" y="2635193"/>
                    </a:cubicBezTo>
                    <a:cubicBezTo>
                      <a:pt x="1347364" y="2636561"/>
                      <a:pt x="1351472" y="2639297"/>
                      <a:pt x="1343256" y="2640666"/>
                    </a:cubicBezTo>
                    <a:cubicBezTo>
                      <a:pt x="1335040" y="2642034"/>
                      <a:pt x="1330932" y="2642034"/>
                      <a:pt x="1322717" y="2651612"/>
                    </a:cubicBezTo>
                    <a:cubicBezTo>
                      <a:pt x="1315870" y="2661190"/>
                      <a:pt x="1307655" y="2669399"/>
                      <a:pt x="1303547" y="2669399"/>
                    </a:cubicBezTo>
                    <a:cubicBezTo>
                      <a:pt x="1298070" y="2669399"/>
                      <a:pt x="1302178" y="2676240"/>
                      <a:pt x="1298070" y="2683082"/>
                    </a:cubicBezTo>
                    <a:cubicBezTo>
                      <a:pt x="1293962" y="2691291"/>
                      <a:pt x="1296701" y="2700869"/>
                      <a:pt x="1298070" y="2711815"/>
                    </a:cubicBezTo>
                    <a:cubicBezTo>
                      <a:pt x="1298070" y="2722761"/>
                      <a:pt x="1298070" y="2737812"/>
                      <a:pt x="1292593" y="2739180"/>
                    </a:cubicBezTo>
                    <a:cubicBezTo>
                      <a:pt x="1288485" y="2740548"/>
                      <a:pt x="1283008" y="2744653"/>
                      <a:pt x="1277531" y="2759704"/>
                    </a:cubicBezTo>
                    <a:cubicBezTo>
                      <a:pt x="1270684" y="2773386"/>
                      <a:pt x="1267946" y="2787069"/>
                      <a:pt x="1256992" y="2796647"/>
                    </a:cubicBezTo>
                    <a:cubicBezTo>
                      <a:pt x="1246038" y="2806224"/>
                      <a:pt x="1247407" y="2802120"/>
                      <a:pt x="1255622" y="2789805"/>
                    </a:cubicBezTo>
                    <a:cubicBezTo>
                      <a:pt x="1263838" y="2777491"/>
                      <a:pt x="1265207" y="2767913"/>
                      <a:pt x="1255622" y="2773386"/>
                    </a:cubicBezTo>
                    <a:cubicBezTo>
                      <a:pt x="1246038" y="2778859"/>
                      <a:pt x="1254253" y="2784332"/>
                      <a:pt x="1247407" y="2792542"/>
                    </a:cubicBezTo>
                    <a:cubicBezTo>
                      <a:pt x="1239191" y="2802120"/>
                      <a:pt x="1243299" y="2806224"/>
                      <a:pt x="1239191" y="2815802"/>
                    </a:cubicBezTo>
                    <a:cubicBezTo>
                      <a:pt x="1233714" y="2826748"/>
                      <a:pt x="1236453" y="2830853"/>
                      <a:pt x="1226868" y="2839062"/>
                    </a:cubicBezTo>
                    <a:cubicBezTo>
                      <a:pt x="1224129" y="2841799"/>
                      <a:pt x="1221391" y="2845904"/>
                      <a:pt x="1220021" y="2848640"/>
                    </a:cubicBezTo>
                    <a:cubicBezTo>
                      <a:pt x="1214544" y="2855481"/>
                      <a:pt x="1211806" y="2862323"/>
                      <a:pt x="1206329" y="2866427"/>
                    </a:cubicBezTo>
                    <a:cubicBezTo>
                      <a:pt x="1198113" y="2871900"/>
                      <a:pt x="1189897" y="2870532"/>
                      <a:pt x="1183051" y="2870532"/>
                    </a:cubicBezTo>
                    <a:cubicBezTo>
                      <a:pt x="1174835" y="2869164"/>
                      <a:pt x="1178943" y="2874637"/>
                      <a:pt x="1170728" y="2870532"/>
                    </a:cubicBezTo>
                    <a:cubicBezTo>
                      <a:pt x="1162512" y="2865059"/>
                      <a:pt x="1157035" y="2862323"/>
                      <a:pt x="1150188" y="2863691"/>
                    </a:cubicBezTo>
                    <a:cubicBezTo>
                      <a:pt x="1147450" y="2863691"/>
                      <a:pt x="1146081" y="2860954"/>
                      <a:pt x="1143342" y="2859586"/>
                    </a:cubicBezTo>
                    <a:cubicBezTo>
                      <a:pt x="1141973" y="2858218"/>
                      <a:pt x="1140604" y="2858218"/>
                      <a:pt x="1137865" y="2860954"/>
                    </a:cubicBezTo>
                    <a:cubicBezTo>
                      <a:pt x="1132388" y="2867796"/>
                      <a:pt x="1143342" y="2873269"/>
                      <a:pt x="1150188" y="2874637"/>
                    </a:cubicBezTo>
                    <a:cubicBezTo>
                      <a:pt x="1155666" y="2874637"/>
                      <a:pt x="1162512" y="2880110"/>
                      <a:pt x="1158404" y="2885583"/>
                    </a:cubicBezTo>
                    <a:cubicBezTo>
                      <a:pt x="1154296" y="2891056"/>
                      <a:pt x="1154296" y="2900634"/>
                      <a:pt x="1161143" y="2902002"/>
                    </a:cubicBezTo>
                    <a:cubicBezTo>
                      <a:pt x="1167989" y="2903370"/>
                      <a:pt x="1170728" y="2908843"/>
                      <a:pt x="1167989" y="2914316"/>
                    </a:cubicBezTo>
                    <a:cubicBezTo>
                      <a:pt x="1165250" y="2919789"/>
                      <a:pt x="1154296" y="2933472"/>
                      <a:pt x="1152927" y="2938945"/>
                    </a:cubicBezTo>
                    <a:cubicBezTo>
                      <a:pt x="1152927" y="2945786"/>
                      <a:pt x="1140604" y="2952627"/>
                      <a:pt x="1122803" y="2956732"/>
                    </a:cubicBezTo>
                    <a:cubicBezTo>
                      <a:pt x="1106372" y="2960837"/>
                      <a:pt x="1085833" y="2963573"/>
                      <a:pt x="1083094" y="2959469"/>
                    </a:cubicBezTo>
                    <a:cubicBezTo>
                      <a:pt x="1078986" y="2956732"/>
                      <a:pt x="1074879" y="2960837"/>
                      <a:pt x="1076248" y="2967678"/>
                    </a:cubicBezTo>
                    <a:cubicBezTo>
                      <a:pt x="1078986" y="2974519"/>
                      <a:pt x="1084463" y="2975888"/>
                      <a:pt x="1077617" y="2981361"/>
                    </a:cubicBezTo>
                    <a:cubicBezTo>
                      <a:pt x="1070771" y="2985465"/>
                      <a:pt x="1076248" y="2993675"/>
                      <a:pt x="1076248" y="2999148"/>
                    </a:cubicBezTo>
                    <a:cubicBezTo>
                      <a:pt x="1076248" y="3003253"/>
                      <a:pt x="1068032" y="3010094"/>
                      <a:pt x="1058447" y="3010094"/>
                    </a:cubicBezTo>
                    <a:cubicBezTo>
                      <a:pt x="1047493" y="3008726"/>
                      <a:pt x="1035170" y="2997780"/>
                      <a:pt x="1032431" y="3001884"/>
                    </a:cubicBezTo>
                    <a:cubicBezTo>
                      <a:pt x="1029693" y="3005989"/>
                      <a:pt x="1032431" y="3015567"/>
                      <a:pt x="1033800" y="3019672"/>
                    </a:cubicBezTo>
                    <a:cubicBezTo>
                      <a:pt x="1035170" y="3023777"/>
                      <a:pt x="1032431" y="3033354"/>
                      <a:pt x="1035170" y="3033354"/>
                    </a:cubicBezTo>
                    <a:cubicBezTo>
                      <a:pt x="1039277" y="3033354"/>
                      <a:pt x="1042016" y="3040196"/>
                      <a:pt x="1044754" y="3038827"/>
                    </a:cubicBezTo>
                    <a:cubicBezTo>
                      <a:pt x="1047493" y="3037459"/>
                      <a:pt x="1048862" y="3030618"/>
                      <a:pt x="1055709" y="3036091"/>
                    </a:cubicBezTo>
                    <a:cubicBezTo>
                      <a:pt x="1061186" y="3041564"/>
                      <a:pt x="1054339" y="3049773"/>
                      <a:pt x="1048862" y="3049773"/>
                    </a:cubicBezTo>
                    <a:cubicBezTo>
                      <a:pt x="1044754" y="3049773"/>
                      <a:pt x="1046124" y="3042932"/>
                      <a:pt x="1040647" y="3044300"/>
                    </a:cubicBezTo>
                    <a:cubicBezTo>
                      <a:pt x="1033800" y="3044300"/>
                      <a:pt x="1035170" y="3049773"/>
                      <a:pt x="1039277" y="3051142"/>
                    </a:cubicBezTo>
                    <a:cubicBezTo>
                      <a:pt x="1043385" y="3052510"/>
                      <a:pt x="1042016" y="3056615"/>
                      <a:pt x="1035170" y="3057983"/>
                    </a:cubicBezTo>
                    <a:cubicBezTo>
                      <a:pt x="1029693" y="3057983"/>
                      <a:pt x="1029693" y="3070297"/>
                      <a:pt x="1029693" y="3077138"/>
                    </a:cubicBezTo>
                    <a:cubicBezTo>
                      <a:pt x="1029693" y="3083980"/>
                      <a:pt x="1028323" y="3088084"/>
                      <a:pt x="1025585" y="3090821"/>
                    </a:cubicBezTo>
                    <a:cubicBezTo>
                      <a:pt x="1021477" y="3092189"/>
                      <a:pt x="1025585" y="3100399"/>
                      <a:pt x="1021477" y="3100399"/>
                    </a:cubicBezTo>
                    <a:cubicBezTo>
                      <a:pt x="1017369" y="3100399"/>
                      <a:pt x="1002307" y="3101767"/>
                      <a:pt x="995461" y="3118186"/>
                    </a:cubicBezTo>
                    <a:cubicBezTo>
                      <a:pt x="988614" y="3133237"/>
                      <a:pt x="1002307" y="3145551"/>
                      <a:pt x="1006415" y="3146919"/>
                    </a:cubicBezTo>
                    <a:cubicBezTo>
                      <a:pt x="1009153" y="3148288"/>
                      <a:pt x="1021477" y="3148288"/>
                      <a:pt x="1021477" y="3152392"/>
                    </a:cubicBezTo>
                    <a:cubicBezTo>
                      <a:pt x="1021477" y="3156497"/>
                      <a:pt x="1017369" y="3167443"/>
                      <a:pt x="1018738" y="3170180"/>
                    </a:cubicBezTo>
                    <a:cubicBezTo>
                      <a:pt x="1020108" y="3174284"/>
                      <a:pt x="1007784" y="3181126"/>
                      <a:pt x="1000938" y="3189335"/>
                    </a:cubicBezTo>
                    <a:cubicBezTo>
                      <a:pt x="992722" y="3196176"/>
                      <a:pt x="989984" y="3200281"/>
                      <a:pt x="988614" y="3209859"/>
                    </a:cubicBezTo>
                    <a:cubicBezTo>
                      <a:pt x="988614" y="3219437"/>
                      <a:pt x="981768" y="3224910"/>
                      <a:pt x="979029" y="3223541"/>
                    </a:cubicBezTo>
                    <a:cubicBezTo>
                      <a:pt x="976291" y="3222173"/>
                      <a:pt x="976291" y="3226278"/>
                      <a:pt x="970814" y="3230383"/>
                    </a:cubicBezTo>
                    <a:cubicBezTo>
                      <a:pt x="965337" y="3234487"/>
                      <a:pt x="968075" y="3244065"/>
                      <a:pt x="968075" y="3248170"/>
                    </a:cubicBezTo>
                    <a:cubicBezTo>
                      <a:pt x="968075" y="3252275"/>
                      <a:pt x="969445" y="3259116"/>
                      <a:pt x="969445" y="3263221"/>
                    </a:cubicBezTo>
                    <a:cubicBezTo>
                      <a:pt x="969445" y="3267326"/>
                      <a:pt x="980399" y="3278272"/>
                      <a:pt x="977660" y="3281008"/>
                    </a:cubicBezTo>
                    <a:cubicBezTo>
                      <a:pt x="976291" y="3282376"/>
                      <a:pt x="966706" y="3275535"/>
                      <a:pt x="962598" y="3278272"/>
                    </a:cubicBezTo>
                    <a:cubicBezTo>
                      <a:pt x="962598" y="3278272"/>
                      <a:pt x="961229" y="3279640"/>
                      <a:pt x="961229" y="3281008"/>
                    </a:cubicBezTo>
                    <a:cubicBezTo>
                      <a:pt x="959860" y="3289218"/>
                      <a:pt x="969445" y="3287849"/>
                      <a:pt x="973552" y="3287849"/>
                    </a:cubicBezTo>
                    <a:cubicBezTo>
                      <a:pt x="974922" y="3287849"/>
                      <a:pt x="974922" y="3287849"/>
                      <a:pt x="974922" y="3287849"/>
                    </a:cubicBezTo>
                    <a:cubicBezTo>
                      <a:pt x="979029" y="3289218"/>
                      <a:pt x="984507" y="3296059"/>
                      <a:pt x="980399" y="3298795"/>
                    </a:cubicBezTo>
                    <a:cubicBezTo>
                      <a:pt x="977660" y="3300164"/>
                      <a:pt x="973552" y="3308373"/>
                      <a:pt x="979029" y="3307005"/>
                    </a:cubicBezTo>
                    <a:cubicBezTo>
                      <a:pt x="985876" y="3305637"/>
                      <a:pt x="981768" y="3309741"/>
                      <a:pt x="987245" y="3315214"/>
                    </a:cubicBezTo>
                    <a:cubicBezTo>
                      <a:pt x="988614" y="3316583"/>
                      <a:pt x="991353" y="3320687"/>
                      <a:pt x="995461" y="3324792"/>
                    </a:cubicBezTo>
                    <a:cubicBezTo>
                      <a:pt x="980399" y="3315214"/>
                      <a:pt x="966706" y="3304268"/>
                      <a:pt x="951644" y="3294691"/>
                    </a:cubicBezTo>
                    <a:cubicBezTo>
                      <a:pt x="950275" y="3293322"/>
                      <a:pt x="947536" y="3291954"/>
                      <a:pt x="944798" y="3290586"/>
                    </a:cubicBezTo>
                    <a:cubicBezTo>
                      <a:pt x="928366" y="3278272"/>
                      <a:pt x="911935" y="3265957"/>
                      <a:pt x="895504" y="3255011"/>
                    </a:cubicBezTo>
                    <a:cubicBezTo>
                      <a:pt x="894135" y="3253643"/>
                      <a:pt x="892765" y="3252275"/>
                      <a:pt x="891396" y="3250906"/>
                    </a:cubicBezTo>
                    <a:cubicBezTo>
                      <a:pt x="891396" y="3252275"/>
                      <a:pt x="891396" y="3252275"/>
                      <a:pt x="890027" y="3252275"/>
                    </a:cubicBezTo>
                    <a:cubicBezTo>
                      <a:pt x="885919" y="3255011"/>
                      <a:pt x="885919" y="3253643"/>
                      <a:pt x="881811" y="3250906"/>
                    </a:cubicBezTo>
                    <a:cubicBezTo>
                      <a:pt x="879073" y="3249538"/>
                      <a:pt x="876334" y="3257748"/>
                      <a:pt x="873595" y="3255011"/>
                    </a:cubicBezTo>
                    <a:cubicBezTo>
                      <a:pt x="870857" y="3250906"/>
                      <a:pt x="879073" y="3246802"/>
                      <a:pt x="874965" y="3242697"/>
                    </a:cubicBezTo>
                    <a:cubicBezTo>
                      <a:pt x="870857" y="3241329"/>
                      <a:pt x="874965" y="3241329"/>
                      <a:pt x="877703" y="3241329"/>
                    </a:cubicBezTo>
                    <a:cubicBezTo>
                      <a:pt x="345056" y="2837694"/>
                      <a:pt x="0" y="2200088"/>
                      <a:pt x="0" y="1480387"/>
                    </a:cubicBezTo>
                    <a:cubicBezTo>
                      <a:pt x="0" y="1357245"/>
                      <a:pt x="10954" y="1235470"/>
                      <a:pt x="30124" y="1117800"/>
                    </a:cubicBezTo>
                    <a:cubicBezTo>
                      <a:pt x="28755" y="1116432"/>
                      <a:pt x="27385" y="1115064"/>
                      <a:pt x="28755" y="1112327"/>
                    </a:cubicBezTo>
                    <a:cubicBezTo>
                      <a:pt x="30124" y="1112327"/>
                      <a:pt x="30124" y="1112327"/>
                      <a:pt x="31493" y="1110959"/>
                    </a:cubicBezTo>
                    <a:cubicBezTo>
                      <a:pt x="32862" y="1104118"/>
                      <a:pt x="34232" y="1097276"/>
                      <a:pt x="35601" y="1090435"/>
                    </a:cubicBezTo>
                    <a:cubicBezTo>
                      <a:pt x="31493" y="1090435"/>
                      <a:pt x="30124" y="1079489"/>
                      <a:pt x="35601" y="1079489"/>
                    </a:cubicBezTo>
                    <a:cubicBezTo>
                      <a:pt x="35601" y="1079489"/>
                      <a:pt x="36970" y="1079489"/>
                      <a:pt x="36970" y="1079489"/>
                    </a:cubicBezTo>
                    <a:cubicBezTo>
                      <a:pt x="36970" y="1078121"/>
                      <a:pt x="36970" y="1076752"/>
                      <a:pt x="38339" y="1075384"/>
                    </a:cubicBezTo>
                    <a:cubicBezTo>
                      <a:pt x="61617" y="945400"/>
                      <a:pt x="97218" y="819521"/>
                      <a:pt x="143773" y="699115"/>
                    </a:cubicBezTo>
                    <a:cubicBezTo>
                      <a:pt x="149251" y="684064"/>
                      <a:pt x="154728" y="669013"/>
                      <a:pt x="160205" y="655331"/>
                    </a:cubicBezTo>
                    <a:cubicBezTo>
                      <a:pt x="169790" y="630702"/>
                      <a:pt x="180744" y="606074"/>
                      <a:pt x="191698" y="582813"/>
                    </a:cubicBezTo>
                    <a:cubicBezTo>
                      <a:pt x="193067" y="584181"/>
                      <a:pt x="197175" y="585550"/>
                      <a:pt x="201283" y="585550"/>
                    </a:cubicBezTo>
                    <a:cubicBezTo>
                      <a:pt x="213606" y="589655"/>
                      <a:pt x="224561" y="593759"/>
                      <a:pt x="223191" y="588286"/>
                    </a:cubicBezTo>
                    <a:cubicBezTo>
                      <a:pt x="223191" y="584181"/>
                      <a:pt x="240992" y="588286"/>
                      <a:pt x="249207" y="596496"/>
                    </a:cubicBezTo>
                    <a:cubicBezTo>
                      <a:pt x="257423" y="603337"/>
                      <a:pt x="260162" y="611547"/>
                      <a:pt x="256054" y="610178"/>
                    </a:cubicBezTo>
                    <a:cubicBezTo>
                      <a:pt x="250577" y="608810"/>
                      <a:pt x="232776" y="619756"/>
                      <a:pt x="236884" y="625229"/>
                    </a:cubicBezTo>
                    <a:cubicBezTo>
                      <a:pt x="242361" y="630702"/>
                      <a:pt x="269746" y="632070"/>
                      <a:pt x="284808" y="629334"/>
                    </a:cubicBezTo>
                    <a:cubicBezTo>
                      <a:pt x="298501" y="626597"/>
                      <a:pt x="306717" y="627966"/>
                      <a:pt x="313563" y="622493"/>
                    </a:cubicBezTo>
                    <a:cubicBezTo>
                      <a:pt x="320410" y="618388"/>
                      <a:pt x="323148" y="622493"/>
                      <a:pt x="327256" y="627966"/>
                    </a:cubicBezTo>
                    <a:cubicBezTo>
                      <a:pt x="332733" y="632070"/>
                      <a:pt x="338210" y="626597"/>
                      <a:pt x="338210" y="632070"/>
                    </a:cubicBezTo>
                    <a:cubicBezTo>
                      <a:pt x="336841" y="637543"/>
                      <a:pt x="340949" y="632070"/>
                      <a:pt x="346426" y="637543"/>
                    </a:cubicBezTo>
                    <a:cubicBezTo>
                      <a:pt x="351903" y="641648"/>
                      <a:pt x="354641" y="649858"/>
                      <a:pt x="347795" y="652594"/>
                    </a:cubicBezTo>
                    <a:cubicBezTo>
                      <a:pt x="340949" y="655331"/>
                      <a:pt x="357380" y="664908"/>
                      <a:pt x="357380" y="658067"/>
                    </a:cubicBezTo>
                    <a:cubicBezTo>
                      <a:pt x="357380" y="649858"/>
                      <a:pt x="369703" y="659435"/>
                      <a:pt x="361488" y="643016"/>
                    </a:cubicBezTo>
                    <a:cubicBezTo>
                      <a:pt x="353272" y="627966"/>
                      <a:pt x="350534" y="618388"/>
                      <a:pt x="360118" y="617020"/>
                    </a:cubicBezTo>
                    <a:cubicBezTo>
                      <a:pt x="368334" y="615651"/>
                      <a:pt x="390242" y="606074"/>
                      <a:pt x="386135" y="600601"/>
                    </a:cubicBezTo>
                    <a:cubicBezTo>
                      <a:pt x="382027" y="596496"/>
                      <a:pt x="373811" y="610178"/>
                      <a:pt x="364226" y="607442"/>
                    </a:cubicBezTo>
                    <a:cubicBezTo>
                      <a:pt x="354641" y="606074"/>
                      <a:pt x="354641" y="614283"/>
                      <a:pt x="350534" y="614283"/>
                    </a:cubicBezTo>
                    <a:cubicBezTo>
                      <a:pt x="346426" y="614283"/>
                      <a:pt x="339579" y="615651"/>
                      <a:pt x="342318" y="606074"/>
                    </a:cubicBezTo>
                    <a:cubicBezTo>
                      <a:pt x="346426" y="596496"/>
                      <a:pt x="358749" y="599232"/>
                      <a:pt x="365596" y="593759"/>
                    </a:cubicBezTo>
                    <a:cubicBezTo>
                      <a:pt x="372442" y="588286"/>
                      <a:pt x="391612" y="586918"/>
                      <a:pt x="391612" y="592391"/>
                    </a:cubicBezTo>
                    <a:cubicBezTo>
                      <a:pt x="392981" y="597864"/>
                      <a:pt x="391612" y="607442"/>
                      <a:pt x="399827" y="607442"/>
                    </a:cubicBezTo>
                    <a:cubicBezTo>
                      <a:pt x="409412" y="607442"/>
                      <a:pt x="406674" y="615651"/>
                      <a:pt x="413520" y="615651"/>
                    </a:cubicBezTo>
                    <a:cubicBezTo>
                      <a:pt x="421736" y="615651"/>
                      <a:pt x="427213" y="615651"/>
                      <a:pt x="431321" y="621124"/>
                    </a:cubicBezTo>
                    <a:cubicBezTo>
                      <a:pt x="435428" y="626597"/>
                      <a:pt x="446383" y="630702"/>
                      <a:pt x="455968" y="627966"/>
                    </a:cubicBezTo>
                    <a:cubicBezTo>
                      <a:pt x="465552" y="625229"/>
                      <a:pt x="479245" y="622493"/>
                      <a:pt x="487461" y="622493"/>
                    </a:cubicBezTo>
                    <a:cubicBezTo>
                      <a:pt x="494307" y="623861"/>
                      <a:pt x="502523" y="627966"/>
                      <a:pt x="501153" y="623861"/>
                    </a:cubicBezTo>
                    <a:cubicBezTo>
                      <a:pt x="501153" y="618388"/>
                      <a:pt x="506631" y="617020"/>
                      <a:pt x="502523" y="611547"/>
                    </a:cubicBezTo>
                    <a:cubicBezTo>
                      <a:pt x="498415" y="606074"/>
                      <a:pt x="503892" y="603337"/>
                      <a:pt x="509369" y="606074"/>
                    </a:cubicBezTo>
                    <a:cubicBezTo>
                      <a:pt x="513477" y="608810"/>
                      <a:pt x="512108" y="601969"/>
                      <a:pt x="516215" y="601969"/>
                    </a:cubicBezTo>
                    <a:cubicBezTo>
                      <a:pt x="520323" y="601969"/>
                      <a:pt x="513477" y="591023"/>
                      <a:pt x="503892" y="591023"/>
                    </a:cubicBezTo>
                    <a:cubicBezTo>
                      <a:pt x="494307" y="589655"/>
                      <a:pt x="486092" y="585550"/>
                      <a:pt x="490199" y="580077"/>
                    </a:cubicBezTo>
                    <a:cubicBezTo>
                      <a:pt x="494307" y="574604"/>
                      <a:pt x="503892" y="584181"/>
                      <a:pt x="506631" y="567762"/>
                    </a:cubicBezTo>
                    <a:cubicBezTo>
                      <a:pt x="509369" y="551343"/>
                      <a:pt x="518954" y="555448"/>
                      <a:pt x="524431" y="562289"/>
                    </a:cubicBezTo>
                    <a:cubicBezTo>
                      <a:pt x="529908" y="569131"/>
                      <a:pt x="535385" y="569131"/>
                      <a:pt x="542232" y="567762"/>
                    </a:cubicBezTo>
                    <a:cubicBezTo>
                      <a:pt x="549078" y="565026"/>
                      <a:pt x="555924" y="573235"/>
                      <a:pt x="551816" y="574604"/>
                    </a:cubicBezTo>
                    <a:cubicBezTo>
                      <a:pt x="547709" y="574604"/>
                      <a:pt x="538124" y="570499"/>
                      <a:pt x="538124" y="577340"/>
                    </a:cubicBezTo>
                    <a:cubicBezTo>
                      <a:pt x="538124" y="582813"/>
                      <a:pt x="546339" y="580077"/>
                      <a:pt x="551816" y="578708"/>
                    </a:cubicBezTo>
                    <a:cubicBezTo>
                      <a:pt x="555924" y="575972"/>
                      <a:pt x="565509" y="588286"/>
                      <a:pt x="560032" y="595128"/>
                    </a:cubicBezTo>
                    <a:cubicBezTo>
                      <a:pt x="554555" y="600601"/>
                      <a:pt x="549078" y="596496"/>
                      <a:pt x="542232" y="596496"/>
                    </a:cubicBezTo>
                    <a:cubicBezTo>
                      <a:pt x="535385" y="596496"/>
                      <a:pt x="543601" y="604705"/>
                      <a:pt x="534016" y="603337"/>
                    </a:cubicBezTo>
                    <a:cubicBezTo>
                      <a:pt x="524431" y="601969"/>
                      <a:pt x="518954" y="600601"/>
                      <a:pt x="521693" y="606074"/>
                    </a:cubicBezTo>
                    <a:cubicBezTo>
                      <a:pt x="524431" y="611547"/>
                      <a:pt x="535385" y="612915"/>
                      <a:pt x="539493" y="612915"/>
                    </a:cubicBezTo>
                    <a:cubicBezTo>
                      <a:pt x="544970" y="611547"/>
                      <a:pt x="542232" y="619756"/>
                      <a:pt x="538124" y="626597"/>
                    </a:cubicBezTo>
                    <a:cubicBezTo>
                      <a:pt x="534016" y="633439"/>
                      <a:pt x="538124" y="640280"/>
                      <a:pt x="546339" y="643016"/>
                    </a:cubicBezTo>
                    <a:cubicBezTo>
                      <a:pt x="554555" y="644385"/>
                      <a:pt x="557294" y="643016"/>
                      <a:pt x="554555" y="634807"/>
                    </a:cubicBezTo>
                    <a:cubicBezTo>
                      <a:pt x="551816" y="627966"/>
                      <a:pt x="547709" y="615651"/>
                      <a:pt x="554555" y="617020"/>
                    </a:cubicBezTo>
                    <a:cubicBezTo>
                      <a:pt x="561401" y="618388"/>
                      <a:pt x="565509" y="617020"/>
                      <a:pt x="570986" y="608810"/>
                    </a:cubicBezTo>
                    <a:cubicBezTo>
                      <a:pt x="575094" y="601969"/>
                      <a:pt x="580571" y="606074"/>
                      <a:pt x="580571" y="597864"/>
                    </a:cubicBezTo>
                    <a:cubicBezTo>
                      <a:pt x="581940" y="589655"/>
                      <a:pt x="577833" y="578708"/>
                      <a:pt x="573725" y="586918"/>
                    </a:cubicBezTo>
                    <a:cubicBezTo>
                      <a:pt x="569617" y="596496"/>
                      <a:pt x="566878" y="599232"/>
                      <a:pt x="566878" y="593759"/>
                    </a:cubicBezTo>
                    <a:cubicBezTo>
                      <a:pt x="565509" y="588286"/>
                      <a:pt x="575094" y="585550"/>
                      <a:pt x="570986" y="578708"/>
                    </a:cubicBezTo>
                    <a:cubicBezTo>
                      <a:pt x="568248" y="571867"/>
                      <a:pt x="579202" y="575972"/>
                      <a:pt x="572356" y="569131"/>
                    </a:cubicBezTo>
                    <a:cubicBezTo>
                      <a:pt x="564140" y="563658"/>
                      <a:pt x="547709" y="563658"/>
                      <a:pt x="539493" y="555448"/>
                    </a:cubicBezTo>
                    <a:cubicBezTo>
                      <a:pt x="531277" y="548607"/>
                      <a:pt x="535385" y="540397"/>
                      <a:pt x="538124" y="534924"/>
                    </a:cubicBezTo>
                    <a:cubicBezTo>
                      <a:pt x="542232" y="529451"/>
                      <a:pt x="540862" y="529451"/>
                      <a:pt x="535385" y="525347"/>
                    </a:cubicBezTo>
                    <a:cubicBezTo>
                      <a:pt x="531277" y="521242"/>
                      <a:pt x="535385" y="506191"/>
                      <a:pt x="539493" y="504823"/>
                    </a:cubicBezTo>
                    <a:cubicBezTo>
                      <a:pt x="543601" y="503455"/>
                      <a:pt x="550447" y="511664"/>
                      <a:pt x="551816" y="506191"/>
                    </a:cubicBezTo>
                    <a:cubicBezTo>
                      <a:pt x="553186" y="500718"/>
                      <a:pt x="544970" y="496613"/>
                      <a:pt x="547709" y="495245"/>
                    </a:cubicBezTo>
                    <a:cubicBezTo>
                      <a:pt x="549078" y="492509"/>
                      <a:pt x="557294" y="493877"/>
                      <a:pt x="557294" y="484299"/>
                    </a:cubicBezTo>
                    <a:cubicBezTo>
                      <a:pt x="557294" y="474721"/>
                      <a:pt x="557294" y="467880"/>
                      <a:pt x="554555" y="462407"/>
                    </a:cubicBezTo>
                    <a:cubicBezTo>
                      <a:pt x="550447" y="456934"/>
                      <a:pt x="547709" y="455566"/>
                      <a:pt x="547709" y="440515"/>
                    </a:cubicBezTo>
                    <a:cubicBezTo>
                      <a:pt x="549078" y="426832"/>
                      <a:pt x="544970" y="421359"/>
                      <a:pt x="547709" y="418623"/>
                    </a:cubicBezTo>
                    <a:cubicBezTo>
                      <a:pt x="550447" y="417255"/>
                      <a:pt x="557294" y="424096"/>
                      <a:pt x="558663" y="419991"/>
                    </a:cubicBezTo>
                    <a:cubicBezTo>
                      <a:pt x="560032" y="415886"/>
                      <a:pt x="551816" y="413150"/>
                      <a:pt x="554555" y="409045"/>
                    </a:cubicBezTo>
                    <a:cubicBezTo>
                      <a:pt x="557294" y="404940"/>
                      <a:pt x="576463" y="402204"/>
                      <a:pt x="587418" y="403572"/>
                    </a:cubicBezTo>
                    <a:close/>
                    <a:moveTo>
                      <a:pt x="514307" y="402265"/>
                    </a:moveTo>
                    <a:cubicBezTo>
                      <a:pt x="516826" y="402563"/>
                      <a:pt x="518107" y="403588"/>
                      <a:pt x="516741" y="405637"/>
                    </a:cubicBezTo>
                    <a:cubicBezTo>
                      <a:pt x="511275" y="413833"/>
                      <a:pt x="533138" y="412467"/>
                      <a:pt x="527672" y="423395"/>
                    </a:cubicBezTo>
                    <a:cubicBezTo>
                      <a:pt x="523573" y="434323"/>
                      <a:pt x="503076" y="434323"/>
                      <a:pt x="507175" y="442518"/>
                    </a:cubicBezTo>
                    <a:cubicBezTo>
                      <a:pt x="512641" y="450714"/>
                      <a:pt x="526306" y="441153"/>
                      <a:pt x="527672" y="452080"/>
                    </a:cubicBezTo>
                    <a:cubicBezTo>
                      <a:pt x="529039" y="463008"/>
                      <a:pt x="533138" y="453446"/>
                      <a:pt x="529039" y="445250"/>
                    </a:cubicBezTo>
                    <a:cubicBezTo>
                      <a:pt x="524939" y="435689"/>
                      <a:pt x="541337" y="434323"/>
                      <a:pt x="538604" y="446616"/>
                    </a:cubicBezTo>
                    <a:cubicBezTo>
                      <a:pt x="535871" y="460276"/>
                      <a:pt x="535871" y="494426"/>
                      <a:pt x="518107" y="493060"/>
                    </a:cubicBezTo>
                    <a:cubicBezTo>
                      <a:pt x="500343" y="493060"/>
                      <a:pt x="505809" y="514916"/>
                      <a:pt x="490778" y="502622"/>
                    </a:cubicBezTo>
                    <a:cubicBezTo>
                      <a:pt x="474381" y="490328"/>
                      <a:pt x="477113" y="478034"/>
                      <a:pt x="457983" y="471204"/>
                    </a:cubicBezTo>
                    <a:cubicBezTo>
                      <a:pt x="438853" y="464374"/>
                      <a:pt x="433387" y="445250"/>
                      <a:pt x="445685" y="442518"/>
                    </a:cubicBezTo>
                    <a:cubicBezTo>
                      <a:pt x="457983" y="439787"/>
                      <a:pt x="464815" y="468472"/>
                      <a:pt x="477113" y="446616"/>
                    </a:cubicBezTo>
                    <a:cubicBezTo>
                      <a:pt x="490778" y="424761"/>
                      <a:pt x="467548" y="437055"/>
                      <a:pt x="460716" y="428859"/>
                    </a:cubicBezTo>
                    <a:cubicBezTo>
                      <a:pt x="449784" y="420663"/>
                      <a:pt x="477113" y="405637"/>
                      <a:pt x="488045" y="413833"/>
                    </a:cubicBezTo>
                    <a:cubicBezTo>
                      <a:pt x="497610" y="423395"/>
                      <a:pt x="507175" y="416565"/>
                      <a:pt x="496244" y="411101"/>
                    </a:cubicBezTo>
                    <a:cubicBezTo>
                      <a:pt x="488045" y="407003"/>
                      <a:pt x="506748" y="401368"/>
                      <a:pt x="514307" y="402265"/>
                    </a:cubicBezTo>
                    <a:close/>
                    <a:moveTo>
                      <a:pt x="3845130" y="391239"/>
                    </a:moveTo>
                    <a:cubicBezTo>
                      <a:pt x="3849962" y="391587"/>
                      <a:pt x="3854448" y="393670"/>
                      <a:pt x="3854448" y="397838"/>
                    </a:cubicBezTo>
                    <a:cubicBezTo>
                      <a:pt x="3853068" y="407561"/>
                      <a:pt x="3829600" y="411728"/>
                      <a:pt x="3825459" y="403394"/>
                    </a:cubicBezTo>
                    <a:cubicBezTo>
                      <a:pt x="3822698" y="399227"/>
                      <a:pt x="3832361" y="399227"/>
                      <a:pt x="3833742" y="395059"/>
                    </a:cubicBezTo>
                    <a:cubicBezTo>
                      <a:pt x="3835122" y="392281"/>
                      <a:pt x="3840299" y="390892"/>
                      <a:pt x="3845130" y="391239"/>
                    </a:cubicBezTo>
                    <a:close/>
                    <a:moveTo>
                      <a:pt x="411599" y="352391"/>
                    </a:moveTo>
                    <a:cubicBezTo>
                      <a:pt x="413438" y="352054"/>
                      <a:pt x="415480" y="352813"/>
                      <a:pt x="417278" y="354162"/>
                    </a:cubicBezTo>
                    <a:cubicBezTo>
                      <a:pt x="420873" y="356861"/>
                      <a:pt x="423488" y="361921"/>
                      <a:pt x="421527" y="365295"/>
                    </a:cubicBezTo>
                    <a:cubicBezTo>
                      <a:pt x="416297" y="372042"/>
                      <a:pt x="403224" y="367994"/>
                      <a:pt x="407146" y="357198"/>
                    </a:cubicBezTo>
                    <a:cubicBezTo>
                      <a:pt x="408126" y="354162"/>
                      <a:pt x="409761" y="352729"/>
                      <a:pt x="411599" y="352391"/>
                    </a:cubicBezTo>
                    <a:close/>
                    <a:moveTo>
                      <a:pt x="558951" y="350108"/>
                    </a:moveTo>
                    <a:cubicBezTo>
                      <a:pt x="564008" y="349515"/>
                      <a:pt x="568870" y="350446"/>
                      <a:pt x="572690" y="353831"/>
                    </a:cubicBezTo>
                    <a:cubicBezTo>
                      <a:pt x="586581" y="366018"/>
                      <a:pt x="592137" y="383621"/>
                      <a:pt x="579635" y="384975"/>
                    </a:cubicBezTo>
                    <a:cubicBezTo>
                      <a:pt x="567134" y="386329"/>
                      <a:pt x="537963" y="376850"/>
                      <a:pt x="531018" y="371434"/>
                    </a:cubicBezTo>
                    <a:cubicBezTo>
                      <a:pt x="526851" y="367372"/>
                      <a:pt x="543780" y="351885"/>
                      <a:pt x="558951" y="350108"/>
                    </a:cubicBezTo>
                    <a:close/>
                    <a:moveTo>
                      <a:pt x="338544" y="300604"/>
                    </a:moveTo>
                    <a:cubicBezTo>
                      <a:pt x="339928" y="300604"/>
                      <a:pt x="341312" y="300604"/>
                      <a:pt x="342696" y="301958"/>
                    </a:cubicBezTo>
                    <a:cubicBezTo>
                      <a:pt x="346848" y="304666"/>
                      <a:pt x="344080" y="315498"/>
                      <a:pt x="349616" y="320915"/>
                    </a:cubicBezTo>
                    <a:cubicBezTo>
                      <a:pt x="356536" y="329039"/>
                      <a:pt x="360688" y="339871"/>
                      <a:pt x="367607" y="338517"/>
                    </a:cubicBezTo>
                    <a:cubicBezTo>
                      <a:pt x="375911" y="337163"/>
                      <a:pt x="375911" y="326331"/>
                      <a:pt x="385599" y="331747"/>
                    </a:cubicBezTo>
                    <a:cubicBezTo>
                      <a:pt x="395287" y="335809"/>
                      <a:pt x="393903" y="365598"/>
                      <a:pt x="380063" y="369660"/>
                    </a:cubicBezTo>
                    <a:cubicBezTo>
                      <a:pt x="366223" y="372368"/>
                      <a:pt x="352384" y="365598"/>
                      <a:pt x="344080" y="372368"/>
                    </a:cubicBezTo>
                    <a:cubicBezTo>
                      <a:pt x="335776" y="379138"/>
                      <a:pt x="328856" y="364244"/>
                      <a:pt x="320552" y="373722"/>
                    </a:cubicBezTo>
                    <a:cubicBezTo>
                      <a:pt x="316400" y="379138"/>
                      <a:pt x="301177" y="387263"/>
                      <a:pt x="287337" y="392679"/>
                    </a:cubicBezTo>
                    <a:cubicBezTo>
                      <a:pt x="295641" y="377784"/>
                      <a:pt x="303945" y="362890"/>
                      <a:pt x="312248" y="349349"/>
                    </a:cubicBezTo>
                    <a:cubicBezTo>
                      <a:pt x="317784" y="341225"/>
                      <a:pt x="323320" y="333101"/>
                      <a:pt x="327472" y="324977"/>
                    </a:cubicBezTo>
                    <a:cubicBezTo>
                      <a:pt x="326088" y="323623"/>
                      <a:pt x="324704" y="322269"/>
                      <a:pt x="320552" y="322269"/>
                    </a:cubicBezTo>
                    <a:cubicBezTo>
                      <a:pt x="309480" y="320915"/>
                      <a:pt x="328856" y="303312"/>
                      <a:pt x="338544" y="300604"/>
                    </a:cubicBezTo>
                    <a:close/>
                    <a:moveTo>
                      <a:pt x="465604" y="299327"/>
                    </a:moveTo>
                    <a:cubicBezTo>
                      <a:pt x="466412" y="298381"/>
                      <a:pt x="468198" y="298381"/>
                      <a:pt x="471260" y="299757"/>
                    </a:cubicBezTo>
                    <a:cubicBezTo>
                      <a:pt x="483506" y="305261"/>
                      <a:pt x="499835" y="316267"/>
                      <a:pt x="501195" y="306636"/>
                    </a:cubicBezTo>
                    <a:cubicBezTo>
                      <a:pt x="501195" y="298381"/>
                      <a:pt x="524327" y="321771"/>
                      <a:pt x="518885" y="335529"/>
                    </a:cubicBezTo>
                    <a:cubicBezTo>
                      <a:pt x="513442" y="350663"/>
                      <a:pt x="527049" y="349287"/>
                      <a:pt x="520245" y="354791"/>
                    </a:cubicBezTo>
                    <a:cubicBezTo>
                      <a:pt x="513442" y="361670"/>
                      <a:pt x="518885" y="369925"/>
                      <a:pt x="506638" y="369925"/>
                    </a:cubicBezTo>
                    <a:cubicBezTo>
                      <a:pt x="495752" y="371301"/>
                      <a:pt x="479424" y="376804"/>
                      <a:pt x="473981" y="368549"/>
                    </a:cubicBezTo>
                    <a:cubicBezTo>
                      <a:pt x="468538" y="360294"/>
                      <a:pt x="486227" y="347911"/>
                      <a:pt x="478063" y="345160"/>
                    </a:cubicBezTo>
                    <a:cubicBezTo>
                      <a:pt x="469899" y="342408"/>
                      <a:pt x="450849" y="353415"/>
                      <a:pt x="439963" y="346536"/>
                    </a:cubicBezTo>
                    <a:cubicBezTo>
                      <a:pt x="429077" y="338281"/>
                      <a:pt x="422274" y="335529"/>
                      <a:pt x="415470" y="324522"/>
                    </a:cubicBezTo>
                    <a:cubicBezTo>
                      <a:pt x="410027" y="316267"/>
                      <a:pt x="403224" y="299757"/>
                      <a:pt x="416831" y="301133"/>
                    </a:cubicBezTo>
                    <a:cubicBezTo>
                      <a:pt x="430438" y="302509"/>
                      <a:pt x="434520" y="316267"/>
                      <a:pt x="442685" y="330026"/>
                    </a:cubicBezTo>
                    <a:cubicBezTo>
                      <a:pt x="450849" y="343784"/>
                      <a:pt x="459013" y="335529"/>
                      <a:pt x="452210" y="328650"/>
                    </a:cubicBezTo>
                    <a:cubicBezTo>
                      <a:pt x="446767" y="323146"/>
                      <a:pt x="445406" y="305261"/>
                      <a:pt x="457652" y="316267"/>
                    </a:cubicBezTo>
                    <a:cubicBezTo>
                      <a:pt x="471260" y="327274"/>
                      <a:pt x="486227" y="331401"/>
                      <a:pt x="476702" y="321771"/>
                    </a:cubicBezTo>
                    <a:cubicBezTo>
                      <a:pt x="469559" y="313516"/>
                      <a:pt x="463180" y="302165"/>
                      <a:pt x="465604" y="299327"/>
                    </a:cubicBezTo>
                    <a:close/>
                    <a:moveTo>
                      <a:pt x="3155985" y="296566"/>
                    </a:moveTo>
                    <a:cubicBezTo>
                      <a:pt x="3160491" y="296588"/>
                      <a:pt x="3164440" y="297699"/>
                      <a:pt x="3167186" y="300436"/>
                    </a:cubicBezTo>
                    <a:cubicBezTo>
                      <a:pt x="3178173" y="310014"/>
                      <a:pt x="3156199" y="325064"/>
                      <a:pt x="3125985" y="333274"/>
                    </a:cubicBezTo>
                    <a:cubicBezTo>
                      <a:pt x="3095771" y="342851"/>
                      <a:pt x="3040836" y="364743"/>
                      <a:pt x="3038089" y="374321"/>
                    </a:cubicBezTo>
                    <a:cubicBezTo>
                      <a:pt x="3033969" y="382530"/>
                      <a:pt x="3021609" y="378425"/>
                      <a:pt x="3016115" y="385266"/>
                    </a:cubicBezTo>
                    <a:cubicBezTo>
                      <a:pt x="3011995" y="392108"/>
                      <a:pt x="2999635" y="386635"/>
                      <a:pt x="3001008" y="392108"/>
                    </a:cubicBezTo>
                    <a:cubicBezTo>
                      <a:pt x="3002382" y="396212"/>
                      <a:pt x="3001008" y="408526"/>
                      <a:pt x="2991395" y="409895"/>
                    </a:cubicBezTo>
                    <a:cubicBezTo>
                      <a:pt x="2981781" y="411263"/>
                      <a:pt x="2992768" y="422209"/>
                      <a:pt x="2983154" y="423577"/>
                    </a:cubicBezTo>
                    <a:cubicBezTo>
                      <a:pt x="2973541" y="423577"/>
                      <a:pt x="2980408" y="433154"/>
                      <a:pt x="2969421" y="442732"/>
                    </a:cubicBezTo>
                    <a:cubicBezTo>
                      <a:pt x="2958434" y="452310"/>
                      <a:pt x="2968047" y="456414"/>
                      <a:pt x="2957060" y="464624"/>
                    </a:cubicBezTo>
                    <a:cubicBezTo>
                      <a:pt x="2944700" y="472833"/>
                      <a:pt x="2952940" y="493357"/>
                      <a:pt x="2962554" y="505671"/>
                    </a:cubicBezTo>
                    <a:cubicBezTo>
                      <a:pt x="2972167" y="517985"/>
                      <a:pt x="2984528" y="522090"/>
                      <a:pt x="2983154" y="528931"/>
                    </a:cubicBezTo>
                    <a:cubicBezTo>
                      <a:pt x="2983154" y="537140"/>
                      <a:pt x="2951567" y="528931"/>
                      <a:pt x="2941953" y="528931"/>
                    </a:cubicBezTo>
                    <a:cubicBezTo>
                      <a:pt x="2933713" y="527563"/>
                      <a:pt x="2915859" y="522090"/>
                      <a:pt x="2922726" y="515248"/>
                    </a:cubicBezTo>
                    <a:cubicBezTo>
                      <a:pt x="2929592" y="507039"/>
                      <a:pt x="2906245" y="494725"/>
                      <a:pt x="2908992" y="504303"/>
                    </a:cubicBezTo>
                    <a:cubicBezTo>
                      <a:pt x="2913112" y="513880"/>
                      <a:pt x="2908992" y="515248"/>
                      <a:pt x="2903498" y="509775"/>
                    </a:cubicBezTo>
                    <a:cubicBezTo>
                      <a:pt x="2898005" y="505671"/>
                      <a:pt x="2907618" y="497461"/>
                      <a:pt x="2900752" y="496093"/>
                    </a:cubicBezTo>
                    <a:cubicBezTo>
                      <a:pt x="2892511" y="496093"/>
                      <a:pt x="2882898" y="497461"/>
                      <a:pt x="2884271" y="485147"/>
                    </a:cubicBezTo>
                    <a:cubicBezTo>
                      <a:pt x="2887018" y="472833"/>
                      <a:pt x="2903498" y="482411"/>
                      <a:pt x="2904872" y="472833"/>
                    </a:cubicBezTo>
                    <a:cubicBezTo>
                      <a:pt x="2904872" y="463256"/>
                      <a:pt x="2914485" y="467360"/>
                      <a:pt x="2913112" y="461887"/>
                    </a:cubicBezTo>
                    <a:cubicBezTo>
                      <a:pt x="2913112" y="455046"/>
                      <a:pt x="2899378" y="448205"/>
                      <a:pt x="2908992" y="448205"/>
                    </a:cubicBezTo>
                    <a:cubicBezTo>
                      <a:pt x="2917232" y="448205"/>
                      <a:pt x="2919979" y="445469"/>
                      <a:pt x="2919979" y="438627"/>
                    </a:cubicBezTo>
                    <a:cubicBezTo>
                      <a:pt x="2919979" y="433154"/>
                      <a:pt x="2935086" y="438627"/>
                      <a:pt x="2933713" y="430418"/>
                    </a:cubicBezTo>
                    <a:cubicBezTo>
                      <a:pt x="2932340" y="422209"/>
                      <a:pt x="2947447" y="420840"/>
                      <a:pt x="2937833" y="420840"/>
                    </a:cubicBezTo>
                    <a:cubicBezTo>
                      <a:pt x="2929592" y="419472"/>
                      <a:pt x="2932340" y="408526"/>
                      <a:pt x="2940580" y="407158"/>
                    </a:cubicBezTo>
                    <a:cubicBezTo>
                      <a:pt x="2947447" y="404422"/>
                      <a:pt x="2955687" y="403053"/>
                      <a:pt x="2954314" y="398949"/>
                    </a:cubicBezTo>
                    <a:cubicBezTo>
                      <a:pt x="2951567" y="393476"/>
                      <a:pt x="2961180" y="390739"/>
                      <a:pt x="2958434" y="386635"/>
                    </a:cubicBezTo>
                    <a:cubicBezTo>
                      <a:pt x="2955687" y="381162"/>
                      <a:pt x="2973541" y="381162"/>
                      <a:pt x="2966674" y="374321"/>
                    </a:cubicBezTo>
                    <a:cubicBezTo>
                      <a:pt x="2961180" y="366111"/>
                      <a:pt x="2966674" y="355165"/>
                      <a:pt x="2970794" y="360638"/>
                    </a:cubicBezTo>
                    <a:cubicBezTo>
                      <a:pt x="2976288" y="366111"/>
                      <a:pt x="2984528" y="360638"/>
                      <a:pt x="2984528" y="355165"/>
                    </a:cubicBezTo>
                    <a:cubicBezTo>
                      <a:pt x="2984528" y="349692"/>
                      <a:pt x="2995515" y="351061"/>
                      <a:pt x="2996888" y="345588"/>
                    </a:cubicBezTo>
                    <a:cubicBezTo>
                      <a:pt x="2998262" y="341483"/>
                      <a:pt x="3010622" y="334642"/>
                      <a:pt x="3017489" y="336010"/>
                    </a:cubicBezTo>
                    <a:cubicBezTo>
                      <a:pt x="3024356" y="336010"/>
                      <a:pt x="3031222" y="327801"/>
                      <a:pt x="3036716" y="329169"/>
                    </a:cubicBezTo>
                    <a:cubicBezTo>
                      <a:pt x="3043583" y="329169"/>
                      <a:pt x="3053196" y="315487"/>
                      <a:pt x="3060063" y="322328"/>
                    </a:cubicBezTo>
                    <a:cubicBezTo>
                      <a:pt x="3068303" y="327801"/>
                      <a:pt x="3084784" y="323696"/>
                      <a:pt x="3091651" y="318223"/>
                    </a:cubicBezTo>
                    <a:cubicBezTo>
                      <a:pt x="3099891" y="314118"/>
                      <a:pt x="3110878" y="318223"/>
                      <a:pt x="3117745" y="311382"/>
                    </a:cubicBezTo>
                    <a:cubicBezTo>
                      <a:pt x="3123925" y="306251"/>
                      <a:pt x="3142466" y="296502"/>
                      <a:pt x="3155985" y="296566"/>
                    </a:cubicBezTo>
                    <a:close/>
                    <a:moveTo>
                      <a:pt x="544963" y="291000"/>
                    </a:moveTo>
                    <a:cubicBezTo>
                      <a:pt x="554201" y="289968"/>
                      <a:pt x="565834" y="291344"/>
                      <a:pt x="571992" y="294783"/>
                    </a:cubicBezTo>
                    <a:cubicBezTo>
                      <a:pt x="584309" y="301662"/>
                      <a:pt x="592520" y="309917"/>
                      <a:pt x="606205" y="307166"/>
                    </a:cubicBezTo>
                    <a:cubicBezTo>
                      <a:pt x="618522" y="303038"/>
                      <a:pt x="651367" y="316797"/>
                      <a:pt x="647261" y="322300"/>
                    </a:cubicBezTo>
                    <a:cubicBezTo>
                      <a:pt x="644524" y="327803"/>
                      <a:pt x="623996" y="338810"/>
                      <a:pt x="643156" y="340186"/>
                    </a:cubicBezTo>
                    <a:cubicBezTo>
                      <a:pt x="662315" y="340186"/>
                      <a:pt x="658209" y="355320"/>
                      <a:pt x="669158" y="349817"/>
                    </a:cubicBezTo>
                    <a:cubicBezTo>
                      <a:pt x="678737" y="342937"/>
                      <a:pt x="700634" y="355320"/>
                      <a:pt x="714319" y="347065"/>
                    </a:cubicBezTo>
                    <a:cubicBezTo>
                      <a:pt x="726636" y="337434"/>
                      <a:pt x="801905" y="344313"/>
                      <a:pt x="803274" y="353944"/>
                    </a:cubicBezTo>
                    <a:cubicBezTo>
                      <a:pt x="803274" y="363575"/>
                      <a:pt x="799168" y="381461"/>
                      <a:pt x="788220" y="384213"/>
                    </a:cubicBezTo>
                    <a:cubicBezTo>
                      <a:pt x="778640" y="386964"/>
                      <a:pt x="756744" y="386964"/>
                      <a:pt x="747164" y="380085"/>
                    </a:cubicBezTo>
                    <a:cubicBezTo>
                      <a:pt x="737584" y="373206"/>
                      <a:pt x="745795" y="391092"/>
                      <a:pt x="711582" y="391092"/>
                    </a:cubicBezTo>
                    <a:cubicBezTo>
                      <a:pt x="677369" y="389716"/>
                      <a:pt x="662315" y="388340"/>
                      <a:pt x="659578" y="378709"/>
                    </a:cubicBezTo>
                    <a:cubicBezTo>
                      <a:pt x="656841" y="373206"/>
                      <a:pt x="654104" y="377333"/>
                      <a:pt x="647261" y="384213"/>
                    </a:cubicBezTo>
                    <a:cubicBezTo>
                      <a:pt x="641787" y="391092"/>
                      <a:pt x="629470" y="386964"/>
                      <a:pt x="621259" y="380085"/>
                    </a:cubicBezTo>
                    <a:cubicBezTo>
                      <a:pt x="614416" y="373206"/>
                      <a:pt x="608942" y="385589"/>
                      <a:pt x="603468" y="369078"/>
                    </a:cubicBezTo>
                    <a:cubicBezTo>
                      <a:pt x="599362" y="351193"/>
                      <a:pt x="608942" y="348441"/>
                      <a:pt x="603468" y="338810"/>
                    </a:cubicBezTo>
                    <a:cubicBezTo>
                      <a:pt x="596625" y="329179"/>
                      <a:pt x="585677" y="311293"/>
                      <a:pt x="581572" y="319548"/>
                    </a:cubicBezTo>
                    <a:cubicBezTo>
                      <a:pt x="577466" y="327803"/>
                      <a:pt x="536410" y="309917"/>
                      <a:pt x="532304" y="301662"/>
                    </a:cubicBezTo>
                    <a:cubicBezTo>
                      <a:pt x="528883" y="295471"/>
                      <a:pt x="535726" y="292031"/>
                      <a:pt x="544963" y="291000"/>
                    </a:cubicBezTo>
                    <a:close/>
                    <a:moveTo>
                      <a:pt x="629931" y="267726"/>
                    </a:moveTo>
                    <a:cubicBezTo>
                      <a:pt x="632906" y="267183"/>
                      <a:pt x="636151" y="267517"/>
                      <a:pt x="639147" y="269188"/>
                    </a:cubicBezTo>
                    <a:cubicBezTo>
                      <a:pt x="652462" y="277209"/>
                      <a:pt x="635153" y="287904"/>
                      <a:pt x="624501" y="283893"/>
                    </a:cubicBezTo>
                    <a:cubicBezTo>
                      <a:pt x="614515" y="278880"/>
                      <a:pt x="621006" y="269355"/>
                      <a:pt x="629931" y="267726"/>
                    </a:cubicBezTo>
                    <a:close/>
                    <a:moveTo>
                      <a:pt x="578691" y="260629"/>
                    </a:moveTo>
                    <a:cubicBezTo>
                      <a:pt x="583710" y="260440"/>
                      <a:pt x="587267" y="260777"/>
                      <a:pt x="587606" y="261789"/>
                    </a:cubicBezTo>
                    <a:cubicBezTo>
                      <a:pt x="588961" y="267187"/>
                      <a:pt x="555081" y="284729"/>
                      <a:pt x="541530" y="272584"/>
                    </a:cubicBezTo>
                    <a:cubicBezTo>
                      <a:pt x="535432" y="266512"/>
                      <a:pt x="563636" y="261199"/>
                      <a:pt x="578691" y="260629"/>
                    </a:cubicBezTo>
                    <a:close/>
                    <a:moveTo>
                      <a:pt x="390536" y="260579"/>
                    </a:moveTo>
                    <a:cubicBezTo>
                      <a:pt x="398569" y="263028"/>
                      <a:pt x="412965" y="278850"/>
                      <a:pt x="408852" y="284878"/>
                    </a:cubicBezTo>
                    <a:cubicBezTo>
                      <a:pt x="403368" y="294254"/>
                      <a:pt x="384174" y="275501"/>
                      <a:pt x="385545" y="263446"/>
                    </a:cubicBezTo>
                    <a:cubicBezTo>
                      <a:pt x="385888" y="260432"/>
                      <a:pt x="387858" y="259763"/>
                      <a:pt x="390536" y="260579"/>
                    </a:cubicBezTo>
                    <a:close/>
                    <a:moveTo>
                      <a:pt x="515680" y="217132"/>
                    </a:moveTo>
                    <a:cubicBezTo>
                      <a:pt x="525289" y="220066"/>
                      <a:pt x="541283" y="232568"/>
                      <a:pt x="543347" y="230527"/>
                    </a:cubicBezTo>
                    <a:cubicBezTo>
                      <a:pt x="544723" y="226444"/>
                      <a:pt x="565360" y="227805"/>
                      <a:pt x="559857" y="237330"/>
                    </a:cubicBezTo>
                    <a:cubicBezTo>
                      <a:pt x="552978" y="248216"/>
                      <a:pt x="566736" y="248216"/>
                      <a:pt x="558481" y="252298"/>
                    </a:cubicBezTo>
                    <a:cubicBezTo>
                      <a:pt x="548850" y="256380"/>
                      <a:pt x="540595" y="257741"/>
                      <a:pt x="529589" y="257741"/>
                    </a:cubicBezTo>
                    <a:cubicBezTo>
                      <a:pt x="519958" y="257741"/>
                      <a:pt x="504824" y="225084"/>
                      <a:pt x="508951" y="218280"/>
                    </a:cubicBezTo>
                    <a:cubicBezTo>
                      <a:pt x="509983" y="216239"/>
                      <a:pt x="512477" y="216154"/>
                      <a:pt x="515680" y="217132"/>
                    </a:cubicBezTo>
                    <a:close/>
                    <a:moveTo>
                      <a:pt x="2242003" y="216012"/>
                    </a:moveTo>
                    <a:cubicBezTo>
                      <a:pt x="2247446" y="213291"/>
                      <a:pt x="2247446" y="218734"/>
                      <a:pt x="2252889" y="225537"/>
                    </a:cubicBezTo>
                    <a:cubicBezTo>
                      <a:pt x="2256971" y="230980"/>
                      <a:pt x="2263774" y="240505"/>
                      <a:pt x="2262414" y="241866"/>
                    </a:cubicBezTo>
                    <a:cubicBezTo>
                      <a:pt x="2258331" y="241866"/>
                      <a:pt x="2255610" y="233702"/>
                      <a:pt x="2251528" y="232341"/>
                    </a:cubicBezTo>
                    <a:cubicBezTo>
                      <a:pt x="2247446" y="230980"/>
                      <a:pt x="2235199" y="217373"/>
                      <a:pt x="2242003" y="216012"/>
                    </a:cubicBezTo>
                    <a:close/>
                    <a:moveTo>
                      <a:pt x="3677442" y="193385"/>
                    </a:moveTo>
                    <a:cubicBezTo>
                      <a:pt x="3677442" y="187890"/>
                      <a:pt x="3695092" y="196133"/>
                      <a:pt x="3686946" y="205750"/>
                    </a:cubicBezTo>
                    <a:cubicBezTo>
                      <a:pt x="3677442" y="216740"/>
                      <a:pt x="3681515" y="223609"/>
                      <a:pt x="3684230" y="216740"/>
                    </a:cubicBezTo>
                    <a:cubicBezTo>
                      <a:pt x="3688304" y="209871"/>
                      <a:pt x="3701881" y="203002"/>
                      <a:pt x="3707312" y="211245"/>
                    </a:cubicBezTo>
                    <a:cubicBezTo>
                      <a:pt x="3714100" y="218114"/>
                      <a:pt x="3729035" y="218114"/>
                      <a:pt x="3727678" y="227731"/>
                    </a:cubicBezTo>
                    <a:cubicBezTo>
                      <a:pt x="3726320" y="235973"/>
                      <a:pt x="3688304" y="249711"/>
                      <a:pt x="3673369" y="249711"/>
                    </a:cubicBezTo>
                    <a:cubicBezTo>
                      <a:pt x="3659791" y="248338"/>
                      <a:pt x="3639425" y="259328"/>
                      <a:pt x="3632637" y="253833"/>
                    </a:cubicBezTo>
                    <a:cubicBezTo>
                      <a:pt x="3625848" y="249711"/>
                      <a:pt x="3643499" y="241469"/>
                      <a:pt x="3643499" y="227731"/>
                    </a:cubicBezTo>
                    <a:cubicBezTo>
                      <a:pt x="3643499" y="212619"/>
                      <a:pt x="3655718" y="222235"/>
                      <a:pt x="3655718" y="216740"/>
                    </a:cubicBezTo>
                    <a:cubicBezTo>
                      <a:pt x="3654360" y="209871"/>
                      <a:pt x="3661149" y="207123"/>
                      <a:pt x="3661149" y="201628"/>
                    </a:cubicBezTo>
                    <a:cubicBezTo>
                      <a:pt x="3661149" y="194759"/>
                      <a:pt x="3677442" y="200254"/>
                      <a:pt x="3677442" y="193385"/>
                    </a:cubicBezTo>
                    <a:close/>
                    <a:moveTo>
                      <a:pt x="416214" y="192654"/>
                    </a:moveTo>
                    <a:cubicBezTo>
                      <a:pt x="427210" y="193997"/>
                      <a:pt x="439581" y="196684"/>
                      <a:pt x="439581" y="203400"/>
                    </a:cubicBezTo>
                    <a:cubicBezTo>
                      <a:pt x="439581" y="214146"/>
                      <a:pt x="443705" y="207430"/>
                      <a:pt x="450578" y="204743"/>
                    </a:cubicBezTo>
                    <a:cubicBezTo>
                      <a:pt x="456076" y="200713"/>
                      <a:pt x="460199" y="218176"/>
                      <a:pt x="467072" y="218176"/>
                    </a:cubicBezTo>
                    <a:cubicBezTo>
                      <a:pt x="475319" y="218176"/>
                      <a:pt x="490439" y="222206"/>
                      <a:pt x="486316" y="230265"/>
                    </a:cubicBezTo>
                    <a:cubicBezTo>
                      <a:pt x="482192" y="239668"/>
                      <a:pt x="500061" y="241012"/>
                      <a:pt x="493188" y="251758"/>
                    </a:cubicBezTo>
                    <a:cubicBezTo>
                      <a:pt x="484941" y="262504"/>
                      <a:pt x="473945" y="258474"/>
                      <a:pt x="462948" y="247728"/>
                    </a:cubicBezTo>
                    <a:cubicBezTo>
                      <a:pt x="451952" y="236982"/>
                      <a:pt x="438207" y="232952"/>
                      <a:pt x="420338" y="238325"/>
                    </a:cubicBezTo>
                    <a:cubicBezTo>
                      <a:pt x="403843" y="243698"/>
                      <a:pt x="401094" y="234295"/>
                      <a:pt x="399720" y="231609"/>
                    </a:cubicBezTo>
                    <a:cubicBezTo>
                      <a:pt x="398345" y="224892"/>
                      <a:pt x="423087" y="234295"/>
                      <a:pt x="425836" y="226236"/>
                    </a:cubicBezTo>
                    <a:cubicBezTo>
                      <a:pt x="428585" y="219519"/>
                      <a:pt x="413465" y="208773"/>
                      <a:pt x="405218" y="215489"/>
                    </a:cubicBezTo>
                    <a:cubicBezTo>
                      <a:pt x="402469" y="216833"/>
                      <a:pt x="401094" y="216833"/>
                      <a:pt x="399720" y="215489"/>
                    </a:cubicBezTo>
                    <a:cubicBezTo>
                      <a:pt x="392847" y="212803"/>
                      <a:pt x="387349" y="198027"/>
                      <a:pt x="394222" y="195340"/>
                    </a:cubicBezTo>
                    <a:cubicBezTo>
                      <a:pt x="398345" y="193997"/>
                      <a:pt x="406592" y="192654"/>
                      <a:pt x="416214" y="192654"/>
                    </a:cubicBezTo>
                    <a:close/>
                    <a:moveTo>
                      <a:pt x="480009" y="162557"/>
                    </a:moveTo>
                    <a:cubicBezTo>
                      <a:pt x="485822" y="161862"/>
                      <a:pt x="503824" y="168187"/>
                      <a:pt x="500823" y="175271"/>
                    </a:cubicBezTo>
                    <a:cubicBezTo>
                      <a:pt x="495490" y="184717"/>
                      <a:pt x="484822" y="171223"/>
                      <a:pt x="479488" y="165825"/>
                    </a:cubicBezTo>
                    <a:cubicBezTo>
                      <a:pt x="477488" y="163801"/>
                      <a:pt x="478071" y="162789"/>
                      <a:pt x="480009" y="162557"/>
                    </a:cubicBezTo>
                    <a:close/>
                    <a:moveTo>
                      <a:pt x="2330897" y="162272"/>
                    </a:moveTo>
                    <a:cubicBezTo>
                      <a:pt x="2333633" y="163641"/>
                      <a:pt x="2337736" y="175963"/>
                      <a:pt x="2339104" y="170486"/>
                    </a:cubicBezTo>
                    <a:cubicBezTo>
                      <a:pt x="2340472" y="166379"/>
                      <a:pt x="2356886" y="171855"/>
                      <a:pt x="2355518" y="177332"/>
                    </a:cubicBezTo>
                    <a:cubicBezTo>
                      <a:pt x="2354150" y="182808"/>
                      <a:pt x="2348679" y="189653"/>
                      <a:pt x="2351414" y="191022"/>
                    </a:cubicBezTo>
                    <a:cubicBezTo>
                      <a:pt x="2354150" y="192391"/>
                      <a:pt x="2359622" y="180070"/>
                      <a:pt x="2365093" y="184177"/>
                    </a:cubicBezTo>
                    <a:cubicBezTo>
                      <a:pt x="2369196" y="188284"/>
                      <a:pt x="2366461" y="199236"/>
                      <a:pt x="2370564" y="199236"/>
                    </a:cubicBezTo>
                    <a:cubicBezTo>
                      <a:pt x="2374668" y="199236"/>
                      <a:pt x="2385611" y="197867"/>
                      <a:pt x="2385611" y="201974"/>
                    </a:cubicBezTo>
                    <a:cubicBezTo>
                      <a:pt x="2385611" y="207450"/>
                      <a:pt x="2389714" y="208819"/>
                      <a:pt x="2392450" y="204712"/>
                    </a:cubicBezTo>
                    <a:cubicBezTo>
                      <a:pt x="2393818" y="201974"/>
                      <a:pt x="2402025" y="204712"/>
                      <a:pt x="2399289" y="207450"/>
                    </a:cubicBezTo>
                    <a:cubicBezTo>
                      <a:pt x="2396553" y="208819"/>
                      <a:pt x="2411600" y="210188"/>
                      <a:pt x="2411600" y="215665"/>
                    </a:cubicBezTo>
                    <a:cubicBezTo>
                      <a:pt x="2410232" y="219772"/>
                      <a:pt x="2408864" y="226617"/>
                      <a:pt x="2414335" y="226617"/>
                    </a:cubicBezTo>
                    <a:cubicBezTo>
                      <a:pt x="2419807" y="225248"/>
                      <a:pt x="2428014" y="234831"/>
                      <a:pt x="2422542" y="236200"/>
                    </a:cubicBezTo>
                    <a:cubicBezTo>
                      <a:pt x="2417071" y="238938"/>
                      <a:pt x="2429382" y="243045"/>
                      <a:pt x="2434853" y="241676"/>
                    </a:cubicBezTo>
                    <a:cubicBezTo>
                      <a:pt x="2441692" y="241676"/>
                      <a:pt x="2441692" y="245783"/>
                      <a:pt x="2437589" y="249891"/>
                    </a:cubicBezTo>
                    <a:cubicBezTo>
                      <a:pt x="2433485" y="253998"/>
                      <a:pt x="2445796" y="256736"/>
                      <a:pt x="2451267" y="253998"/>
                    </a:cubicBezTo>
                    <a:cubicBezTo>
                      <a:pt x="2455371" y="251260"/>
                      <a:pt x="2462210" y="252629"/>
                      <a:pt x="2462210" y="256736"/>
                    </a:cubicBezTo>
                    <a:cubicBezTo>
                      <a:pt x="2462210" y="260843"/>
                      <a:pt x="2454003" y="259474"/>
                      <a:pt x="2448531" y="267688"/>
                    </a:cubicBezTo>
                    <a:cubicBezTo>
                      <a:pt x="2443060" y="275902"/>
                      <a:pt x="2432117" y="284116"/>
                      <a:pt x="2428014" y="280009"/>
                    </a:cubicBezTo>
                    <a:cubicBezTo>
                      <a:pt x="2425278" y="274533"/>
                      <a:pt x="2433485" y="263581"/>
                      <a:pt x="2419807" y="269057"/>
                    </a:cubicBezTo>
                    <a:cubicBezTo>
                      <a:pt x="2406128" y="275902"/>
                      <a:pt x="2397921" y="274533"/>
                      <a:pt x="2404760" y="266319"/>
                    </a:cubicBezTo>
                    <a:cubicBezTo>
                      <a:pt x="2411600" y="258105"/>
                      <a:pt x="2412967" y="248521"/>
                      <a:pt x="2407496" y="247152"/>
                    </a:cubicBezTo>
                    <a:cubicBezTo>
                      <a:pt x="2402025" y="247152"/>
                      <a:pt x="2408864" y="244414"/>
                      <a:pt x="2402025" y="241676"/>
                    </a:cubicBezTo>
                    <a:cubicBezTo>
                      <a:pt x="2395185" y="237569"/>
                      <a:pt x="2392450" y="227986"/>
                      <a:pt x="2399289" y="226617"/>
                    </a:cubicBezTo>
                    <a:cubicBezTo>
                      <a:pt x="2408864" y="225248"/>
                      <a:pt x="2404760" y="218403"/>
                      <a:pt x="2396553" y="222510"/>
                    </a:cubicBezTo>
                    <a:cubicBezTo>
                      <a:pt x="2388346" y="226617"/>
                      <a:pt x="2384243" y="221141"/>
                      <a:pt x="2377404" y="229355"/>
                    </a:cubicBezTo>
                    <a:cubicBezTo>
                      <a:pt x="2370564" y="236200"/>
                      <a:pt x="2369196" y="238938"/>
                      <a:pt x="2371932" y="245783"/>
                    </a:cubicBezTo>
                    <a:cubicBezTo>
                      <a:pt x="2374668" y="251260"/>
                      <a:pt x="2366461" y="245783"/>
                      <a:pt x="2365093" y="252629"/>
                    </a:cubicBezTo>
                    <a:cubicBezTo>
                      <a:pt x="2362357" y="259474"/>
                      <a:pt x="2369196" y="263581"/>
                      <a:pt x="2358254" y="269057"/>
                    </a:cubicBezTo>
                    <a:cubicBezTo>
                      <a:pt x="2347311" y="273164"/>
                      <a:pt x="2340472" y="295069"/>
                      <a:pt x="2340472" y="301914"/>
                    </a:cubicBezTo>
                    <a:cubicBezTo>
                      <a:pt x="2340472" y="308759"/>
                      <a:pt x="2332265" y="310128"/>
                      <a:pt x="2329529" y="306021"/>
                    </a:cubicBezTo>
                    <a:cubicBezTo>
                      <a:pt x="2328161" y="301914"/>
                      <a:pt x="2315851" y="299176"/>
                      <a:pt x="2317218" y="296438"/>
                    </a:cubicBezTo>
                    <a:cubicBezTo>
                      <a:pt x="2318586" y="295069"/>
                      <a:pt x="2328161" y="290962"/>
                      <a:pt x="2324058" y="289593"/>
                    </a:cubicBezTo>
                    <a:cubicBezTo>
                      <a:pt x="2319954" y="288224"/>
                      <a:pt x="2310379" y="292331"/>
                      <a:pt x="2309011" y="288224"/>
                    </a:cubicBezTo>
                    <a:cubicBezTo>
                      <a:pt x="2307644" y="282747"/>
                      <a:pt x="2292597" y="280009"/>
                      <a:pt x="2292597" y="273164"/>
                    </a:cubicBezTo>
                    <a:cubicBezTo>
                      <a:pt x="2293965" y="264950"/>
                      <a:pt x="2309011" y="271795"/>
                      <a:pt x="2309011" y="269057"/>
                    </a:cubicBezTo>
                    <a:cubicBezTo>
                      <a:pt x="2307644" y="264950"/>
                      <a:pt x="2311747" y="262212"/>
                      <a:pt x="2322690" y="262212"/>
                    </a:cubicBezTo>
                    <a:cubicBezTo>
                      <a:pt x="2332265" y="262212"/>
                      <a:pt x="2343207" y="259474"/>
                      <a:pt x="2336368" y="258105"/>
                    </a:cubicBezTo>
                    <a:cubicBezTo>
                      <a:pt x="2330897" y="255367"/>
                      <a:pt x="2314483" y="256736"/>
                      <a:pt x="2304908" y="259474"/>
                    </a:cubicBezTo>
                    <a:cubicBezTo>
                      <a:pt x="2296701" y="260843"/>
                      <a:pt x="2284390" y="260843"/>
                      <a:pt x="2291229" y="252629"/>
                    </a:cubicBezTo>
                    <a:cubicBezTo>
                      <a:pt x="2296701" y="244414"/>
                      <a:pt x="2311747" y="249891"/>
                      <a:pt x="2315851" y="241676"/>
                    </a:cubicBezTo>
                    <a:cubicBezTo>
                      <a:pt x="2319954" y="234831"/>
                      <a:pt x="2333633" y="238938"/>
                      <a:pt x="2335000" y="232093"/>
                    </a:cubicBezTo>
                    <a:cubicBezTo>
                      <a:pt x="2336368" y="225248"/>
                      <a:pt x="2335000" y="218403"/>
                      <a:pt x="2328161" y="225248"/>
                    </a:cubicBezTo>
                    <a:cubicBezTo>
                      <a:pt x="2321322" y="232093"/>
                      <a:pt x="2310379" y="233462"/>
                      <a:pt x="2314483" y="226617"/>
                    </a:cubicBezTo>
                    <a:cubicBezTo>
                      <a:pt x="2318586" y="221141"/>
                      <a:pt x="2318586" y="214296"/>
                      <a:pt x="2313115" y="215665"/>
                    </a:cubicBezTo>
                    <a:cubicBezTo>
                      <a:pt x="2307644" y="218403"/>
                      <a:pt x="2311747" y="225248"/>
                      <a:pt x="2304908" y="223879"/>
                    </a:cubicBezTo>
                    <a:cubicBezTo>
                      <a:pt x="2299436" y="223879"/>
                      <a:pt x="2300804" y="236200"/>
                      <a:pt x="2296701" y="238938"/>
                    </a:cubicBezTo>
                    <a:cubicBezTo>
                      <a:pt x="2291229" y="241676"/>
                      <a:pt x="2278919" y="243045"/>
                      <a:pt x="2273447" y="237569"/>
                    </a:cubicBezTo>
                    <a:cubicBezTo>
                      <a:pt x="2269344" y="230724"/>
                      <a:pt x="2255665" y="223879"/>
                      <a:pt x="2258401" y="215665"/>
                    </a:cubicBezTo>
                    <a:cubicBezTo>
                      <a:pt x="2259769" y="208819"/>
                      <a:pt x="2273447" y="199236"/>
                      <a:pt x="2267976" y="197867"/>
                    </a:cubicBezTo>
                    <a:cubicBezTo>
                      <a:pt x="2261137" y="196498"/>
                      <a:pt x="2257033" y="210188"/>
                      <a:pt x="2250194" y="199236"/>
                    </a:cubicBezTo>
                    <a:cubicBezTo>
                      <a:pt x="2244723" y="188284"/>
                      <a:pt x="2247458" y="178701"/>
                      <a:pt x="2250194" y="180070"/>
                    </a:cubicBezTo>
                    <a:cubicBezTo>
                      <a:pt x="2254298" y="182808"/>
                      <a:pt x="2258401" y="171855"/>
                      <a:pt x="2263873" y="173224"/>
                    </a:cubicBezTo>
                    <a:cubicBezTo>
                      <a:pt x="2267976" y="174593"/>
                      <a:pt x="2272080" y="180070"/>
                      <a:pt x="2274815" y="174593"/>
                    </a:cubicBezTo>
                    <a:cubicBezTo>
                      <a:pt x="2277551" y="170486"/>
                      <a:pt x="2283022" y="175963"/>
                      <a:pt x="2288494" y="171855"/>
                    </a:cubicBezTo>
                    <a:cubicBezTo>
                      <a:pt x="2292597" y="169117"/>
                      <a:pt x="2302172" y="173224"/>
                      <a:pt x="2296701" y="175963"/>
                    </a:cubicBezTo>
                    <a:cubicBezTo>
                      <a:pt x="2291229" y="178701"/>
                      <a:pt x="2280287" y="181439"/>
                      <a:pt x="2284390" y="182808"/>
                    </a:cubicBezTo>
                    <a:cubicBezTo>
                      <a:pt x="2287126" y="182808"/>
                      <a:pt x="2295333" y="188284"/>
                      <a:pt x="2295333" y="193760"/>
                    </a:cubicBezTo>
                    <a:cubicBezTo>
                      <a:pt x="2295333" y="199236"/>
                      <a:pt x="2302172" y="196498"/>
                      <a:pt x="2299436" y="189653"/>
                    </a:cubicBezTo>
                    <a:cubicBezTo>
                      <a:pt x="2298069" y="184177"/>
                      <a:pt x="2303540" y="181439"/>
                      <a:pt x="2306276" y="174593"/>
                    </a:cubicBezTo>
                    <a:cubicBezTo>
                      <a:pt x="2307644" y="169117"/>
                      <a:pt x="2315851" y="175963"/>
                      <a:pt x="2317218" y="184177"/>
                    </a:cubicBezTo>
                    <a:cubicBezTo>
                      <a:pt x="2317218" y="193760"/>
                      <a:pt x="2333633" y="211557"/>
                      <a:pt x="2335000" y="208819"/>
                    </a:cubicBezTo>
                    <a:cubicBezTo>
                      <a:pt x="2335000" y="204712"/>
                      <a:pt x="2329529" y="184177"/>
                      <a:pt x="2325425" y="180070"/>
                    </a:cubicBezTo>
                    <a:cubicBezTo>
                      <a:pt x="2319954" y="175963"/>
                      <a:pt x="2324058" y="171855"/>
                      <a:pt x="2326793" y="171855"/>
                    </a:cubicBezTo>
                    <a:cubicBezTo>
                      <a:pt x="2329529" y="170486"/>
                      <a:pt x="2326793" y="160903"/>
                      <a:pt x="2330897" y="162272"/>
                    </a:cubicBezTo>
                    <a:close/>
                    <a:moveTo>
                      <a:pt x="3595901" y="161877"/>
                    </a:moveTo>
                    <a:cubicBezTo>
                      <a:pt x="3600149" y="161512"/>
                      <a:pt x="3603238" y="161856"/>
                      <a:pt x="3603924" y="163232"/>
                    </a:cubicBezTo>
                    <a:cubicBezTo>
                      <a:pt x="3606670" y="170111"/>
                      <a:pt x="3616281" y="182493"/>
                      <a:pt x="3616281" y="171487"/>
                    </a:cubicBezTo>
                    <a:cubicBezTo>
                      <a:pt x="3616281" y="161856"/>
                      <a:pt x="3646486" y="171487"/>
                      <a:pt x="3639621" y="183869"/>
                    </a:cubicBezTo>
                    <a:cubicBezTo>
                      <a:pt x="3631384" y="197628"/>
                      <a:pt x="3627265" y="205883"/>
                      <a:pt x="3631384" y="205883"/>
                    </a:cubicBezTo>
                    <a:cubicBezTo>
                      <a:pt x="3636875" y="205883"/>
                      <a:pt x="3635502" y="219641"/>
                      <a:pt x="3621773" y="219641"/>
                    </a:cubicBezTo>
                    <a:cubicBezTo>
                      <a:pt x="3608043" y="219641"/>
                      <a:pt x="3584702" y="205883"/>
                      <a:pt x="3576465" y="208634"/>
                    </a:cubicBezTo>
                    <a:cubicBezTo>
                      <a:pt x="3568227" y="211386"/>
                      <a:pt x="3565481" y="197628"/>
                      <a:pt x="3561362" y="196252"/>
                    </a:cubicBezTo>
                    <a:cubicBezTo>
                      <a:pt x="3555870" y="194876"/>
                      <a:pt x="3553124" y="196252"/>
                      <a:pt x="3549005" y="192124"/>
                    </a:cubicBezTo>
                    <a:cubicBezTo>
                      <a:pt x="3544886" y="187997"/>
                      <a:pt x="3559989" y="181117"/>
                      <a:pt x="3559989" y="175614"/>
                    </a:cubicBezTo>
                    <a:cubicBezTo>
                      <a:pt x="3559989" y="170455"/>
                      <a:pt x="3583158" y="162973"/>
                      <a:pt x="3595901" y="161877"/>
                    </a:cubicBezTo>
                    <a:close/>
                    <a:moveTo>
                      <a:pt x="2920515" y="150506"/>
                    </a:moveTo>
                    <a:cubicBezTo>
                      <a:pt x="2922685" y="150905"/>
                      <a:pt x="2924173" y="152080"/>
                      <a:pt x="2924173" y="154431"/>
                    </a:cubicBezTo>
                    <a:cubicBezTo>
                      <a:pt x="2924173" y="162491"/>
                      <a:pt x="2908298" y="158461"/>
                      <a:pt x="2904329" y="157118"/>
                    </a:cubicBezTo>
                    <a:cubicBezTo>
                      <a:pt x="2902345" y="155775"/>
                      <a:pt x="2907306" y="152752"/>
                      <a:pt x="2912763" y="151241"/>
                    </a:cubicBezTo>
                    <a:cubicBezTo>
                      <a:pt x="2915492" y="150485"/>
                      <a:pt x="2918344" y="150108"/>
                      <a:pt x="2920515" y="150506"/>
                    </a:cubicBezTo>
                    <a:close/>
                    <a:moveTo>
                      <a:pt x="2989247" y="145654"/>
                    </a:moveTo>
                    <a:cubicBezTo>
                      <a:pt x="2992096" y="145445"/>
                      <a:pt x="2996008" y="145612"/>
                      <a:pt x="2999920" y="146114"/>
                    </a:cubicBezTo>
                    <a:cubicBezTo>
                      <a:pt x="3007744" y="147117"/>
                      <a:pt x="3015568" y="149456"/>
                      <a:pt x="3014888" y="152798"/>
                    </a:cubicBezTo>
                    <a:cubicBezTo>
                      <a:pt x="3013527" y="159482"/>
                      <a:pt x="3002641" y="154135"/>
                      <a:pt x="2998559" y="160819"/>
                    </a:cubicBezTo>
                    <a:cubicBezTo>
                      <a:pt x="2994477" y="167503"/>
                      <a:pt x="2968623" y="168840"/>
                      <a:pt x="2963180" y="163493"/>
                    </a:cubicBezTo>
                    <a:cubicBezTo>
                      <a:pt x="2959098" y="159482"/>
                      <a:pt x="2963180" y="152798"/>
                      <a:pt x="2972705" y="152798"/>
                    </a:cubicBezTo>
                    <a:cubicBezTo>
                      <a:pt x="2982230" y="152798"/>
                      <a:pt x="2986313" y="152798"/>
                      <a:pt x="2984952" y="147451"/>
                    </a:cubicBezTo>
                    <a:cubicBezTo>
                      <a:pt x="2984612" y="146448"/>
                      <a:pt x="2986398" y="145863"/>
                      <a:pt x="2989247" y="145654"/>
                    </a:cubicBezTo>
                    <a:close/>
                    <a:moveTo>
                      <a:pt x="2385330" y="143219"/>
                    </a:moveTo>
                    <a:cubicBezTo>
                      <a:pt x="2388051" y="143219"/>
                      <a:pt x="2400298" y="147317"/>
                      <a:pt x="2401658" y="155513"/>
                    </a:cubicBezTo>
                    <a:cubicBezTo>
                      <a:pt x="2403019" y="162343"/>
                      <a:pt x="2413905" y="150049"/>
                      <a:pt x="2415266" y="155513"/>
                    </a:cubicBezTo>
                    <a:cubicBezTo>
                      <a:pt x="2415266" y="160977"/>
                      <a:pt x="2424791" y="166441"/>
                      <a:pt x="2427512" y="163709"/>
                    </a:cubicBezTo>
                    <a:cubicBezTo>
                      <a:pt x="2428873" y="162343"/>
                      <a:pt x="2420708" y="150049"/>
                      <a:pt x="2430233" y="145951"/>
                    </a:cubicBezTo>
                    <a:cubicBezTo>
                      <a:pt x="2439758" y="141853"/>
                      <a:pt x="2437037" y="155513"/>
                      <a:pt x="2439758" y="158245"/>
                    </a:cubicBezTo>
                    <a:cubicBezTo>
                      <a:pt x="2441119" y="160977"/>
                      <a:pt x="2445201" y="158245"/>
                      <a:pt x="2447923" y="152781"/>
                    </a:cubicBezTo>
                    <a:cubicBezTo>
                      <a:pt x="2450644" y="147317"/>
                      <a:pt x="2465612" y="151415"/>
                      <a:pt x="2471055" y="155513"/>
                    </a:cubicBezTo>
                    <a:cubicBezTo>
                      <a:pt x="2477858" y="159611"/>
                      <a:pt x="2499630" y="152781"/>
                      <a:pt x="2502351" y="162343"/>
                    </a:cubicBezTo>
                    <a:cubicBezTo>
                      <a:pt x="2505073" y="171905"/>
                      <a:pt x="2480580" y="178735"/>
                      <a:pt x="2480580" y="184199"/>
                    </a:cubicBezTo>
                    <a:cubicBezTo>
                      <a:pt x="2480580" y="189663"/>
                      <a:pt x="2468333" y="193761"/>
                      <a:pt x="2460169" y="193761"/>
                    </a:cubicBezTo>
                    <a:cubicBezTo>
                      <a:pt x="2452005" y="195127"/>
                      <a:pt x="2453366" y="200591"/>
                      <a:pt x="2442480" y="199225"/>
                    </a:cubicBezTo>
                    <a:cubicBezTo>
                      <a:pt x="2431594" y="199225"/>
                      <a:pt x="2426151" y="188297"/>
                      <a:pt x="2423430" y="192395"/>
                    </a:cubicBezTo>
                    <a:cubicBezTo>
                      <a:pt x="2422069" y="195127"/>
                      <a:pt x="2388051" y="191029"/>
                      <a:pt x="2386691" y="186931"/>
                    </a:cubicBezTo>
                    <a:cubicBezTo>
                      <a:pt x="2385330" y="181467"/>
                      <a:pt x="2424791" y="177369"/>
                      <a:pt x="2419348" y="173271"/>
                    </a:cubicBezTo>
                    <a:cubicBezTo>
                      <a:pt x="2413905" y="169173"/>
                      <a:pt x="2373083" y="182833"/>
                      <a:pt x="2362198" y="170539"/>
                    </a:cubicBezTo>
                    <a:cubicBezTo>
                      <a:pt x="2359476" y="166441"/>
                      <a:pt x="2367641" y="166441"/>
                      <a:pt x="2364919" y="163709"/>
                    </a:cubicBezTo>
                    <a:cubicBezTo>
                      <a:pt x="2360837" y="160977"/>
                      <a:pt x="2352673" y="155513"/>
                      <a:pt x="2356755" y="155513"/>
                    </a:cubicBezTo>
                    <a:cubicBezTo>
                      <a:pt x="2359476" y="155513"/>
                      <a:pt x="2358116" y="148683"/>
                      <a:pt x="2362198" y="148683"/>
                    </a:cubicBezTo>
                    <a:cubicBezTo>
                      <a:pt x="2367641" y="148683"/>
                      <a:pt x="2373083" y="160977"/>
                      <a:pt x="2374444" y="158245"/>
                    </a:cubicBezTo>
                    <a:cubicBezTo>
                      <a:pt x="2375805" y="155513"/>
                      <a:pt x="2371723" y="147317"/>
                      <a:pt x="2374444" y="147317"/>
                    </a:cubicBezTo>
                    <a:cubicBezTo>
                      <a:pt x="2377166" y="148683"/>
                      <a:pt x="2383969" y="155513"/>
                      <a:pt x="2385330" y="151415"/>
                    </a:cubicBezTo>
                    <a:cubicBezTo>
                      <a:pt x="2388051" y="148683"/>
                      <a:pt x="2382608" y="143219"/>
                      <a:pt x="2385330" y="143219"/>
                    </a:cubicBezTo>
                    <a:close/>
                    <a:moveTo>
                      <a:pt x="2829596" y="129570"/>
                    </a:moveTo>
                    <a:cubicBezTo>
                      <a:pt x="2835863" y="129905"/>
                      <a:pt x="2840945" y="131576"/>
                      <a:pt x="2840268" y="134249"/>
                    </a:cubicBezTo>
                    <a:cubicBezTo>
                      <a:pt x="2837557" y="140934"/>
                      <a:pt x="2824006" y="128902"/>
                      <a:pt x="2813164" y="140934"/>
                    </a:cubicBezTo>
                    <a:cubicBezTo>
                      <a:pt x="2802323" y="152965"/>
                      <a:pt x="2790126" y="143607"/>
                      <a:pt x="2788771" y="139597"/>
                    </a:cubicBezTo>
                    <a:cubicBezTo>
                      <a:pt x="2786061" y="134249"/>
                      <a:pt x="2803678" y="136923"/>
                      <a:pt x="2811809" y="132912"/>
                    </a:cubicBezTo>
                    <a:cubicBezTo>
                      <a:pt x="2815874" y="130239"/>
                      <a:pt x="2823328" y="129236"/>
                      <a:pt x="2829596" y="129570"/>
                    </a:cubicBezTo>
                    <a:close/>
                    <a:moveTo>
                      <a:pt x="2880052" y="126325"/>
                    </a:moveTo>
                    <a:cubicBezTo>
                      <a:pt x="2890835" y="133023"/>
                      <a:pt x="2890835" y="138381"/>
                      <a:pt x="2878704" y="139720"/>
                    </a:cubicBezTo>
                    <a:cubicBezTo>
                      <a:pt x="2865225" y="141060"/>
                      <a:pt x="2861182" y="146418"/>
                      <a:pt x="2859834" y="151775"/>
                    </a:cubicBezTo>
                    <a:cubicBezTo>
                      <a:pt x="2859834" y="155794"/>
                      <a:pt x="2847703" y="151775"/>
                      <a:pt x="2847703" y="157133"/>
                    </a:cubicBezTo>
                    <a:cubicBezTo>
                      <a:pt x="2847703" y="162491"/>
                      <a:pt x="2824789" y="162491"/>
                      <a:pt x="2822093" y="155794"/>
                    </a:cubicBezTo>
                    <a:cubicBezTo>
                      <a:pt x="2819398" y="149096"/>
                      <a:pt x="2832876" y="150436"/>
                      <a:pt x="2836920" y="145078"/>
                    </a:cubicBezTo>
                    <a:cubicBezTo>
                      <a:pt x="2839616" y="139720"/>
                      <a:pt x="2863877" y="141060"/>
                      <a:pt x="2857138" y="135702"/>
                    </a:cubicBezTo>
                    <a:cubicBezTo>
                      <a:pt x="2851747" y="130344"/>
                      <a:pt x="2867921" y="119628"/>
                      <a:pt x="2880052" y="126325"/>
                    </a:cubicBezTo>
                    <a:close/>
                    <a:moveTo>
                      <a:pt x="3043285" y="123034"/>
                    </a:moveTo>
                    <a:cubicBezTo>
                      <a:pt x="3049883" y="123200"/>
                      <a:pt x="3056828" y="124523"/>
                      <a:pt x="3057523" y="126507"/>
                    </a:cubicBezTo>
                    <a:cubicBezTo>
                      <a:pt x="3058912" y="131798"/>
                      <a:pt x="3068635" y="131798"/>
                      <a:pt x="3064468" y="137090"/>
                    </a:cubicBezTo>
                    <a:cubicBezTo>
                      <a:pt x="3061690" y="141059"/>
                      <a:pt x="3031131" y="152965"/>
                      <a:pt x="3018629" y="143705"/>
                    </a:cubicBezTo>
                    <a:cubicBezTo>
                      <a:pt x="3013073" y="137090"/>
                      <a:pt x="3032520" y="131798"/>
                      <a:pt x="3031131" y="126507"/>
                    </a:cubicBezTo>
                    <a:cubicBezTo>
                      <a:pt x="3030436" y="123861"/>
                      <a:pt x="3036687" y="122869"/>
                      <a:pt x="3043285" y="123034"/>
                    </a:cubicBezTo>
                    <a:close/>
                    <a:moveTo>
                      <a:pt x="3106736" y="117643"/>
                    </a:moveTo>
                    <a:cubicBezTo>
                      <a:pt x="3116261" y="119032"/>
                      <a:pt x="3116261" y="131534"/>
                      <a:pt x="3098572" y="134312"/>
                    </a:cubicBezTo>
                    <a:cubicBezTo>
                      <a:pt x="3090408" y="134312"/>
                      <a:pt x="3076801" y="137090"/>
                      <a:pt x="3072718" y="131534"/>
                    </a:cubicBezTo>
                    <a:cubicBezTo>
                      <a:pt x="3068636" y="127367"/>
                      <a:pt x="3086326" y="123200"/>
                      <a:pt x="3091768" y="123200"/>
                    </a:cubicBezTo>
                    <a:cubicBezTo>
                      <a:pt x="3095851" y="124589"/>
                      <a:pt x="3097211" y="114865"/>
                      <a:pt x="3106736" y="117643"/>
                    </a:cubicBezTo>
                    <a:close/>
                    <a:moveTo>
                      <a:pt x="2948861" y="115737"/>
                    </a:moveTo>
                    <a:cubicBezTo>
                      <a:pt x="2951089" y="115245"/>
                      <a:pt x="2955887" y="116557"/>
                      <a:pt x="2962057" y="119835"/>
                    </a:cubicBezTo>
                    <a:cubicBezTo>
                      <a:pt x="2974396" y="125081"/>
                      <a:pt x="2990848" y="117212"/>
                      <a:pt x="2989477" y="127704"/>
                    </a:cubicBezTo>
                    <a:cubicBezTo>
                      <a:pt x="2988106" y="139507"/>
                      <a:pt x="2942862" y="143441"/>
                      <a:pt x="2934636" y="134261"/>
                    </a:cubicBezTo>
                    <a:cubicBezTo>
                      <a:pt x="2930523" y="129015"/>
                      <a:pt x="2955202" y="126392"/>
                      <a:pt x="2951089" y="122458"/>
                    </a:cubicBezTo>
                    <a:cubicBezTo>
                      <a:pt x="2946976" y="118524"/>
                      <a:pt x="2946633" y="116229"/>
                      <a:pt x="2948861" y="115737"/>
                    </a:cubicBezTo>
                    <a:close/>
                    <a:moveTo>
                      <a:pt x="3509853" y="115494"/>
                    </a:moveTo>
                    <a:cubicBezTo>
                      <a:pt x="3516365" y="114667"/>
                      <a:pt x="3523563" y="115659"/>
                      <a:pt x="3522877" y="119628"/>
                    </a:cubicBezTo>
                    <a:cubicBezTo>
                      <a:pt x="3520135" y="127565"/>
                      <a:pt x="3505054" y="124919"/>
                      <a:pt x="3500941" y="122273"/>
                    </a:cubicBezTo>
                    <a:cubicBezTo>
                      <a:pt x="3497514" y="118966"/>
                      <a:pt x="3503340" y="116320"/>
                      <a:pt x="3509853" y="115494"/>
                    </a:cubicBezTo>
                    <a:close/>
                    <a:moveTo>
                      <a:pt x="3581331" y="111045"/>
                    </a:moveTo>
                    <a:cubicBezTo>
                      <a:pt x="3585423" y="115162"/>
                      <a:pt x="3581331" y="128884"/>
                      <a:pt x="3593606" y="130256"/>
                    </a:cubicBezTo>
                    <a:cubicBezTo>
                      <a:pt x="3605882" y="133001"/>
                      <a:pt x="3609973" y="138490"/>
                      <a:pt x="3600426" y="139862"/>
                    </a:cubicBezTo>
                    <a:cubicBezTo>
                      <a:pt x="3589515" y="141234"/>
                      <a:pt x="3604518" y="152213"/>
                      <a:pt x="3596334" y="154957"/>
                    </a:cubicBezTo>
                    <a:cubicBezTo>
                      <a:pt x="3586787" y="157702"/>
                      <a:pt x="3551325" y="164563"/>
                      <a:pt x="3552689" y="171424"/>
                    </a:cubicBezTo>
                    <a:cubicBezTo>
                      <a:pt x="3552689" y="178285"/>
                      <a:pt x="3543142" y="187891"/>
                      <a:pt x="3533595" y="183774"/>
                    </a:cubicBezTo>
                    <a:cubicBezTo>
                      <a:pt x="3524047" y="181030"/>
                      <a:pt x="3524047" y="175541"/>
                      <a:pt x="3519956" y="172796"/>
                    </a:cubicBezTo>
                    <a:cubicBezTo>
                      <a:pt x="3513136" y="170052"/>
                      <a:pt x="3521320" y="165935"/>
                      <a:pt x="3530867" y="165935"/>
                    </a:cubicBezTo>
                    <a:cubicBezTo>
                      <a:pt x="3540414" y="165935"/>
                      <a:pt x="3543142" y="163191"/>
                      <a:pt x="3534959" y="159074"/>
                    </a:cubicBezTo>
                    <a:cubicBezTo>
                      <a:pt x="3525411" y="154957"/>
                      <a:pt x="3526775" y="145351"/>
                      <a:pt x="3533595" y="146723"/>
                    </a:cubicBezTo>
                    <a:cubicBezTo>
                      <a:pt x="3541778" y="146723"/>
                      <a:pt x="3547234" y="137118"/>
                      <a:pt x="3541778" y="133001"/>
                    </a:cubicBezTo>
                    <a:cubicBezTo>
                      <a:pt x="3534959" y="128884"/>
                      <a:pt x="3543142" y="124767"/>
                      <a:pt x="3559509" y="120651"/>
                    </a:cubicBezTo>
                    <a:cubicBezTo>
                      <a:pt x="3574512" y="116534"/>
                      <a:pt x="3577240" y="106928"/>
                      <a:pt x="3581331" y="111045"/>
                    </a:cubicBezTo>
                    <a:close/>
                    <a:moveTo>
                      <a:pt x="574564" y="103638"/>
                    </a:moveTo>
                    <a:cubicBezTo>
                      <a:pt x="580375" y="102440"/>
                      <a:pt x="589946" y="103809"/>
                      <a:pt x="599518" y="113388"/>
                    </a:cubicBezTo>
                    <a:cubicBezTo>
                      <a:pt x="618660" y="133916"/>
                      <a:pt x="647374" y="138022"/>
                      <a:pt x="648742" y="146233"/>
                    </a:cubicBezTo>
                    <a:cubicBezTo>
                      <a:pt x="651476" y="155813"/>
                      <a:pt x="666517" y="165393"/>
                      <a:pt x="663782" y="155813"/>
                    </a:cubicBezTo>
                    <a:cubicBezTo>
                      <a:pt x="662415" y="144865"/>
                      <a:pt x="682925" y="151707"/>
                      <a:pt x="674721" y="158550"/>
                    </a:cubicBezTo>
                    <a:cubicBezTo>
                      <a:pt x="667884" y="165393"/>
                      <a:pt x="688394" y="168130"/>
                      <a:pt x="682925" y="176341"/>
                    </a:cubicBezTo>
                    <a:cubicBezTo>
                      <a:pt x="676088" y="184552"/>
                      <a:pt x="685660" y="190026"/>
                      <a:pt x="697966" y="188658"/>
                    </a:cubicBezTo>
                    <a:cubicBezTo>
                      <a:pt x="710272" y="187289"/>
                      <a:pt x="714374" y="192763"/>
                      <a:pt x="713006" y="196869"/>
                    </a:cubicBezTo>
                    <a:cubicBezTo>
                      <a:pt x="711639" y="203712"/>
                      <a:pt x="696598" y="203712"/>
                      <a:pt x="687027" y="207817"/>
                    </a:cubicBezTo>
                    <a:cubicBezTo>
                      <a:pt x="676088" y="213291"/>
                      <a:pt x="676088" y="229714"/>
                      <a:pt x="670619" y="224240"/>
                    </a:cubicBezTo>
                    <a:cubicBezTo>
                      <a:pt x="663782" y="218766"/>
                      <a:pt x="663782" y="248873"/>
                      <a:pt x="654211" y="244768"/>
                    </a:cubicBezTo>
                    <a:cubicBezTo>
                      <a:pt x="644640" y="240662"/>
                      <a:pt x="635068" y="239294"/>
                      <a:pt x="632334" y="246136"/>
                    </a:cubicBezTo>
                    <a:cubicBezTo>
                      <a:pt x="628232" y="252979"/>
                      <a:pt x="591314" y="237925"/>
                      <a:pt x="594048" y="233819"/>
                    </a:cubicBezTo>
                    <a:cubicBezTo>
                      <a:pt x="598150" y="228345"/>
                      <a:pt x="577640" y="218766"/>
                      <a:pt x="572171" y="213291"/>
                    </a:cubicBezTo>
                    <a:cubicBezTo>
                      <a:pt x="566701" y="207817"/>
                      <a:pt x="603620" y="206449"/>
                      <a:pt x="600885" y="196869"/>
                    </a:cubicBezTo>
                    <a:cubicBezTo>
                      <a:pt x="598150" y="188658"/>
                      <a:pt x="565334" y="200975"/>
                      <a:pt x="554395" y="195500"/>
                    </a:cubicBezTo>
                    <a:cubicBezTo>
                      <a:pt x="543457" y="190026"/>
                      <a:pt x="548926" y="181815"/>
                      <a:pt x="537987" y="174972"/>
                    </a:cubicBezTo>
                    <a:cubicBezTo>
                      <a:pt x="527049" y="168130"/>
                      <a:pt x="531151" y="161287"/>
                      <a:pt x="544824" y="165393"/>
                    </a:cubicBezTo>
                    <a:cubicBezTo>
                      <a:pt x="557130" y="169498"/>
                      <a:pt x="568069" y="158550"/>
                      <a:pt x="553028" y="155813"/>
                    </a:cubicBezTo>
                    <a:cubicBezTo>
                      <a:pt x="536620" y="153076"/>
                      <a:pt x="537987" y="135285"/>
                      <a:pt x="550293" y="135285"/>
                    </a:cubicBezTo>
                    <a:cubicBezTo>
                      <a:pt x="561232" y="135285"/>
                      <a:pt x="577640" y="132548"/>
                      <a:pt x="562599" y="125705"/>
                    </a:cubicBezTo>
                    <a:cubicBezTo>
                      <a:pt x="548926" y="118862"/>
                      <a:pt x="563967" y="117494"/>
                      <a:pt x="573538" y="118862"/>
                    </a:cubicBezTo>
                    <a:cubicBezTo>
                      <a:pt x="583110" y="118862"/>
                      <a:pt x="583110" y="112020"/>
                      <a:pt x="572171" y="109283"/>
                    </a:cubicBezTo>
                    <a:cubicBezTo>
                      <a:pt x="566702" y="108599"/>
                      <a:pt x="568753" y="104835"/>
                      <a:pt x="574564" y="103638"/>
                    </a:cubicBezTo>
                    <a:close/>
                    <a:moveTo>
                      <a:pt x="2994594" y="101509"/>
                    </a:moveTo>
                    <a:cubicBezTo>
                      <a:pt x="3001513" y="101005"/>
                      <a:pt x="3009125" y="101677"/>
                      <a:pt x="3010509" y="104363"/>
                    </a:cubicBezTo>
                    <a:cubicBezTo>
                      <a:pt x="3014661" y="109736"/>
                      <a:pt x="3004973" y="111080"/>
                      <a:pt x="2996670" y="109736"/>
                    </a:cubicBezTo>
                    <a:cubicBezTo>
                      <a:pt x="2989750" y="108393"/>
                      <a:pt x="2992518" y="116453"/>
                      <a:pt x="2981446" y="116453"/>
                    </a:cubicBezTo>
                    <a:cubicBezTo>
                      <a:pt x="2970374" y="116453"/>
                      <a:pt x="2962070" y="113767"/>
                      <a:pt x="2960686" y="109736"/>
                    </a:cubicBezTo>
                    <a:cubicBezTo>
                      <a:pt x="2960686" y="108393"/>
                      <a:pt x="2985598" y="109736"/>
                      <a:pt x="2982830" y="105706"/>
                    </a:cubicBezTo>
                    <a:cubicBezTo>
                      <a:pt x="2981446" y="103691"/>
                      <a:pt x="2987674" y="102012"/>
                      <a:pt x="2994594" y="101509"/>
                    </a:cubicBezTo>
                    <a:close/>
                    <a:moveTo>
                      <a:pt x="952032" y="20598"/>
                    </a:moveTo>
                    <a:cubicBezTo>
                      <a:pt x="954532" y="19912"/>
                      <a:pt x="957012" y="19997"/>
                      <a:pt x="959406" y="21712"/>
                    </a:cubicBezTo>
                    <a:cubicBezTo>
                      <a:pt x="967614" y="29942"/>
                      <a:pt x="1022332" y="25827"/>
                      <a:pt x="1014124" y="29942"/>
                    </a:cubicBezTo>
                    <a:cubicBezTo>
                      <a:pt x="1005916" y="32685"/>
                      <a:pt x="989501" y="49145"/>
                      <a:pt x="1007284" y="40915"/>
                    </a:cubicBezTo>
                    <a:cubicBezTo>
                      <a:pt x="1026436" y="32685"/>
                      <a:pt x="1042851" y="29942"/>
                      <a:pt x="1044219" y="35429"/>
                    </a:cubicBezTo>
                    <a:cubicBezTo>
                      <a:pt x="1044219" y="40915"/>
                      <a:pt x="1062002" y="31314"/>
                      <a:pt x="1062002" y="40915"/>
                    </a:cubicBezTo>
                    <a:cubicBezTo>
                      <a:pt x="1060635" y="50517"/>
                      <a:pt x="1074314" y="56004"/>
                      <a:pt x="1086626" y="53260"/>
                    </a:cubicBezTo>
                    <a:cubicBezTo>
                      <a:pt x="1098937" y="50517"/>
                      <a:pt x="1111249" y="54632"/>
                      <a:pt x="1082522" y="71092"/>
                    </a:cubicBezTo>
                    <a:cubicBezTo>
                      <a:pt x="1053795" y="88923"/>
                      <a:pt x="1042851" y="90295"/>
                      <a:pt x="1033275" y="88923"/>
                    </a:cubicBezTo>
                    <a:cubicBezTo>
                      <a:pt x="1025068" y="86180"/>
                      <a:pt x="989501" y="95782"/>
                      <a:pt x="996341" y="98525"/>
                    </a:cubicBezTo>
                    <a:cubicBezTo>
                      <a:pt x="1003181" y="101268"/>
                      <a:pt x="1045587" y="90295"/>
                      <a:pt x="1044219" y="101268"/>
                    </a:cubicBezTo>
                    <a:cubicBezTo>
                      <a:pt x="1042851" y="112242"/>
                      <a:pt x="1019596" y="109498"/>
                      <a:pt x="990869" y="128701"/>
                    </a:cubicBezTo>
                    <a:cubicBezTo>
                      <a:pt x="962142" y="147905"/>
                      <a:pt x="947095" y="160250"/>
                      <a:pt x="941623" y="160250"/>
                    </a:cubicBezTo>
                    <a:cubicBezTo>
                      <a:pt x="932047" y="160250"/>
                      <a:pt x="941623" y="173966"/>
                      <a:pt x="927943" y="176709"/>
                    </a:cubicBezTo>
                    <a:cubicBezTo>
                      <a:pt x="914264" y="180824"/>
                      <a:pt x="901952" y="169851"/>
                      <a:pt x="896480" y="173966"/>
                    </a:cubicBezTo>
                    <a:cubicBezTo>
                      <a:pt x="892376" y="179453"/>
                      <a:pt x="904688" y="193169"/>
                      <a:pt x="877329" y="191798"/>
                    </a:cubicBezTo>
                    <a:cubicBezTo>
                      <a:pt x="851338" y="190426"/>
                      <a:pt x="828083" y="202771"/>
                      <a:pt x="841762" y="202771"/>
                    </a:cubicBezTo>
                    <a:cubicBezTo>
                      <a:pt x="855442" y="202771"/>
                      <a:pt x="884169" y="200028"/>
                      <a:pt x="884169" y="213744"/>
                    </a:cubicBezTo>
                    <a:cubicBezTo>
                      <a:pt x="882801" y="228832"/>
                      <a:pt x="865017" y="252151"/>
                      <a:pt x="852706" y="252151"/>
                    </a:cubicBezTo>
                    <a:cubicBezTo>
                      <a:pt x="839026" y="252151"/>
                      <a:pt x="822611" y="248036"/>
                      <a:pt x="822611" y="254894"/>
                    </a:cubicBezTo>
                    <a:cubicBezTo>
                      <a:pt x="822611" y="261752"/>
                      <a:pt x="833554" y="269982"/>
                      <a:pt x="819875" y="274097"/>
                    </a:cubicBezTo>
                    <a:cubicBezTo>
                      <a:pt x="806195" y="278212"/>
                      <a:pt x="791148" y="279584"/>
                      <a:pt x="778836" y="275469"/>
                    </a:cubicBezTo>
                    <a:cubicBezTo>
                      <a:pt x="766525" y="271354"/>
                      <a:pt x="758317" y="289185"/>
                      <a:pt x="777468" y="286442"/>
                    </a:cubicBezTo>
                    <a:cubicBezTo>
                      <a:pt x="797988" y="283699"/>
                      <a:pt x="808931" y="285070"/>
                      <a:pt x="810299" y="294672"/>
                    </a:cubicBezTo>
                    <a:cubicBezTo>
                      <a:pt x="811667" y="300159"/>
                      <a:pt x="825347" y="285070"/>
                      <a:pt x="829451" y="294672"/>
                    </a:cubicBezTo>
                    <a:cubicBezTo>
                      <a:pt x="834922" y="302902"/>
                      <a:pt x="832187" y="311132"/>
                      <a:pt x="822611" y="311132"/>
                    </a:cubicBezTo>
                    <a:cubicBezTo>
                      <a:pt x="813035" y="311132"/>
                      <a:pt x="813035" y="311132"/>
                      <a:pt x="804827" y="317990"/>
                    </a:cubicBezTo>
                    <a:cubicBezTo>
                      <a:pt x="797988" y="324849"/>
                      <a:pt x="785676" y="327592"/>
                      <a:pt x="780204" y="320734"/>
                    </a:cubicBezTo>
                    <a:cubicBezTo>
                      <a:pt x="773365" y="313875"/>
                      <a:pt x="770629" y="311132"/>
                      <a:pt x="755581" y="311132"/>
                    </a:cubicBezTo>
                    <a:cubicBezTo>
                      <a:pt x="741902" y="311132"/>
                      <a:pt x="728222" y="307017"/>
                      <a:pt x="724118" y="315247"/>
                    </a:cubicBezTo>
                    <a:cubicBezTo>
                      <a:pt x="720014" y="322105"/>
                      <a:pt x="702231" y="320734"/>
                      <a:pt x="695391" y="313875"/>
                    </a:cubicBezTo>
                    <a:cubicBezTo>
                      <a:pt x="689919" y="307017"/>
                      <a:pt x="654353" y="317990"/>
                      <a:pt x="643409" y="307017"/>
                    </a:cubicBezTo>
                    <a:cubicBezTo>
                      <a:pt x="635201" y="297415"/>
                      <a:pt x="663928" y="287814"/>
                      <a:pt x="676240" y="287814"/>
                    </a:cubicBezTo>
                    <a:cubicBezTo>
                      <a:pt x="688552" y="287814"/>
                      <a:pt x="688552" y="276841"/>
                      <a:pt x="676240" y="275469"/>
                    </a:cubicBezTo>
                    <a:cubicBezTo>
                      <a:pt x="665296" y="274097"/>
                      <a:pt x="661193" y="259009"/>
                      <a:pt x="678976" y="257637"/>
                    </a:cubicBezTo>
                    <a:cubicBezTo>
                      <a:pt x="696759" y="254894"/>
                      <a:pt x="703599" y="264496"/>
                      <a:pt x="706335" y="274097"/>
                    </a:cubicBezTo>
                    <a:cubicBezTo>
                      <a:pt x="709071" y="283699"/>
                      <a:pt x="726854" y="286442"/>
                      <a:pt x="726854" y="276841"/>
                    </a:cubicBezTo>
                    <a:cubicBezTo>
                      <a:pt x="726854" y="265867"/>
                      <a:pt x="700863" y="259009"/>
                      <a:pt x="709071" y="250779"/>
                    </a:cubicBezTo>
                    <a:cubicBezTo>
                      <a:pt x="717279" y="242549"/>
                      <a:pt x="728222" y="228832"/>
                      <a:pt x="713175" y="239806"/>
                    </a:cubicBezTo>
                    <a:cubicBezTo>
                      <a:pt x="696759" y="250779"/>
                      <a:pt x="673504" y="252151"/>
                      <a:pt x="674872" y="238434"/>
                    </a:cubicBezTo>
                    <a:cubicBezTo>
                      <a:pt x="674872" y="224718"/>
                      <a:pt x="699495" y="213744"/>
                      <a:pt x="715911" y="216488"/>
                    </a:cubicBezTo>
                    <a:cubicBezTo>
                      <a:pt x="730958" y="219231"/>
                      <a:pt x="758317" y="235691"/>
                      <a:pt x="758317" y="226089"/>
                    </a:cubicBezTo>
                    <a:cubicBezTo>
                      <a:pt x="758317" y="217859"/>
                      <a:pt x="737798" y="221974"/>
                      <a:pt x="726854" y="204143"/>
                    </a:cubicBezTo>
                    <a:cubicBezTo>
                      <a:pt x="717279" y="184939"/>
                      <a:pt x="707703" y="180824"/>
                      <a:pt x="698127" y="180824"/>
                    </a:cubicBezTo>
                    <a:cubicBezTo>
                      <a:pt x="688552" y="180824"/>
                      <a:pt x="684448" y="152020"/>
                      <a:pt x="696759" y="150648"/>
                    </a:cubicBezTo>
                    <a:cubicBezTo>
                      <a:pt x="710439" y="150648"/>
                      <a:pt x="736430" y="150648"/>
                      <a:pt x="747373" y="164365"/>
                    </a:cubicBezTo>
                    <a:cubicBezTo>
                      <a:pt x="758317" y="178081"/>
                      <a:pt x="785676" y="184939"/>
                      <a:pt x="773365" y="173966"/>
                    </a:cubicBezTo>
                    <a:cubicBezTo>
                      <a:pt x="761053" y="162993"/>
                      <a:pt x="741902" y="152020"/>
                      <a:pt x="754213" y="147905"/>
                    </a:cubicBezTo>
                    <a:cubicBezTo>
                      <a:pt x="766525" y="143790"/>
                      <a:pt x="792516" y="145161"/>
                      <a:pt x="806195" y="134188"/>
                    </a:cubicBezTo>
                    <a:cubicBezTo>
                      <a:pt x="819875" y="123215"/>
                      <a:pt x="806195" y="108127"/>
                      <a:pt x="806195" y="119100"/>
                    </a:cubicBezTo>
                    <a:cubicBezTo>
                      <a:pt x="804827" y="128701"/>
                      <a:pt x="763789" y="141046"/>
                      <a:pt x="755581" y="138303"/>
                    </a:cubicBezTo>
                    <a:cubicBezTo>
                      <a:pt x="747373" y="135560"/>
                      <a:pt x="740534" y="132816"/>
                      <a:pt x="739166" y="141046"/>
                    </a:cubicBezTo>
                    <a:cubicBezTo>
                      <a:pt x="736430" y="149276"/>
                      <a:pt x="692655" y="143790"/>
                      <a:pt x="694023" y="136931"/>
                    </a:cubicBezTo>
                    <a:cubicBezTo>
                      <a:pt x="694023" y="130073"/>
                      <a:pt x="698127" y="117728"/>
                      <a:pt x="688552" y="127330"/>
                    </a:cubicBezTo>
                    <a:cubicBezTo>
                      <a:pt x="678976" y="136931"/>
                      <a:pt x="648881" y="134188"/>
                      <a:pt x="648881" y="125958"/>
                    </a:cubicBezTo>
                    <a:cubicBezTo>
                      <a:pt x="647513" y="117728"/>
                      <a:pt x="633833" y="121843"/>
                      <a:pt x="633833" y="113613"/>
                    </a:cubicBezTo>
                    <a:cubicBezTo>
                      <a:pt x="633833" y="105383"/>
                      <a:pt x="650249" y="99897"/>
                      <a:pt x="639305" y="101268"/>
                    </a:cubicBezTo>
                    <a:cubicBezTo>
                      <a:pt x="626994" y="101268"/>
                      <a:pt x="624258" y="98525"/>
                      <a:pt x="632466" y="93038"/>
                    </a:cubicBezTo>
                    <a:cubicBezTo>
                      <a:pt x="640673" y="88923"/>
                      <a:pt x="633833" y="83437"/>
                      <a:pt x="622890" y="90295"/>
                    </a:cubicBezTo>
                    <a:cubicBezTo>
                      <a:pt x="613314" y="98525"/>
                      <a:pt x="596899" y="93038"/>
                      <a:pt x="611946" y="86180"/>
                    </a:cubicBezTo>
                    <a:cubicBezTo>
                      <a:pt x="626994" y="80693"/>
                      <a:pt x="642041" y="77950"/>
                      <a:pt x="644777" y="83437"/>
                    </a:cubicBezTo>
                    <a:cubicBezTo>
                      <a:pt x="648881" y="88923"/>
                      <a:pt x="650249" y="79322"/>
                      <a:pt x="658457" y="71092"/>
                    </a:cubicBezTo>
                    <a:cubicBezTo>
                      <a:pt x="665296" y="64234"/>
                      <a:pt x="683080" y="71092"/>
                      <a:pt x="683080" y="75207"/>
                    </a:cubicBezTo>
                    <a:cubicBezTo>
                      <a:pt x="683080" y="80693"/>
                      <a:pt x="700863" y="73835"/>
                      <a:pt x="692655" y="66977"/>
                    </a:cubicBezTo>
                    <a:cubicBezTo>
                      <a:pt x="684448" y="58747"/>
                      <a:pt x="715911" y="62862"/>
                      <a:pt x="709071" y="56004"/>
                    </a:cubicBezTo>
                    <a:cubicBezTo>
                      <a:pt x="700863" y="47774"/>
                      <a:pt x="726854" y="50517"/>
                      <a:pt x="736430" y="58747"/>
                    </a:cubicBezTo>
                    <a:cubicBezTo>
                      <a:pt x="744638" y="66977"/>
                      <a:pt x="754213" y="62862"/>
                      <a:pt x="754213" y="53260"/>
                    </a:cubicBezTo>
                    <a:cubicBezTo>
                      <a:pt x="754213" y="43659"/>
                      <a:pt x="784308" y="54632"/>
                      <a:pt x="780204" y="46402"/>
                    </a:cubicBezTo>
                    <a:cubicBezTo>
                      <a:pt x="777468" y="38172"/>
                      <a:pt x="782940" y="34057"/>
                      <a:pt x="791148" y="36800"/>
                    </a:cubicBezTo>
                    <a:cubicBezTo>
                      <a:pt x="797988" y="39544"/>
                      <a:pt x="803460" y="34057"/>
                      <a:pt x="799356" y="31314"/>
                    </a:cubicBezTo>
                    <a:cubicBezTo>
                      <a:pt x="793884" y="29942"/>
                      <a:pt x="811667" y="25827"/>
                      <a:pt x="828083" y="34057"/>
                    </a:cubicBezTo>
                    <a:cubicBezTo>
                      <a:pt x="843130" y="42287"/>
                      <a:pt x="837658" y="25827"/>
                      <a:pt x="852706" y="27199"/>
                    </a:cubicBezTo>
                    <a:cubicBezTo>
                      <a:pt x="866385" y="29942"/>
                      <a:pt x="882801" y="20341"/>
                      <a:pt x="891008" y="29942"/>
                    </a:cubicBezTo>
                    <a:cubicBezTo>
                      <a:pt x="899216" y="38172"/>
                      <a:pt x="906056" y="38172"/>
                      <a:pt x="903320" y="29942"/>
                    </a:cubicBezTo>
                    <a:cubicBezTo>
                      <a:pt x="901952" y="26513"/>
                      <a:pt x="906740" y="22741"/>
                      <a:pt x="912896" y="21026"/>
                    </a:cubicBezTo>
                    <a:cubicBezTo>
                      <a:pt x="919052" y="19312"/>
                      <a:pt x="926575" y="19655"/>
                      <a:pt x="930679" y="24455"/>
                    </a:cubicBezTo>
                    <a:cubicBezTo>
                      <a:pt x="936835" y="31656"/>
                      <a:pt x="944529" y="22655"/>
                      <a:pt x="952032" y="20598"/>
                    </a:cubicBezTo>
                    <a:close/>
                    <a:moveTo>
                      <a:pt x="1567673" y="349"/>
                    </a:moveTo>
                    <a:cubicBezTo>
                      <a:pt x="1586853" y="-1021"/>
                      <a:pt x="1608773" y="1718"/>
                      <a:pt x="1616993" y="7197"/>
                    </a:cubicBezTo>
                    <a:cubicBezTo>
                      <a:pt x="1623843" y="12675"/>
                      <a:pt x="1659463" y="8566"/>
                      <a:pt x="1660833" y="14045"/>
                    </a:cubicBezTo>
                    <a:cubicBezTo>
                      <a:pt x="1662203" y="19524"/>
                      <a:pt x="1681383" y="20893"/>
                      <a:pt x="1680013" y="27742"/>
                    </a:cubicBezTo>
                    <a:cubicBezTo>
                      <a:pt x="1678643" y="34590"/>
                      <a:pt x="1690973" y="35960"/>
                      <a:pt x="1701933" y="35960"/>
                    </a:cubicBezTo>
                    <a:cubicBezTo>
                      <a:pt x="1712893" y="34590"/>
                      <a:pt x="1734813" y="42808"/>
                      <a:pt x="1730703" y="49656"/>
                    </a:cubicBezTo>
                    <a:cubicBezTo>
                      <a:pt x="1726593" y="55135"/>
                      <a:pt x="1703303" y="56504"/>
                      <a:pt x="1686863" y="63353"/>
                    </a:cubicBezTo>
                    <a:cubicBezTo>
                      <a:pt x="1671793" y="71571"/>
                      <a:pt x="1633433" y="67462"/>
                      <a:pt x="1612883" y="70201"/>
                    </a:cubicBezTo>
                    <a:cubicBezTo>
                      <a:pt x="1592333" y="72940"/>
                      <a:pt x="1551233" y="82528"/>
                      <a:pt x="1551233" y="89376"/>
                    </a:cubicBezTo>
                    <a:cubicBezTo>
                      <a:pt x="1552603" y="96225"/>
                      <a:pt x="1586853" y="82528"/>
                      <a:pt x="1606033" y="78419"/>
                    </a:cubicBezTo>
                    <a:cubicBezTo>
                      <a:pt x="1626583" y="75680"/>
                      <a:pt x="1670423" y="75680"/>
                      <a:pt x="1670423" y="81158"/>
                    </a:cubicBezTo>
                    <a:cubicBezTo>
                      <a:pt x="1671793" y="86637"/>
                      <a:pt x="1636173" y="98964"/>
                      <a:pt x="1637543" y="105812"/>
                    </a:cubicBezTo>
                    <a:cubicBezTo>
                      <a:pt x="1640283" y="112660"/>
                      <a:pt x="1680013" y="89376"/>
                      <a:pt x="1688233" y="86637"/>
                    </a:cubicBezTo>
                    <a:cubicBezTo>
                      <a:pt x="1696453" y="85267"/>
                      <a:pt x="1693713" y="72940"/>
                      <a:pt x="1708783" y="71571"/>
                    </a:cubicBezTo>
                    <a:cubicBezTo>
                      <a:pt x="1723853" y="70201"/>
                      <a:pt x="1729333" y="85267"/>
                      <a:pt x="1718373" y="98964"/>
                    </a:cubicBezTo>
                    <a:cubicBezTo>
                      <a:pt x="1707413" y="112660"/>
                      <a:pt x="1685493" y="140054"/>
                      <a:pt x="1692343" y="138684"/>
                    </a:cubicBezTo>
                    <a:cubicBezTo>
                      <a:pt x="1699193" y="137314"/>
                      <a:pt x="1707413" y="123618"/>
                      <a:pt x="1718373" y="118139"/>
                    </a:cubicBezTo>
                    <a:cubicBezTo>
                      <a:pt x="1730703" y="112660"/>
                      <a:pt x="1740293" y="98964"/>
                      <a:pt x="1749884" y="93485"/>
                    </a:cubicBezTo>
                    <a:cubicBezTo>
                      <a:pt x="1759474" y="88007"/>
                      <a:pt x="1753994" y="104443"/>
                      <a:pt x="1763584" y="98964"/>
                    </a:cubicBezTo>
                    <a:cubicBezTo>
                      <a:pt x="1773174" y="94855"/>
                      <a:pt x="1795094" y="111291"/>
                      <a:pt x="1796464" y="97594"/>
                    </a:cubicBezTo>
                    <a:cubicBezTo>
                      <a:pt x="1797834" y="82528"/>
                      <a:pt x="1811534" y="78419"/>
                      <a:pt x="1827974" y="78419"/>
                    </a:cubicBezTo>
                    <a:cubicBezTo>
                      <a:pt x="1845784" y="78419"/>
                      <a:pt x="1882774" y="90746"/>
                      <a:pt x="1882774" y="97594"/>
                    </a:cubicBezTo>
                    <a:cubicBezTo>
                      <a:pt x="1882774" y="104443"/>
                      <a:pt x="1856744" y="116769"/>
                      <a:pt x="1847154" y="116769"/>
                    </a:cubicBezTo>
                    <a:cubicBezTo>
                      <a:pt x="1837564" y="118139"/>
                      <a:pt x="1843044" y="124987"/>
                      <a:pt x="1826604" y="127727"/>
                    </a:cubicBezTo>
                    <a:cubicBezTo>
                      <a:pt x="1810164" y="130466"/>
                      <a:pt x="1814274" y="135945"/>
                      <a:pt x="1792354" y="135945"/>
                    </a:cubicBezTo>
                    <a:cubicBezTo>
                      <a:pt x="1769064" y="137314"/>
                      <a:pt x="1769064" y="144163"/>
                      <a:pt x="1784134" y="142793"/>
                    </a:cubicBezTo>
                    <a:cubicBezTo>
                      <a:pt x="1799204" y="140054"/>
                      <a:pt x="1821124" y="145532"/>
                      <a:pt x="1814274" y="151011"/>
                    </a:cubicBezTo>
                    <a:cubicBezTo>
                      <a:pt x="1806054" y="156490"/>
                      <a:pt x="1782764" y="157859"/>
                      <a:pt x="1773174" y="157859"/>
                    </a:cubicBezTo>
                    <a:cubicBezTo>
                      <a:pt x="1764954" y="157859"/>
                      <a:pt x="1747144" y="167447"/>
                      <a:pt x="1752624" y="172925"/>
                    </a:cubicBezTo>
                    <a:cubicBezTo>
                      <a:pt x="1758104" y="178404"/>
                      <a:pt x="1767694" y="164707"/>
                      <a:pt x="1778654" y="163338"/>
                    </a:cubicBezTo>
                    <a:cubicBezTo>
                      <a:pt x="1788244" y="161968"/>
                      <a:pt x="1800574" y="178404"/>
                      <a:pt x="1789614" y="178404"/>
                    </a:cubicBezTo>
                    <a:cubicBezTo>
                      <a:pt x="1778654" y="178404"/>
                      <a:pt x="1759474" y="181143"/>
                      <a:pt x="1763584" y="197579"/>
                    </a:cubicBezTo>
                    <a:cubicBezTo>
                      <a:pt x="1766324" y="212645"/>
                      <a:pt x="1733443" y="214015"/>
                      <a:pt x="1734813" y="223603"/>
                    </a:cubicBezTo>
                    <a:cubicBezTo>
                      <a:pt x="1736183" y="233190"/>
                      <a:pt x="1733443" y="252366"/>
                      <a:pt x="1725223" y="259214"/>
                    </a:cubicBezTo>
                    <a:cubicBezTo>
                      <a:pt x="1715633" y="264692"/>
                      <a:pt x="1733443" y="268801"/>
                      <a:pt x="1737553" y="257844"/>
                    </a:cubicBezTo>
                    <a:cubicBezTo>
                      <a:pt x="1743033" y="245517"/>
                      <a:pt x="1773174" y="260583"/>
                      <a:pt x="1769064" y="266062"/>
                    </a:cubicBezTo>
                    <a:cubicBezTo>
                      <a:pt x="1766324" y="271541"/>
                      <a:pt x="1747144" y="259214"/>
                      <a:pt x="1748514" y="271541"/>
                    </a:cubicBezTo>
                    <a:cubicBezTo>
                      <a:pt x="1749884" y="283868"/>
                      <a:pt x="1769064" y="282498"/>
                      <a:pt x="1774544" y="278389"/>
                    </a:cubicBezTo>
                    <a:cubicBezTo>
                      <a:pt x="1780024" y="274280"/>
                      <a:pt x="1793724" y="296195"/>
                      <a:pt x="1784134" y="298934"/>
                    </a:cubicBezTo>
                    <a:cubicBezTo>
                      <a:pt x="1774544" y="300304"/>
                      <a:pt x="1751254" y="289346"/>
                      <a:pt x="1741663" y="298934"/>
                    </a:cubicBezTo>
                    <a:cubicBezTo>
                      <a:pt x="1730703" y="308522"/>
                      <a:pt x="1723853" y="296195"/>
                      <a:pt x="1719743" y="301673"/>
                    </a:cubicBezTo>
                    <a:cubicBezTo>
                      <a:pt x="1714263" y="307152"/>
                      <a:pt x="1730703" y="311261"/>
                      <a:pt x="1730703" y="316739"/>
                    </a:cubicBezTo>
                    <a:cubicBezTo>
                      <a:pt x="1730703" y="320848"/>
                      <a:pt x="1751254" y="324957"/>
                      <a:pt x="1759474" y="324957"/>
                    </a:cubicBezTo>
                    <a:cubicBezTo>
                      <a:pt x="1767694" y="324957"/>
                      <a:pt x="1778654" y="352351"/>
                      <a:pt x="1766324" y="359199"/>
                    </a:cubicBezTo>
                    <a:cubicBezTo>
                      <a:pt x="1755364" y="367417"/>
                      <a:pt x="1744403" y="355090"/>
                      <a:pt x="1738923" y="364677"/>
                    </a:cubicBezTo>
                    <a:cubicBezTo>
                      <a:pt x="1733443" y="375635"/>
                      <a:pt x="1760844" y="389331"/>
                      <a:pt x="1767694" y="386592"/>
                    </a:cubicBezTo>
                    <a:cubicBezTo>
                      <a:pt x="1775914" y="382483"/>
                      <a:pt x="1773174" y="400289"/>
                      <a:pt x="1763584" y="398919"/>
                    </a:cubicBezTo>
                    <a:cubicBezTo>
                      <a:pt x="1753994" y="398919"/>
                      <a:pt x="1723853" y="396180"/>
                      <a:pt x="1727963" y="403028"/>
                    </a:cubicBezTo>
                    <a:cubicBezTo>
                      <a:pt x="1733443" y="411246"/>
                      <a:pt x="1758104" y="418094"/>
                      <a:pt x="1749884" y="426312"/>
                    </a:cubicBezTo>
                    <a:cubicBezTo>
                      <a:pt x="1740293" y="435900"/>
                      <a:pt x="1733443" y="430421"/>
                      <a:pt x="1722483" y="434530"/>
                    </a:cubicBezTo>
                    <a:cubicBezTo>
                      <a:pt x="1712893" y="438639"/>
                      <a:pt x="1692343" y="416724"/>
                      <a:pt x="1688233" y="422203"/>
                    </a:cubicBezTo>
                    <a:cubicBezTo>
                      <a:pt x="1682753" y="427682"/>
                      <a:pt x="1697823" y="435900"/>
                      <a:pt x="1681383" y="438639"/>
                    </a:cubicBezTo>
                    <a:cubicBezTo>
                      <a:pt x="1666313" y="440009"/>
                      <a:pt x="1677273" y="457814"/>
                      <a:pt x="1688233" y="450966"/>
                    </a:cubicBezTo>
                    <a:cubicBezTo>
                      <a:pt x="1700563" y="442748"/>
                      <a:pt x="1726593" y="442748"/>
                      <a:pt x="1726593" y="450966"/>
                    </a:cubicBezTo>
                    <a:cubicBezTo>
                      <a:pt x="1726593" y="459184"/>
                      <a:pt x="1723853" y="476989"/>
                      <a:pt x="1711523" y="470141"/>
                    </a:cubicBezTo>
                    <a:cubicBezTo>
                      <a:pt x="1699193" y="464662"/>
                      <a:pt x="1685493" y="457814"/>
                      <a:pt x="1688233" y="467402"/>
                    </a:cubicBezTo>
                    <a:cubicBezTo>
                      <a:pt x="1690973" y="475620"/>
                      <a:pt x="1734813" y="503013"/>
                      <a:pt x="1729333" y="511231"/>
                    </a:cubicBezTo>
                    <a:cubicBezTo>
                      <a:pt x="1723853" y="519449"/>
                      <a:pt x="1736183" y="531776"/>
                      <a:pt x="1723853" y="535885"/>
                    </a:cubicBezTo>
                    <a:cubicBezTo>
                      <a:pt x="1711523" y="541363"/>
                      <a:pt x="1696453" y="534515"/>
                      <a:pt x="1689603" y="522188"/>
                    </a:cubicBezTo>
                    <a:cubicBezTo>
                      <a:pt x="1681383" y="509861"/>
                      <a:pt x="1664943" y="501643"/>
                      <a:pt x="1666313" y="513970"/>
                    </a:cubicBezTo>
                    <a:cubicBezTo>
                      <a:pt x="1669053" y="524927"/>
                      <a:pt x="1673163" y="529036"/>
                      <a:pt x="1663573" y="531776"/>
                    </a:cubicBezTo>
                    <a:cubicBezTo>
                      <a:pt x="1655353" y="533145"/>
                      <a:pt x="1648503" y="550951"/>
                      <a:pt x="1659463" y="544103"/>
                    </a:cubicBezTo>
                    <a:cubicBezTo>
                      <a:pt x="1670423" y="535885"/>
                      <a:pt x="1685493" y="545472"/>
                      <a:pt x="1693713" y="548212"/>
                    </a:cubicBezTo>
                    <a:cubicBezTo>
                      <a:pt x="1703303" y="550951"/>
                      <a:pt x="1715633" y="550951"/>
                      <a:pt x="1722483" y="546842"/>
                    </a:cubicBezTo>
                    <a:cubicBezTo>
                      <a:pt x="1727963" y="542733"/>
                      <a:pt x="1726593" y="549581"/>
                      <a:pt x="1715633" y="556430"/>
                    </a:cubicBezTo>
                    <a:cubicBezTo>
                      <a:pt x="1706043" y="563278"/>
                      <a:pt x="1682753" y="572865"/>
                      <a:pt x="1671793" y="585192"/>
                    </a:cubicBezTo>
                    <a:cubicBezTo>
                      <a:pt x="1659463" y="596150"/>
                      <a:pt x="1627953" y="602998"/>
                      <a:pt x="1614253" y="602998"/>
                    </a:cubicBezTo>
                    <a:cubicBezTo>
                      <a:pt x="1601923" y="602998"/>
                      <a:pt x="1604663" y="609846"/>
                      <a:pt x="1590963" y="609846"/>
                    </a:cubicBezTo>
                    <a:cubicBezTo>
                      <a:pt x="1578633" y="609846"/>
                      <a:pt x="1586853" y="620803"/>
                      <a:pt x="1575893" y="613955"/>
                    </a:cubicBezTo>
                    <a:cubicBezTo>
                      <a:pt x="1563563" y="607107"/>
                      <a:pt x="1558083" y="611216"/>
                      <a:pt x="1560823" y="620803"/>
                    </a:cubicBezTo>
                    <a:cubicBezTo>
                      <a:pt x="1563563" y="631761"/>
                      <a:pt x="1544383" y="629021"/>
                      <a:pt x="1541643" y="644088"/>
                    </a:cubicBezTo>
                    <a:cubicBezTo>
                      <a:pt x="1537533" y="659154"/>
                      <a:pt x="1522463" y="675590"/>
                      <a:pt x="1506023" y="681068"/>
                    </a:cubicBezTo>
                    <a:cubicBezTo>
                      <a:pt x="1489583" y="686547"/>
                      <a:pt x="1481363" y="682438"/>
                      <a:pt x="1475883" y="687917"/>
                    </a:cubicBezTo>
                    <a:cubicBezTo>
                      <a:pt x="1471773" y="693395"/>
                      <a:pt x="1470403" y="686547"/>
                      <a:pt x="1473143" y="678329"/>
                    </a:cubicBezTo>
                    <a:cubicBezTo>
                      <a:pt x="1475883" y="670111"/>
                      <a:pt x="1463553" y="670111"/>
                      <a:pt x="1464923" y="678329"/>
                    </a:cubicBezTo>
                    <a:cubicBezTo>
                      <a:pt x="1467663" y="687917"/>
                      <a:pt x="1462183" y="693395"/>
                      <a:pt x="1452593" y="694765"/>
                    </a:cubicBezTo>
                    <a:cubicBezTo>
                      <a:pt x="1441633" y="696135"/>
                      <a:pt x="1433413" y="700244"/>
                      <a:pt x="1437523" y="705722"/>
                    </a:cubicBezTo>
                    <a:cubicBezTo>
                      <a:pt x="1441633" y="712571"/>
                      <a:pt x="1436153" y="718049"/>
                      <a:pt x="1427933" y="711201"/>
                    </a:cubicBezTo>
                    <a:cubicBezTo>
                      <a:pt x="1421083" y="705722"/>
                      <a:pt x="1418343" y="715310"/>
                      <a:pt x="1426563" y="718049"/>
                    </a:cubicBezTo>
                    <a:cubicBezTo>
                      <a:pt x="1433413" y="722158"/>
                      <a:pt x="1434783" y="731746"/>
                      <a:pt x="1429303" y="733115"/>
                    </a:cubicBezTo>
                    <a:cubicBezTo>
                      <a:pt x="1423823" y="733115"/>
                      <a:pt x="1419713" y="737224"/>
                      <a:pt x="1422453" y="741333"/>
                    </a:cubicBezTo>
                    <a:cubicBezTo>
                      <a:pt x="1426563" y="746812"/>
                      <a:pt x="1426563" y="753660"/>
                      <a:pt x="1422453" y="755030"/>
                    </a:cubicBezTo>
                    <a:cubicBezTo>
                      <a:pt x="1418343" y="756400"/>
                      <a:pt x="1421083" y="767357"/>
                      <a:pt x="1415603" y="770096"/>
                    </a:cubicBezTo>
                    <a:cubicBezTo>
                      <a:pt x="1411493" y="771466"/>
                      <a:pt x="1414233" y="783793"/>
                      <a:pt x="1403273" y="782423"/>
                    </a:cubicBezTo>
                    <a:cubicBezTo>
                      <a:pt x="1393683" y="781053"/>
                      <a:pt x="1390943" y="789271"/>
                      <a:pt x="1396423" y="792011"/>
                    </a:cubicBezTo>
                    <a:cubicBezTo>
                      <a:pt x="1400533" y="794750"/>
                      <a:pt x="1401903" y="820773"/>
                      <a:pt x="1397793" y="822143"/>
                    </a:cubicBezTo>
                    <a:cubicBezTo>
                      <a:pt x="1392313" y="823513"/>
                      <a:pt x="1395053" y="848167"/>
                      <a:pt x="1389573" y="852276"/>
                    </a:cubicBezTo>
                    <a:cubicBezTo>
                      <a:pt x="1384093" y="855015"/>
                      <a:pt x="1382723" y="867342"/>
                      <a:pt x="1377243" y="865972"/>
                    </a:cubicBezTo>
                    <a:cubicBezTo>
                      <a:pt x="1371763" y="864603"/>
                      <a:pt x="1352583" y="859124"/>
                      <a:pt x="1349843" y="853645"/>
                    </a:cubicBezTo>
                    <a:cubicBezTo>
                      <a:pt x="1348473" y="846797"/>
                      <a:pt x="1337513" y="842688"/>
                      <a:pt x="1330663" y="844058"/>
                    </a:cubicBezTo>
                    <a:cubicBezTo>
                      <a:pt x="1325183" y="845427"/>
                      <a:pt x="1323813" y="835840"/>
                      <a:pt x="1315593" y="838579"/>
                    </a:cubicBezTo>
                    <a:cubicBezTo>
                      <a:pt x="1307373" y="841318"/>
                      <a:pt x="1300523" y="831731"/>
                      <a:pt x="1297783" y="823513"/>
                    </a:cubicBezTo>
                    <a:cubicBezTo>
                      <a:pt x="1295043" y="816665"/>
                      <a:pt x="1284083" y="807077"/>
                      <a:pt x="1279973" y="801598"/>
                    </a:cubicBezTo>
                    <a:cubicBezTo>
                      <a:pt x="1277233" y="796120"/>
                      <a:pt x="1270383" y="789271"/>
                      <a:pt x="1273123" y="778314"/>
                    </a:cubicBezTo>
                    <a:cubicBezTo>
                      <a:pt x="1275863" y="768726"/>
                      <a:pt x="1260792" y="770096"/>
                      <a:pt x="1260792" y="761878"/>
                    </a:cubicBezTo>
                    <a:cubicBezTo>
                      <a:pt x="1260792" y="755030"/>
                      <a:pt x="1251202" y="755030"/>
                      <a:pt x="1252572" y="742703"/>
                    </a:cubicBezTo>
                    <a:cubicBezTo>
                      <a:pt x="1253942" y="730376"/>
                      <a:pt x="1245722" y="742703"/>
                      <a:pt x="1242982" y="733115"/>
                    </a:cubicBezTo>
                    <a:cubicBezTo>
                      <a:pt x="1241612" y="723528"/>
                      <a:pt x="1247092" y="704353"/>
                      <a:pt x="1240242" y="700244"/>
                    </a:cubicBezTo>
                    <a:cubicBezTo>
                      <a:pt x="1234762" y="696135"/>
                      <a:pt x="1216952" y="681068"/>
                      <a:pt x="1218322" y="672850"/>
                    </a:cubicBezTo>
                    <a:cubicBezTo>
                      <a:pt x="1219692" y="664632"/>
                      <a:pt x="1236132" y="661893"/>
                      <a:pt x="1230652" y="656415"/>
                    </a:cubicBezTo>
                    <a:cubicBezTo>
                      <a:pt x="1225172" y="650936"/>
                      <a:pt x="1214212" y="652306"/>
                      <a:pt x="1215582" y="639979"/>
                    </a:cubicBezTo>
                    <a:cubicBezTo>
                      <a:pt x="1216952" y="627652"/>
                      <a:pt x="1227912" y="622173"/>
                      <a:pt x="1227912" y="612586"/>
                    </a:cubicBezTo>
                    <a:cubicBezTo>
                      <a:pt x="1227912" y="602998"/>
                      <a:pt x="1233392" y="600259"/>
                      <a:pt x="1241612" y="598889"/>
                    </a:cubicBezTo>
                    <a:cubicBezTo>
                      <a:pt x="1248462" y="597519"/>
                      <a:pt x="1260792" y="604368"/>
                      <a:pt x="1260792" y="597519"/>
                    </a:cubicBezTo>
                    <a:cubicBezTo>
                      <a:pt x="1262162" y="590671"/>
                      <a:pt x="1259422" y="576974"/>
                      <a:pt x="1264902" y="571496"/>
                    </a:cubicBezTo>
                    <a:cubicBezTo>
                      <a:pt x="1269013" y="566017"/>
                      <a:pt x="1258052" y="548212"/>
                      <a:pt x="1249832" y="550951"/>
                    </a:cubicBezTo>
                    <a:cubicBezTo>
                      <a:pt x="1242982" y="555060"/>
                      <a:pt x="1207362" y="531776"/>
                      <a:pt x="1207362" y="527667"/>
                    </a:cubicBezTo>
                    <a:cubicBezTo>
                      <a:pt x="1207362" y="524927"/>
                      <a:pt x="1238872" y="522188"/>
                      <a:pt x="1249832" y="531776"/>
                    </a:cubicBezTo>
                    <a:cubicBezTo>
                      <a:pt x="1260792" y="541363"/>
                      <a:pt x="1267642" y="535885"/>
                      <a:pt x="1256682" y="523558"/>
                    </a:cubicBezTo>
                    <a:cubicBezTo>
                      <a:pt x="1244352" y="512601"/>
                      <a:pt x="1232022" y="513970"/>
                      <a:pt x="1226542" y="507122"/>
                    </a:cubicBezTo>
                    <a:cubicBezTo>
                      <a:pt x="1219692" y="498904"/>
                      <a:pt x="1232022" y="487947"/>
                      <a:pt x="1219692" y="487947"/>
                    </a:cubicBezTo>
                    <a:cubicBezTo>
                      <a:pt x="1208732" y="487947"/>
                      <a:pt x="1211472" y="503013"/>
                      <a:pt x="1196402" y="500274"/>
                    </a:cubicBezTo>
                    <a:cubicBezTo>
                      <a:pt x="1181332" y="497534"/>
                      <a:pt x="1193662" y="482468"/>
                      <a:pt x="1189552" y="474250"/>
                    </a:cubicBezTo>
                    <a:cubicBezTo>
                      <a:pt x="1184072" y="466032"/>
                      <a:pt x="1205992" y="459184"/>
                      <a:pt x="1196402" y="450966"/>
                    </a:cubicBezTo>
                    <a:cubicBezTo>
                      <a:pt x="1188182" y="441378"/>
                      <a:pt x="1186812" y="435900"/>
                      <a:pt x="1189552" y="430421"/>
                    </a:cubicBezTo>
                    <a:cubicBezTo>
                      <a:pt x="1190922" y="426312"/>
                      <a:pt x="1177222" y="419464"/>
                      <a:pt x="1177222" y="409876"/>
                    </a:cubicBezTo>
                    <a:cubicBezTo>
                      <a:pt x="1178592" y="400289"/>
                      <a:pt x="1175852" y="386592"/>
                      <a:pt x="1163522" y="379744"/>
                    </a:cubicBezTo>
                    <a:cubicBezTo>
                      <a:pt x="1151192" y="372895"/>
                      <a:pt x="1140232" y="364677"/>
                      <a:pt x="1141602" y="353720"/>
                    </a:cubicBezTo>
                    <a:cubicBezTo>
                      <a:pt x="1142972" y="342763"/>
                      <a:pt x="1126532" y="341393"/>
                      <a:pt x="1115572" y="334545"/>
                    </a:cubicBezTo>
                    <a:cubicBezTo>
                      <a:pt x="1104612" y="327697"/>
                      <a:pt x="1071732" y="323588"/>
                      <a:pt x="1064882" y="318109"/>
                    </a:cubicBezTo>
                    <a:cubicBezTo>
                      <a:pt x="1058032" y="312630"/>
                      <a:pt x="1053922" y="324957"/>
                      <a:pt x="1045702" y="322218"/>
                    </a:cubicBezTo>
                    <a:cubicBezTo>
                      <a:pt x="1036112" y="319479"/>
                      <a:pt x="1027892" y="331806"/>
                      <a:pt x="1025152" y="327697"/>
                    </a:cubicBezTo>
                    <a:cubicBezTo>
                      <a:pt x="1021042" y="322218"/>
                      <a:pt x="1001862" y="320848"/>
                      <a:pt x="1008712" y="329066"/>
                    </a:cubicBezTo>
                    <a:cubicBezTo>
                      <a:pt x="1015562" y="337284"/>
                      <a:pt x="995012" y="333175"/>
                      <a:pt x="982682" y="326327"/>
                    </a:cubicBezTo>
                    <a:cubicBezTo>
                      <a:pt x="970352" y="318109"/>
                      <a:pt x="963502" y="319479"/>
                      <a:pt x="963502" y="314000"/>
                    </a:cubicBezTo>
                    <a:cubicBezTo>
                      <a:pt x="964872" y="307152"/>
                      <a:pt x="975832" y="301673"/>
                      <a:pt x="963502" y="298934"/>
                    </a:cubicBezTo>
                    <a:cubicBezTo>
                      <a:pt x="951172" y="296195"/>
                      <a:pt x="936102" y="297564"/>
                      <a:pt x="934732" y="289346"/>
                    </a:cubicBezTo>
                    <a:cubicBezTo>
                      <a:pt x="933362" y="281128"/>
                      <a:pt x="963502" y="287977"/>
                      <a:pt x="974462" y="281128"/>
                    </a:cubicBezTo>
                    <a:cubicBezTo>
                      <a:pt x="984052" y="272910"/>
                      <a:pt x="1015562" y="286607"/>
                      <a:pt x="1016932" y="277019"/>
                    </a:cubicBezTo>
                    <a:cubicBezTo>
                      <a:pt x="1016932" y="267432"/>
                      <a:pt x="1005972" y="259214"/>
                      <a:pt x="992272" y="266062"/>
                    </a:cubicBezTo>
                    <a:cubicBezTo>
                      <a:pt x="977202" y="272910"/>
                      <a:pt x="956652" y="271541"/>
                      <a:pt x="948432" y="261953"/>
                    </a:cubicBezTo>
                    <a:cubicBezTo>
                      <a:pt x="941582" y="252366"/>
                      <a:pt x="930622" y="255105"/>
                      <a:pt x="922402" y="252366"/>
                    </a:cubicBezTo>
                    <a:cubicBezTo>
                      <a:pt x="915552" y="250996"/>
                      <a:pt x="912812" y="245517"/>
                      <a:pt x="912812" y="238669"/>
                    </a:cubicBezTo>
                    <a:cubicBezTo>
                      <a:pt x="912812" y="222233"/>
                      <a:pt x="973092" y="220863"/>
                      <a:pt x="973092" y="211276"/>
                    </a:cubicBezTo>
                    <a:cubicBezTo>
                      <a:pt x="974462" y="200319"/>
                      <a:pt x="1012822" y="208536"/>
                      <a:pt x="1023782" y="200319"/>
                    </a:cubicBezTo>
                    <a:cubicBezTo>
                      <a:pt x="1033372" y="192101"/>
                      <a:pt x="1044332" y="171556"/>
                      <a:pt x="1036112" y="166077"/>
                    </a:cubicBezTo>
                    <a:cubicBezTo>
                      <a:pt x="1027892" y="159229"/>
                      <a:pt x="1000492" y="167447"/>
                      <a:pt x="997752" y="157859"/>
                    </a:cubicBezTo>
                    <a:cubicBezTo>
                      <a:pt x="993642" y="148272"/>
                      <a:pt x="1056662" y="112660"/>
                      <a:pt x="1068992" y="111291"/>
                    </a:cubicBezTo>
                    <a:cubicBezTo>
                      <a:pt x="1081322" y="109921"/>
                      <a:pt x="1095022" y="123618"/>
                      <a:pt x="1099132" y="116769"/>
                    </a:cubicBezTo>
                    <a:cubicBezTo>
                      <a:pt x="1103242" y="109921"/>
                      <a:pt x="1101872" y="94855"/>
                      <a:pt x="1095022" y="88007"/>
                    </a:cubicBezTo>
                    <a:cubicBezTo>
                      <a:pt x="1088172" y="82528"/>
                      <a:pt x="1121052" y="74310"/>
                      <a:pt x="1130642" y="82528"/>
                    </a:cubicBezTo>
                    <a:cubicBezTo>
                      <a:pt x="1140232" y="90746"/>
                      <a:pt x="1152562" y="86637"/>
                      <a:pt x="1140232" y="78419"/>
                    </a:cubicBezTo>
                    <a:cubicBezTo>
                      <a:pt x="1129272" y="71571"/>
                      <a:pt x="1147082" y="66092"/>
                      <a:pt x="1159412" y="66092"/>
                    </a:cubicBezTo>
                    <a:cubicBezTo>
                      <a:pt x="1173112" y="67462"/>
                      <a:pt x="1197772" y="53765"/>
                      <a:pt x="1208732" y="57874"/>
                    </a:cubicBezTo>
                    <a:cubicBezTo>
                      <a:pt x="1218322" y="61983"/>
                      <a:pt x="1221062" y="86637"/>
                      <a:pt x="1216952" y="96225"/>
                    </a:cubicBezTo>
                    <a:cubicBezTo>
                      <a:pt x="1211472" y="105812"/>
                      <a:pt x="1229282" y="97594"/>
                      <a:pt x="1229282" y="83898"/>
                    </a:cubicBezTo>
                    <a:cubicBezTo>
                      <a:pt x="1229282" y="70201"/>
                      <a:pt x="1221062" y="59244"/>
                      <a:pt x="1230652" y="59244"/>
                    </a:cubicBezTo>
                    <a:cubicBezTo>
                      <a:pt x="1240242" y="59244"/>
                      <a:pt x="1256682" y="81158"/>
                      <a:pt x="1260792" y="78419"/>
                    </a:cubicBezTo>
                    <a:cubicBezTo>
                      <a:pt x="1263532" y="75680"/>
                      <a:pt x="1282713" y="85267"/>
                      <a:pt x="1282713" y="77049"/>
                    </a:cubicBezTo>
                    <a:cubicBezTo>
                      <a:pt x="1282713" y="70201"/>
                      <a:pt x="1253942" y="57874"/>
                      <a:pt x="1263532" y="51026"/>
                    </a:cubicBezTo>
                    <a:cubicBezTo>
                      <a:pt x="1270383" y="45547"/>
                      <a:pt x="1297783" y="52396"/>
                      <a:pt x="1306003" y="61983"/>
                    </a:cubicBezTo>
                    <a:cubicBezTo>
                      <a:pt x="1312853" y="71571"/>
                      <a:pt x="1327923" y="68831"/>
                      <a:pt x="1340253" y="78419"/>
                    </a:cubicBezTo>
                    <a:cubicBezTo>
                      <a:pt x="1352583" y="88007"/>
                      <a:pt x="1371763" y="94855"/>
                      <a:pt x="1360803" y="82528"/>
                    </a:cubicBezTo>
                    <a:cubicBezTo>
                      <a:pt x="1349843" y="70201"/>
                      <a:pt x="1327923" y="61983"/>
                      <a:pt x="1321073" y="52396"/>
                    </a:cubicBezTo>
                    <a:cubicBezTo>
                      <a:pt x="1314223" y="41438"/>
                      <a:pt x="1348473" y="48287"/>
                      <a:pt x="1348473" y="41438"/>
                    </a:cubicBezTo>
                    <a:cubicBezTo>
                      <a:pt x="1349843" y="35960"/>
                      <a:pt x="1322443" y="26372"/>
                      <a:pt x="1333403" y="25002"/>
                    </a:cubicBezTo>
                    <a:cubicBezTo>
                      <a:pt x="1344363" y="22263"/>
                      <a:pt x="1381353" y="25002"/>
                      <a:pt x="1385463" y="16784"/>
                    </a:cubicBezTo>
                    <a:cubicBezTo>
                      <a:pt x="1390943" y="9936"/>
                      <a:pt x="1422453" y="25002"/>
                      <a:pt x="1429303" y="16784"/>
                    </a:cubicBezTo>
                    <a:cubicBezTo>
                      <a:pt x="1434783" y="11306"/>
                      <a:pt x="1453963" y="15415"/>
                      <a:pt x="1452593" y="23633"/>
                    </a:cubicBezTo>
                    <a:cubicBezTo>
                      <a:pt x="1451223" y="31851"/>
                      <a:pt x="1473143" y="27742"/>
                      <a:pt x="1464923" y="16784"/>
                    </a:cubicBezTo>
                    <a:cubicBezTo>
                      <a:pt x="1459443" y="9936"/>
                      <a:pt x="1471773" y="7197"/>
                      <a:pt x="1479993" y="7197"/>
                    </a:cubicBezTo>
                    <a:cubicBezTo>
                      <a:pt x="1488213" y="7197"/>
                      <a:pt x="1493693" y="4458"/>
                      <a:pt x="1501913" y="3088"/>
                    </a:cubicBezTo>
                    <a:cubicBezTo>
                      <a:pt x="1511503" y="1718"/>
                      <a:pt x="1549863" y="1718"/>
                      <a:pt x="1567673" y="349"/>
                    </a:cubicBezTo>
                    <a:close/>
                  </a:path>
                </a:pathLst>
              </a:custGeom>
              <a:grpFill/>
              <a:ln w="9525">
                <a:solidFill>
                  <a:schemeClr val="bg2"/>
                </a:solidFill>
                <a:round/>
                <a:headEnd/>
                <a:tailEnd/>
              </a:ln>
            </p:spPr>
            <p:txBody>
              <a:bodyPr vert="horz" wrap="square" lIns="91440" tIns="45720" rIns="91440" bIns="45720" numCol="1" anchor="t" anchorCtr="0" compatLnSpc="1">
                <a:prstTxWarp prst="textNoShape">
                  <a:avLst/>
                </a:prstTxWarp>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IN" dirty="0"/>
              </a:p>
            </p:txBody>
          </p:sp>
        </p:grpSp>
      </p:grpSp>
      <p:sp>
        <p:nvSpPr>
          <p:cNvPr id="31" name="Rectangle: Rounded Corners 30">
            <a:extLst>
              <a:ext uri="{FF2B5EF4-FFF2-40B4-BE49-F238E27FC236}">
                <a16:creationId xmlns:a16="http://schemas.microsoft.com/office/drawing/2014/main" id="{EEA5ABD2-3068-42B5-A6B9-214B9603296D}"/>
              </a:ext>
            </a:extLst>
          </p:cNvPr>
          <p:cNvSpPr/>
          <p:nvPr/>
        </p:nvSpPr>
        <p:spPr>
          <a:xfrm>
            <a:off x="9398015" y="2889224"/>
            <a:ext cx="1509274" cy="560663"/>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IN" dirty="0"/>
              <a:t>Myanmar</a:t>
            </a:r>
          </a:p>
        </p:txBody>
      </p:sp>
      <p:sp>
        <p:nvSpPr>
          <p:cNvPr id="32" name="Rectangle: Rounded Corners 31">
            <a:extLst>
              <a:ext uri="{FF2B5EF4-FFF2-40B4-BE49-F238E27FC236}">
                <a16:creationId xmlns:a16="http://schemas.microsoft.com/office/drawing/2014/main" id="{47F0DF64-9842-4DA2-84A2-D82B5BC10677}"/>
              </a:ext>
            </a:extLst>
          </p:cNvPr>
          <p:cNvSpPr/>
          <p:nvPr/>
        </p:nvSpPr>
        <p:spPr>
          <a:xfrm>
            <a:off x="9428153" y="3733325"/>
            <a:ext cx="1388415" cy="435393"/>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IN" dirty="0"/>
              <a:t>Iran</a:t>
            </a:r>
          </a:p>
        </p:txBody>
      </p:sp>
      <p:sp>
        <p:nvSpPr>
          <p:cNvPr id="33" name="Rectangle: Rounded Corners 32">
            <a:extLst>
              <a:ext uri="{FF2B5EF4-FFF2-40B4-BE49-F238E27FC236}">
                <a16:creationId xmlns:a16="http://schemas.microsoft.com/office/drawing/2014/main" id="{9F415228-A878-4EF3-8E80-71E182FE44BB}"/>
              </a:ext>
            </a:extLst>
          </p:cNvPr>
          <p:cNvSpPr/>
          <p:nvPr/>
        </p:nvSpPr>
        <p:spPr>
          <a:xfrm>
            <a:off x="9081801" y="4400080"/>
            <a:ext cx="2290291" cy="775493"/>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dirty="0"/>
              <a:t>Democratic People's Republic of Korea</a:t>
            </a:r>
            <a:endParaRPr lang="en-IN" dirty="0"/>
          </a:p>
        </p:txBody>
      </p:sp>
      <p:sp>
        <p:nvSpPr>
          <p:cNvPr id="34" name="TextBox 127">
            <a:extLst>
              <a:ext uri="{FF2B5EF4-FFF2-40B4-BE49-F238E27FC236}">
                <a16:creationId xmlns:a16="http://schemas.microsoft.com/office/drawing/2014/main" id="{AB2157AC-A340-47D1-B517-B218CE617E3A}"/>
              </a:ext>
            </a:extLst>
          </p:cNvPr>
          <p:cNvSpPr txBox="1"/>
          <p:nvPr/>
        </p:nvSpPr>
        <p:spPr>
          <a:xfrm>
            <a:off x="696341" y="2844358"/>
            <a:ext cx="2377638" cy="3108543"/>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IN" sz="1400" i="1" dirty="0">
                <a:solidFill>
                  <a:schemeClr val="bg1"/>
                </a:solidFill>
              </a:rPr>
              <a:t>Albania</a:t>
            </a:r>
          </a:p>
          <a:p>
            <a:pPr marL="285750" indent="-285750">
              <a:buFont typeface="Arial" panose="020B0604020202020204" pitchFamily="34" charset="0"/>
              <a:buChar char="•"/>
            </a:pPr>
            <a:r>
              <a:rPr lang="en-IN" sz="1400" i="1" dirty="0">
                <a:solidFill>
                  <a:schemeClr val="bg1"/>
                </a:solidFill>
              </a:rPr>
              <a:t>Barbados</a:t>
            </a:r>
          </a:p>
          <a:p>
            <a:pPr marL="285750" indent="-285750">
              <a:buFont typeface="Arial" panose="020B0604020202020204" pitchFamily="34" charset="0"/>
              <a:buChar char="•"/>
            </a:pPr>
            <a:r>
              <a:rPr lang="en-IN" sz="1400" i="1" dirty="0">
                <a:solidFill>
                  <a:schemeClr val="bg1"/>
                </a:solidFill>
              </a:rPr>
              <a:t>Burkina Faso</a:t>
            </a:r>
          </a:p>
          <a:p>
            <a:pPr marL="285750" indent="-285750">
              <a:buFont typeface="Arial" panose="020B0604020202020204" pitchFamily="34" charset="0"/>
              <a:buChar char="•"/>
            </a:pPr>
            <a:r>
              <a:rPr lang="en-IN" sz="1400" i="1" dirty="0">
                <a:solidFill>
                  <a:schemeClr val="bg1"/>
                </a:solidFill>
              </a:rPr>
              <a:t>Cameroon</a:t>
            </a:r>
          </a:p>
          <a:p>
            <a:pPr marL="285750" indent="-285750">
              <a:buFont typeface="Arial" panose="020B0604020202020204" pitchFamily="34" charset="0"/>
              <a:buChar char="•"/>
            </a:pPr>
            <a:r>
              <a:rPr lang="en-IN" sz="1400" i="1" dirty="0">
                <a:solidFill>
                  <a:schemeClr val="bg1"/>
                </a:solidFill>
              </a:rPr>
              <a:t>Cayman Islands</a:t>
            </a:r>
          </a:p>
          <a:p>
            <a:pPr marL="285750" indent="-285750">
              <a:buFont typeface="Arial" panose="020B0604020202020204" pitchFamily="34" charset="0"/>
              <a:buChar char="•"/>
            </a:pPr>
            <a:r>
              <a:rPr lang="en-IN" sz="1400" i="1" dirty="0">
                <a:solidFill>
                  <a:schemeClr val="bg1"/>
                </a:solidFill>
              </a:rPr>
              <a:t>Croatia</a:t>
            </a:r>
          </a:p>
          <a:p>
            <a:pPr marL="285750" indent="-285750">
              <a:buFont typeface="Arial" panose="020B0604020202020204" pitchFamily="34" charset="0"/>
              <a:buChar char="•"/>
            </a:pPr>
            <a:r>
              <a:rPr lang="en-IN" sz="1400" i="1" dirty="0">
                <a:solidFill>
                  <a:schemeClr val="bg1"/>
                </a:solidFill>
              </a:rPr>
              <a:t>Democratic Republic of Congo</a:t>
            </a:r>
          </a:p>
          <a:p>
            <a:pPr marL="285750" indent="-285750">
              <a:buFont typeface="Arial" panose="020B0604020202020204" pitchFamily="34" charset="0"/>
              <a:buChar char="•"/>
            </a:pPr>
            <a:r>
              <a:rPr lang="en-IN" sz="1400" i="1" dirty="0">
                <a:solidFill>
                  <a:schemeClr val="bg1"/>
                </a:solidFill>
              </a:rPr>
              <a:t>Gibraltar</a:t>
            </a:r>
          </a:p>
          <a:p>
            <a:pPr marL="285750" indent="-285750">
              <a:buFont typeface="Arial" panose="020B0604020202020204" pitchFamily="34" charset="0"/>
              <a:buChar char="•"/>
            </a:pPr>
            <a:r>
              <a:rPr lang="en-IN" sz="1400" i="1" dirty="0">
                <a:solidFill>
                  <a:schemeClr val="bg1"/>
                </a:solidFill>
              </a:rPr>
              <a:t>Haiti</a:t>
            </a:r>
          </a:p>
          <a:p>
            <a:pPr marL="285750" indent="-285750">
              <a:buFont typeface="Arial" panose="020B0604020202020204" pitchFamily="34" charset="0"/>
              <a:buChar char="•"/>
            </a:pPr>
            <a:r>
              <a:rPr lang="en-IN" sz="1400" i="1" dirty="0">
                <a:solidFill>
                  <a:schemeClr val="bg1"/>
                </a:solidFill>
              </a:rPr>
              <a:t>Jamaica</a:t>
            </a:r>
          </a:p>
          <a:p>
            <a:pPr marL="285750" indent="-285750">
              <a:buFont typeface="Arial" panose="020B0604020202020204" pitchFamily="34" charset="0"/>
              <a:buChar char="•"/>
            </a:pPr>
            <a:r>
              <a:rPr lang="en-IN" sz="1400" i="1" dirty="0">
                <a:solidFill>
                  <a:schemeClr val="bg1"/>
                </a:solidFill>
              </a:rPr>
              <a:t>Jordan</a:t>
            </a:r>
          </a:p>
          <a:p>
            <a:pPr marL="285750" indent="-285750">
              <a:buFont typeface="Arial" panose="020B0604020202020204" pitchFamily="34" charset="0"/>
              <a:buChar char="•"/>
            </a:pPr>
            <a:r>
              <a:rPr lang="en-IN" sz="1400" i="1" dirty="0">
                <a:solidFill>
                  <a:schemeClr val="bg1"/>
                </a:solidFill>
              </a:rPr>
              <a:t>Mali</a:t>
            </a:r>
          </a:p>
          <a:p>
            <a:pPr marL="285750" indent="-285750">
              <a:buFont typeface="Arial" panose="020B0604020202020204" pitchFamily="34" charset="0"/>
              <a:buChar char="•"/>
            </a:pPr>
            <a:r>
              <a:rPr lang="en-IN" sz="1400" i="1" dirty="0">
                <a:solidFill>
                  <a:schemeClr val="bg1"/>
                </a:solidFill>
              </a:rPr>
              <a:t>Mozambique</a:t>
            </a:r>
          </a:p>
        </p:txBody>
      </p:sp>
      <p:sp>
        <p:nvSpPr>
          <p:cNvPr id="35" name="TextBox 128">
            <a:extLst>
              <a:ext uri="{FF2B5EF4-FFF2-40B4-BE49-F238E27FC236}">
                <a16:creationId xmlns:a16="http://schemas.microsoft.com/office/drawing/2014/main" id="{04874276-FCB5-40B4-8BA9-26593D1D4B9C}"/>
              </a:ext>
            </a:extLst>
          </p:cNvPr>
          <p:cNvSpPr txBox="1"/>
          <p:nvPr/>
        </p:nvSpPr>
        <p:spPr>
          <a:xfrm>
            <a:off x="3040204" y="2844358"/>
            <a:ext cx="1508746" cy="2893100"/>
          </a:xfrm>
          <a:prstGeom prst="rect">
            <a:avLst/>
          </a:prstGeom>
          <a:noFill/>
        </p:spPr>
        <p:txBody>
          <a:bodyPr wrap="non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IN" sz="1400" i="1" dirty="0">
                <a:solidFill>
                  <a:schemeClr val="bg1"/>
                </a:solidFill>
              </a:rPr>
              <a:t>Nigeria</a:t>
            </a:r>
          </a:p>
          <a:p>
            <a:pPr marL="285750" indent="-285750">
              <a:buFont typeface="Arial" panose="020B0604020202020204" pitchFamily="34" charset="0"/>
              <a:buChar char="•"/>
            </a:pPr>
            <a:r>
              <a:rPr lang="en-IN" sz="1400" i="1" dirty="0">
                <a:solidFill>
                  <a:schemeClr val="bg1"/>
                </a:solidFill>
              </a:rPr>
              <a:t>Panama</a:t>
            </a:r>
          </a:p>
          <a:p>
            <a:pPr marL="285750" indent="-285750">
              <a:buFont typeface="Arial" panose="020B0604020202020204" pitchFamily="34" charset="0"/>
              <a:buChar char="•"/>
            </a:pPr>
            <a:r>
              <a:rPr lang="en-IN" sz="1400" i="1" dirty="0">
                <a:solidFill>
                  <a:schemeClr val="bg1"/>
                </a:solidFill>
              </a:rPr>
              <a:t>Philippines</a:t>
            </a:r>
          </a:p>
          <a:p>
            <a:pPr marL="285750" indent="-285750">
              <a:buFont typeface="Arial" panose="020B0604020202020204" pitchFamily="34" charset="0"/>
              <a:buChar char="•"/>
            </a:pPr>
            <a:r>
              <a:rPr lang="en-IN" sz="1400" i="1" dirty="0">
                <a:solidFill>
                  <a:schemeClr val="bg1"/>
                </a:solidFill>
              </a:rPr>
              <a:t>Senegal</a:t>
            </a:r>
          </a:p>
          <a:p>
            <a:pPr marL="285750" indent="-285750">
              <a:buFont typeface="Arial" panose="020B0604020202020204" pitchFamily="34" charset="0"/>
              <a:buChar char="•"/>
            </a:pPr>
            <a:r>
              <a:rPr lang="en-IN" sz="1400" i="1" dirty="0">
                <a:solidFill>
                  <a:schemeClr val="bg1"/>
                </a:solidFill>
              </a:rPr>
              <a:t>South Africa</a:t>
            </a:r>
          </a:p>
          <a:p>
            <a:pPr marL="285750" indent="-285750">
              <a:buFont typeface="Arial" panose="020B0604020202020204" pitchFamily="34" charset="0"/>
              <a:buChar char="•"/>
            </a:pPr>
            <a:r>
              <a:rPr lang="en-IN" sz="1400" i="1" dirty="0">
                <a:solidFill>
                  <a:schemeClr val="bg1"/>
                </a:solidFill>
              </a:rPr>
              <a:t>South Sudan</a:t>
            </a:r>
          </a:p>
          <a:p>
            <a:pPr marL="285750" indent="-285750">
              <a:buFont typeface="Arial" panose="020B0604020202020204" pitchFamily="34" charset="0"/>
              <a:buChar char="•"/>
            </a:pPr>
            <a:r>
              <a:rPr lang="en-IN" sz="1400" i="1" dirty="0">
                <a:solidFill>
                  <a:schemeClr val="bg1"/>
                </a:solidFill>
              </a:rPr>
              <a:t>Syria</a:t>
            </a:r>
          </a:p>
          <a:p>
            <a:pPr marL="285750" indent="-285750">
              <a:buFont typeface="Arial" panose="020B0604020202020204" pitchFamily="34" charset="0"/>
              <a:buChar char="•"/>
            </a:pPr>
            <a:r>
              <a:rPr lang="en-IN" sz="1400" i="1" dirty="0">
                <a:solidFill>
                  <a:schemeClr val="bg1"/>
                </a:solidFill>
              </a:rPr>
              <a:t>Tanzania</a:t>
            </a:r>
          </a:p>
          <a:p>
            <a:pPr marL="285750" indent="-285750">
              <a:buFont typeface="Arial" panose="020B0604020202020204" pitchFamily="34" charset="0"/>
              <a:buChar char="•"/>
            </a:pPr>
            <a:r>
              <a:rPr lang="en-IN" sz="1400" i="1" dirty="0" err="1">
                <a:solidFill>
                  <a:schemeClr val="bg1"/>
                </a:solidFill>
              </a:rPr>
              <a:t>Türkiye</a:t>
            </a:r>
            <a:endParaRPr lang="en-IN" sz="1400" i="1" dirty="0">
              <a:solidFill>
                <a:schemeClr val="bg1"/>
              </a:solidFill>
            </a:endParaRPr>
          </a:p>
          <a:p>
            <a:pPr marL="285750" indent="-285750">
              <a:buFont typeface="Arial" panose="020B0604020202020204" pitchFamily="34" charset="0"/>
              <a:buChar char="•"/>
            </a:pPr>
            <a:r>
              <a:rPr lang="en-IN" sz="1400" i="1" dirty="0">
                <a:solidFill>
                  <a:schemeClr val="bg1"/>
                </a:solidFill>
              </a:rPr>
              <a:t>Uganda</a:t>
            </a:r>
          </a:p>
          <a:p>
            <a:pPr marL="285750" indent="-285750">
              <a:buFont typeface="Arial" panose="020B0604020202020204" pitchFamily="34" charset="0"/>
              <a:buChar char="•"/>
            </a:pPr>
            <a:r>
              <a:rPr lang="en-IN" sz="1400" i="1" dirty="0">
                <a:solidFill>
                  <a:schemeClr val="bg1"/>
                </a:solidFill>
              </a:rPr>
              <a:t>U.A.E.</a:t>
            </a:r>
          </a:p>
          <a:p>
            <a:pPr marL="285750" indent="-285750">
              <a:buFont typeface="Arial" panose="020B0604020202020204" pitchFamily="34" charset="0"/>
              <a:buChar char="•"/>
            </a:pPr>
            <a:r>
              <a:rPr lang="en-IN" sz="1400" i="1" dirty="0">
                <a:solidFill>
                  <a:schemeClr val="bg1"/>
                </a:solidFill>
              </a:rPr>
              <a:t>Vietnam</a:t>
            </a:r>
          </a:p>
          <a:p>
            <a:pPr marL="285750" indent="-285750">
              <a:buFont typeface="Arial" panose="020B0604020202020204" pitchFamily="34" charset="0"/>
              <a:buChar char="•"/>
            </a:pPr>
            <a:r>
              <a:rPr lang="en-IN" sz="1400" i="1" dirty="0">
                <a:solidFill>
                  <a:schemeClr val="bg1"/>
                </a:solidFill>
              </a:rPr>
              <a:t>Yemen</a:t>
            </a:r>
          </a:p>
        </p:txBody>
      </p:sp>
      <p:sp>
        <p:nvSpPr>
          <p:cNvPr id="36" name="TextBox 133">
            <a:extLst>
              <a:ext uri="{FF2B5EF4-FFF2-40B4-BE49-F238E27FC236}">
                <a16:creationId xmlns:a16="http://schemas.microsoft.com/office/drawing/2014/main" id="{AE2D7984-FDDB-4537-96D7-E189EC587BA5}"/>
              </a:ext>
            </a:extLst>
          </p:cNvPr>
          <p:cNvSpPr txBox="1"/>
          <p:nvPr/>
        </p:nvSpPr>
        <p:spPr>
          <a:xfrm>
            <a:off x="8510379" y="2286000"/>
            <a:ext cx="3223961" cy="461665"/>
          </a:xfrm>
          <a:prstGeom prst="rect">
            <a:avLst/>
          </a:prstGeom>
          <a:noFill/>
        </p:spPr>
        <p:txBody>
          <a:bodyPr wrap="non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2400" i="1" dirty="0">
                <a:latin typeface="Georgia" panose="02040502050405020303" pitchFamily="18" charset="0"/>
              </a:rPr>
              <a:t>Black-listed Countries</a:t>
            </a:r>
          </a:p>
        </p:txBody>
      </p:sp>
      <p:sp>
        <p:nvSpPr>
          <p:cNvPr id="42" name="TextBox 41">
            <a:extLst>
              <a:ext uri="{FF2B5EF4-FFF2-40B4-BE49-F238E27FC236}">
                <a16:creationId xmlns:a16="http://schemas.microsoft.com/office/drawing/2014/main" id="{D67FAA5B-C84B-4310-AD5A-28EC3284AB08}"/>
              </a:ext>
            </a:extLst>
          </p:cNvPr>
          <p:cNvSpPr txBox="1"/>
          <p:nvPr/>
        </p:nvSpPr>
        <p:spPr>
          <a:xfrm>
            <a:off x="349820" y="318107"/>
            <a:ext cx="11380218" cy="523220"/>
          </a:xfrm>
          <a:prstGeom prst="rect">
            <a:avLst/>
          </a:prstGeom>
          <a:noFill/>
        </p:spPr>
        <p:txBody>
          <a:bodyPr wrap="square">
            <a:spAutoFit/>
          </a:bodyPr>
          <a:lstStyle/>
          <a:p>
            <a:pPr lvl="0">
              <a:defRPr/>
            </a:pPr>
            <a:r>
              <a:rPr lang="en-US" sz="2800" dirty="0">
                <a:solidFill>
                  <a:srgbClr val="000000"/>
                </a:solidFill>
                <a:latin typeface="Georgia"/>
                <a:ea typeface="Georgia"/>
                <a:cs typeface="Georgia"/>
                <a:sym typeface="Georgia"/>
              </a:rPr>
              <a:t>FATF Advisories</a:t>
            </a:r>
          </a:p>
        </p:txBody>
      </p:sp>
      <p:sp>
        <p:nvSpPr>
          <p:cNvPr id="44" name="Rectangle 43">
            <a:extLst>
              <a:ext uri="{FF2B5EF4-FFF2-40B4-BE49-F238E27FC236}">
                <a16:creationId xmlns:a16="http://schemas.microsoft.com/office/drawing/2014/main" id="{CA2AF09A-0859-482A-8C6F-C9FD9AA0FA1F}"/>
              </a:ext>
            </a:extLst>
          </p:cNvPr>
          <p:cNvSpPr/>
          <p:nvPr/>
        </p:nvSpPr>
        <p:spPr bwMode="gray">
          <a:xfrm>
            <a:off x="442913" y="1181100"/>
            <a:ext cx="11306175" cy="952500"/>
          </a:xfrm>
          <a:prstGeom prst="rect">
            <a:avLst/>
          </a:prstGeom>
          <a:solidFill>
            <a:srgbClr val="FFB600"/>
          </a:solidFill>
          <a:ln w="3175">
            <a:noFill/>
            <a:round/>
            <a:headEnd/>
            <a:tailEnd/>
          </a:ln>
        </p:spPr>
        <p:txBody>
          <a:bodyPr lIns="0" tIns="0" rIns="0" bIns="0" rtlCol="0" anchor="ctr"/>
          <a:lstStyle/>
          <a:p>
            <a:pPr marL="88900"/>
            <a:r>
              <a:rPr lang="en-US" sz="1400" dirty="0"/>
              <a:t>FATF has 2 types of lists:</a:t>
            </a:r>
          </a:p>
          <a:p>
            <a:pPr marL="88900"/>
            <a:r>
              <a:rPr lang="en-US" sz="1400" b="1" dirty="0"/>
              <a:t>Blacklist: </a:t>
            </a:r>
            <a:r>
              <a:rPr lang="en-US" sz="1400" dirty="0"/>
              <a:t>Countries knowns as Non-Cooperative Countries or Territories (NCCTs)</a:t>
            </a:r>
          </a:p>
          <a:p>
            <a:pPr marL="88900"/>
            <a:r>
              <a:rPr lang="en-US" sz="1400" b="1" dirty="0"/>
              <a:t>Grey List: </a:t>
            </a:r>
            <a:r>
              <a:rPr lang="en-US" sz="1400" dirty="0"/>
              <a:t>Countries that are considered a safe haven for supporting ML and TF</a:t>
            </a:r>
            <a:endParaRPr lang="en-IN" sz="1400" dirty="0"/>
          </a:p>
        </p:txBody>
      </p:sp>
    </p:spTree>
    <p:extLst>
      <p:ext uri="{BB962C8B-B14F-4D97-AF65-F5344CB8AC3E}">
        <p14:creationId xmlns:p14="http://schemas.microsoft.com/office/powerpoint/2010/main" val="5131490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B137DBD-304A-7C03-CA0A-ABED25C7B751}"/>
              </a:ext>
            </a:extLst>
          </p:cNvPr>
          <p:cNvSpPr/>
          <p:nvPr/>
        </p:nvSpPr>
        <p:spPr bwMode="gray">
          <a:xfrm>
            <a:off x="279802" y="3443031"/>
            <a:ext cx="11380386" cy="2500570"/>
          </a:xfrm>
          <a:prstGeom prst="rect">
            <a:avLst/>
          </a:prstGeom>
          <a:solidFill>
            <a:schemeClr val="accent2"/>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12" name="Google Shape;242;p21">
            <a:extLst>
              <a:ext uri="{FF2B5EF4-FFF2-40B4-BE49-F238E27FC236}">
                <a16:creationId xmlns:a16="http://schemas.microsoft.com/office/drawing/2014/main" id="{CDDE063D-22ED-5FDD-7FF4-7D925A0A82ED}"/>
              </a:ext>
            </a:extLst>
          </p:cNvPr>
          <p:cNvSpPr/>
          <p:nvPr/>
        </p:nvSpPr>
        <p:spPr>
          <a:xfrm>
            <a:off x="279802" y="1039214"/>
            <a:ext cx="11380386" cy="2330592"/>
          </a:xfrm>
          <a:prstGeom prst="rect">
            <a:avLst/>
          </a:prstGeom>
          <a:solidFill>
            <a:srgbClr val="2D2D2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7456" tIns="127456" rIns="127456" bIns="127456" numCol="1" spcCol="1270" anchor="ctr" anchorCtr="0">
            <a:noAutofit/>
          </a:bodyPr>
          <a:lstStyle/>
          <a:p>
            <a:pPr defTabSz="666750">
              <a:spcBef>
                <a:spcPct val="0"/>
              </a:spcBef>
              <a:spcAft>
                <a:spcPct val="35000"/>
              </a:spcAft>
            </a:pPr>
            <a:endParaRPr lang="en-US" sz="1400" dirty="0">
              <a:solidFill>
                <a:schemeClr val="bg1"/>
              </a:solidFill>
            </a:endParaRPr>
          </a:p>
        </p:txBody>
      </p:sp>
      <p:sp>
        <p:nvSpPr>
          <p:cNvPr id="2" name="Content Placeholder 1">
            <a:extLst>
              <a:ext uri="{FF2B5EF4-FFF2-40B4-BE49-F238E27FC236}">
                <a16:creationId xmlns:a16="http://schemas.microsoft.com/office/drawing/2014/main" id="{99C4C76B-D21A-4672-8490-AE4BBEAEB3F2}"/>
              </a:ext>
            </a:extLst>
          </p:cNvPr>
          <p:cNvSpPr>
            <a:spLocks noGrp="1"/>
          </p:cNvSpPr>
          <p:nvPr>
            <p:ph idx="1"/>
          </p:nvPr>
        </p:nvSpPr>
        <p:spPr>
          <a:xfrm>
            <a:off x="370753" y="1305550"/>
            <a:ext cx="11306175" cy="5095250"/>
          </a:xfrm>
        </p:spPr>
        <p:txBody>
          <a:bodyPr/>
          <a:lstStyle/>
          <a:p>
            <a:pPr marL="0" indent="0">
              <a:buNone/>
            </a:pPr>
            <a:r>
              <a:rPr lang="en-US" sz="1400" dirty="0">
                <a:solidFill>
                  <a:schemeClr val="bg1"/>
                </a:solidFill>
              </a:rPr>
              <a:t>The Ministry of Finance (Department of Revenue), Government of India, in May 2023 notified that Professionals – persons who are members holding certificate of practice issued by the Institute of Chartered Accountants of India, Institute of Company Secretaries of India and Institute of Cost Accountants of India as “persons carrying on designated businesses or professions” under PMLA or “designated non-financial businesses and professions (DNFPBs)” as under FATF guidance.</a:t>
            </a:r>
          </a:p>
          <a:p>
            <a:pPr marL="0" indent="0">
              <a:buNone/>
            </a:pPr>
            <a:r>
              <a:rPr lang="en-US" sz="1400" dirty="0">
                <a:solidFill>
                  <a:schemeClr val="bg1"/>
                </a:solidFill>
              </a:rPr>
              <a:t>This notification requires the professionals to comply with the provisions of the Prevention of Money Laundering (Maintenance of Records) Rules, 2005 (PMLA Rules, 2005) framed under the Prevention of Money Laundering Act, 2002 (PMLA Act).</a:t>
            </a:r>
          </a:p>
          <a:p>
            <a:pPr marL="0" indent="0">
              <a:buNone/>
            </a:pPr>
            <a:r>
              <a:rPr lang="en-US" sz="1400" dirty="0">
                <a:solidFill>
                  <a:schemeClr val="bg1"/>
                </a:solidFill>
                <a:effectLst/>
                <a:ea typeface="Georgia" panose="02040502050405020303" pitchFamily="18" charset="0"/>
                <a:cs typeface="Times New Roman" panose="02020603050405020304" pitchFamily="18" charset="0"/>
              </a:rPr>
              <a:t>Professionals</a:t>
            </a:r>
            <a:r>
              <a:rPr lang="en-US" sz="1400" dirty="0">
                <a:solidFill>
                  <a:schemeClr val="bg1"/>
                </a:solidFill>
                <a:ea typeface="Georgia" panose="02040502050405020303" pitchFamily="18" charset="0"/>
                <a:cs typeface="Times New Roman" panose="02020603050405020304" pitchFamily="18" charset="0"/>
              </a:rPr>
              <a:t> who </a:t>
            </a:r>
            <a:r>
              <a:rPr lang="en-US" sz="1400" dirty="0">
                <a:solidFill>
                  <a:schemeClr val="bg1"/>
                </a:solidFill>
                <a:effectLst/>
                <a:ea typeface="Georgia" panose="02040502050405020303" pitchFamily="18" charset="0"/>
                <a:cs typeface="Times New Roman" panose="02020603050405020304" pitchFamily="18" charset="0"/>
              </a:rPr>
              <a:t>qualify under the definition of  </a:t>
            </a:r>
            <a:r>
              <a:rPr lang="en-US" sz="1400" dirty="0">
                <a:solidFill>
                  <a:schemeClr val="bg1"/>
                </a:solidFill>
              </a:rPr>
              <a:t>“Designated Non-financial Businesses and Professions (DNFPB) are expected to comply with </a:t>
            </a:r>
            <a:r>
              <a:rPr kumimoji="0" lang="en-US" sz="1400" b="0" i="0" u="none" strike="noStrike" kern="1200" cap="none" spc="0" normalizeH="0" baseline="0" noProof="0" dirty="0">
                <a:ln>
                  <a:noFill/>
                </a:ln>
                <a:solidFill>
                  <a:schemeClr val="bg1"/>
                </a:solidFill>
                <a:effectLst/>
                <a:uLnTx/>
                <a:uFillTx/>
                <a:ea typeface="Arial" panose="020B0604020202020204" pitchFamily="34" charset="0"/>
                <a:cs typeface="Times New Roman" panose="02020603050405020304" pitchFamily="18" charset="0"/>
              </a:rPr>
              <a:t>Guidelines for Chartered Accountants, Company Secretaries and Cost Accountants issued by Financial Intelligence Unit (FIU-IND), </a:t>
            </a:r>
            <a:r>
              <a:rPr lang="en-US" sz="1400" dirty="0">
                <a:solidFill>
                  <a:schemeClr val="bg1"/>
                </a:solidFill>
                <a:ea typeface="Arial" panose="020B0604020202020204" pitchFamily="34" charset="0"/>
                <a:cs typeface="Times New Roman" panose="02020603050405020304" pitchFamily="18" charset="0"/>
              </a:rPr>
              <a:t>o</a:t>
            </a:r>
            <a:r>
              <a:rPr kumimoji="0" lang="en-US" sz="1400" b="0" i="0" u="none" strike="noStrike" kern="1200" cap="none" spc="0" normalizeH="0" baseline="0" noProof="0" dirty="0" err="1">
                <a:ln>
                  <a:noFill/>
                </a:ln>
                <a:solidFill>
                  <a:schemeClr val="bg1"/>
                </a:solidFill>
                <a:effectLst/>
                <a:uLnTx/>
                <a:uFillTx/>
                <a:ea typeface="Arial" panose="020B0604020202020204" pitchFamily="34" charset="0"/>
                <a:cs typeface="Times New Roman" panose="02020603050405020304" pitchFamily="18" charset="0"/>
              </a:rPr>
              <a:t>ut</a:t>
            </a:r>
            <a:r>
              <a:rPr lang="en-US" sz="1400" dirty="0">
                <a:solidFill>
                  <a:schemeClr val="bg1"/>
                </a:solidFill>
                <a:ea typeface="Arial" panose="020B0604020202020204" pitchFamily="34" charset="0"/>
                <a:cs typeface="Times New Roman" panose="02020603050405020304" pitchFamily="18" charset="0"/>
              </a:rPr>
              <a:t>l</a:t>
            </a:r>
            <a:r>
              <a:rPr kumimoji="0" lang="en-US" sz="1400" b="0" i="0" u="none" strike="noStrike" kern="1200" cap="none" spc="0" normalizeH="0" baseline="0" noProof="0" dirty="0" err="1">
                <a:ln>
                  <a:noFill/>
                </a:ln>
                <a:solidFill>
                  <a:schemeClr val="bg1"/>
                </a:solidFill>
                <a:effectLst/>
                <a:uLnTx/>
                <a:uFillTx/>
                <a:ea typeface="Arial" panose="020B0604020202020204" pitchFamily="34" charset="0"/>
                <a:cs typeface="Times New Roman" panose="02020603050405020304" pitchFamily="18" charset="0"/>
              </a:rPr>
              <a:t>ining</a:t>
            </a:r>
            <a:r>
              <a:rPr lang="en-US" sz="1400" dirty="0">
                <a:solidFill>
                  <a:schemeClr val="bg1"/>
                </a:solidFill>
                <a:ea typeface="Arial" panose="020B0604020202020204" pitchFamily="34" charset="0"/>
                <a:cs typeface="Times New Roman" panose="02020603050405020304" pitchFamily="18" charset="0"/>
              </a:rPr>
              <a:t> the obligations and procedures to be followed by reporting entities to ensure compliance with AML/CFT provisions. </a:t>
            </a:r>
          </a:p>
          <a:p>
            <a:pPr marL="0" indent="0">
              <a:buNone/>
            </a:pPr>
            <a:endParaRPr lang="en-US" sz="1400" dirty="0">
              <a:ea typeface="Arial" panose="020B0604020202020204" pitchFamily="34" charset="0"/>
              <a:cs typeface="Times New Roman" panose="02020603050405020304" pitchFamily="18" charset="0"/>
            </a:endParaRPr>
          </a:p>
          <a:p>
            <a:pPr marL="0" indent="0">
              <a:buNone/>
            </a:pPr>
            <a:r>
              <a:rPr lang="en-US" sz="1400" dirty="0">
                <a:ea typeface="Arial" panose="020B0604020202020204" pitchFamily="34" charset="0"/>
                <a:cs typeface="Times New Roman" panose="02020603050405020304" pitchFamily="18" charset="0"/>
              </a:rPr>
              <a:t>Key highlights from the AML/CFT provisions ar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effectLst/>
                <a:uLnTx/>
                <a:uFillTx/>
                <a:ea typeface="+mn-ea"/>
                <a:cs typeface="+mn-cs"/>
                <a:sym typeface="Arial"/>
              </a:rPr>
              <a:t>Obligation to establish policies &amp; procedures under PMLA</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effectLst/>
                <a:uLnTx/>
                <a:uFillTx/>
                <a:ea typeface="+mn-ea"/>
                <a:cs typeface="+mn-cs"/>
                <a:sym typeface="Arial"/>
              </a:rPr>
              <a:t>Detailed Guidelines on Anti Money-Laundering and combating the financing of terrorism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effectLst/>
                <a:uLnTx/>
                <a:uFillTx/>
                <a:ea typeface="+mn-ea"/>
                <a:cs typeface="+mn-cs"/>
                <a:sym typeface="Arial"/>
              </a:rPr>
              <a:t>Illustrative list of documents required for KYC</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effectLst/>
                <a:uLnTx/>
                <a:uFillTx/>
                <a:ea typeface="+mn-ea"/>
                <a:cs typeface="+mn-cs"/>
                <a:sym typeface="Arial"/>
              </a:rPr>
              <a:t>Maintenance of records of transactions/ Information to be recorded/Preservation of records/ Cash and Suspicious transactions reporting to Financial Intelligence Unit-India (FIU-IND)</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effectLst/>
                <a:uLnTx/>
                <a:uFillTx/>
                <a:ea typeface="+mn-ea"/>
                <a:cs typeface="+mn-cs"/>
                <a:sym typeface="Arial"/>
              </a:rPr>
              <a:t>Implementation of Section 51A of the Unlawful Activities (Prevention) Act, 1967 (UAPA)</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effectLst/>
                <a:uLnTx/>
                <a:uFillTx/>
                <a:ea typeface="+mn-ea"/>
                <a:cs typeface="+mn-cs"/>
                <a:sym typeface="Arial"/>
              </a:rPr>
              <a:t>Recruitment and training of employees</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400" b="0" i="0" u="none" strike="noStrike" kern="1200" cap="none" spc="0" normalizeH="0" baseline="0" noProof="0" dirty="0">
                <a:ln>
                  <a:noFill/>
                </a:ln>
                <a:effectLst/>
                <a:uLnTx/>
                <a:uFillTx/>
                <a:ea typeface="+mn-ea"/>
                <a:cs typeface="+mn-cs"/>
                <a:sym typeface="Arial"/>
              </a:rPr>
              <a:t>Definitions as applicable under PMLA, 2002</a:t>
            </a:r>
            <a:endParaRPr lang="en-GB" sz="1400" dirty="0">
              <a:ea typeface="Arial" panose="020B0604020202020204" pitchFamily="34" charset="0"/>
              <a:cs typeface="Times New Roman" panose="02020603050405020304" pitchFamily="18" charset="0"/>
            </a:endParaRPr>
          </a:p>
          <a:p>
            <a:pPr marL="0" indent="0">
              <a:buNone/>
            </a:pPr>
            <a:endParaRPr lang="en-US" sz="1200" dirty="0">
              <a:effectLst/>
              <a:ea typeface="Georgia" panose="02040502050405020303" pitchFamily="18" charset="0"/>
              <a:cs typeface="Times New Roman" panose="02020603050405020304" pitchFamily="18" charset="0"/>
            </a:endParaRPr>
          </a:p>
          <a:p>
            <a:pPr marL="0" indent="0">
              <a:buNone/>
            </a:pPr>
            <a:endParaRPr lang="en-US" dirty="0"/>
          </a:p>
        </p:txBody>
      </p:sp>
      <p:sp>
        <p:nvSpPr>
          <p:cNvPr id="4" name="Slide Number Placeholder 3">
            <a:extLst>
              <a:ext uri="{FF2B5EF4-FFF2-40B4-BE49-F238E27FC236}">
                <a16:creationId xmlns:a16="http://schemas.microsoft.com/office/drawing/2014/main" id="{39F364BE-73DD-4D59-9674-BC245F6DC6C5}"/>
              </a:ext>
            </a:extLst>
          </p:cNvPr>
          <p:cNvSpPr>
            <a:spLocks noGrp="1"/>
          </p:cNvSpPr>
          <p:nvPr>
            <p:ph type="sldNum" sz="quarter" idx="11"/>
          </p:nvPr>
        </p:nvSpPr>
        <p:spPr/>
        <p:txBody>
          <a:bodyPr/>
          <a:lstStyle/>
          <a:p>
            <a:fld id="{7870704B-CE94-48CC-AF30-84932A1262A7}" type="slidenum">
              <a:rPr lang="en-GB" smtClean="0"/>
              <a:pPr/>
              <a:t>13</a:t>
            </a:fld>
            <a:endParaRPr lang="en-GB" dirty="0"/>
          </a:p>
        </p:txBody>
      </p:sp>
      <p:sp>
        <p:nvSpPr>
          <p:cNvPr id="7" name="Rectangle 6">
            <a:extLst>
              <a:ext uri="{FF2B5EF4-FFF2-40B4-BE49-F238E27FC236}">
                <a16:creationId xmlns:a16="http://schemas.microsoft.com/office/drawing/2014/main" id="{0DEDE84D-1C90-76E5-5C20-B71842A463E2}"/>
              </a:ext>
            </a:extLst>
          </p:cNvPr>
          <p:cNvSpPr/>
          <p:nvPr/>
        </p:nvSpPr>
        <p:spPr bwMode="gray">
          <a:xfrm>
            <a:off x="0" y="0"/>
            <a:ext cx="12192000" cy="137160"/>
          </a:xfrm>
          <a:prstGeom prst="rect">
            <a:avLst/>
          </a:prstGeom>
          <a:solidFill>
            <a:schemeClr val="accent3"/>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13" name="TextBox 12">
            <a:extLst>
              <a:ext uri="{FF2B5EF4-FFF2-40B4-BE49-F238E27FC236}">
                <a16:creationId xmlns:a16="http://schemas.microsoft.com/office/drawing/2014/main" id="{45BA06E1-3F09-4F8E-92FD-E79534CA459A}"/>
              </a:ext>
            </a:extLst>
          </p:cNvPr>
          <p:cNvSpPr txBox="1"/>
          <p:nvPr/>
        </p:nvSpPr>
        <p:spPr>
          <a:xfrm>
            <a:off x="533400" y="395018"/>
            <a:ext cx="6019800" cy="369332"/>
          </a:xfrm>
          <a:prstGeom prst="rect">
            <a:avLst/>
          </a:prstGeom>
          <a:noFill/>
        </p:spPr>
        <p:txBody>
          <a:bodyPr wrap="square" lIns="0" tIns="0" rIns="0" bIns="0" rtlCol="0">
            <a:spAutoFit/>
          </a:bodyPr>
          <a:lstStyle/>
          <a:p>
            <a:pPr>
              <a:lnSpc>
                <a:spcPct val="100000"/>
              </a:lnSpc>
              <a:spcAft>
                <a:spcPts val="600"/>
              </a:spcAft>
              <a:buSzPct val="100000"/>
            </a:pPr>
            <a:r>
              <a:rPr lang="en-US" sz="2400" dirty="0">
                <a:latin typeface="+mj-lt"/>
              </a:rPr>
              <a:t>Regulatory Guidance for Professionals </a:t>
            </a:r>
            <a:r>
              <a:rPr lang="en-US" sz="2400" dirty="0">
                <a:solidFill>
                  <a:schemeClr val="bg1"/>
                </a:solidFill>
                <a:latin typeface="+mj-lt"/>
              </a:rPr>
              <a:t> </a:t>
            </a:r>
          </a:p>
        </p:txBody>
      </p:sp>
    </p:spTree>
    <p:custDataLst>
      <p:custData r:id="rId1"/>
    </p:custDataLst>
    <p:extLst>
      <p:ext uri="{BB962C8B-B14F-4D97-AF65-F5344CB8AC3E}">
        <p14:creationId xmlns:p14="http://schemas.microsoft.com/office/powerpoint/2010/main" val="35849921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B137DBD-304A-7C03-CA0A-ABED25C7B751}"/>
              </a:ext>
            </a:extLst>
          </p:cNvPr>
          <p:cNvSpPr/>
          <p:nvPr/>
        </p:nvSpPr>
        <p:spPr bwMode="gray">
          <a:xfrm>
            <a:off x="279802" y="3443031"/>
            <a:ext cx="11380386" cy="2500570"/>
          </a:xfrm>
          <a:prstGeom prst="rect">
            <a:avLst/>
          </a:prstGeom>
          <a:solidFill>
            <a:schemeClr val="accent2"/>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12" name="Google Shape;242;p21">
            <a:extLst>
              <a:ext uri="{FF2B5EF4-FFF2-40B4-BE49-F238E27FC236}">
                <a16:creationId xmlns:a16="http://schemas.microsoft.com/office/drawing/2014/main" id="{CDDE063D-22ED-5FDD-7FF4-7D925A0A82ED}"/>
              </a:ext>
            </a:extLst>
          </p:cNvPr>
          <p:cNvSpPr/>
          <p:nvPr/>
        </p:nvSpPr>
        <p:spPr>
          <a:xfrm>
            <a:off x="279803" y="1039214"/>
            <a:ext cx="11397126" cy="2330592"/>
          </a:xfrm>
          <a:prstGeom prst="rect">
            <a:avLst/>
          </a:prstGeom>
          <a:solidFill>
            <a:srgbClr val="2D2D2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7456" tIns="127456" rIns="127456" bIns="127456" numCol="1" spcCol="1270" anchor="ctr" anchorCtr="0">
            <a:noAutofit/>
          </a:bodyPr>
          <a:lstStyle/>
          <a:p>
            <a:pPr defTabSz="666750">
              <a:spcBef>
                <a:spcPct val="0"/>
              </a:spcBef>
              <a:spcAft>
                <a:spcPct val="35000"/>
              </a:spcAft>
            </a:pPr>
            <a:endParaRPr lang="en-US" sz="1400" dirty="0">
              <a:solidFill>
                <a:schemeClr val="bg1"/>
              </a:solidFill>
            </a:endParaRPr>
          </a:p>
        </p:txBody>
      </p:sp>
      <p:sp>
        <p:nvSpPr>
          <p:cNvPr id="2" name="Content Placeholder 1">
            <a:extLst>
              <a:ext uri="{FF2B5EF4-FFF2-40B4-BE49-F238E27FC236}">
                <a16:creationId xmlns:a16="http://schemas.microsoft.com/office/drawing/2014/main" id="{99C4C76B-D21A-4672-8490-AE4BBEAEB3F2}"/>
              </a:ext>
            </a:extLst>
          </p:cNvPr>
          <p:cNvSpPr>
            <a:spLocks noGrp="1"/>
          </p:cNvSpPr>
          <p:nvPr>
            <p:ph idx="1"/>
          </p:nvPr>
        </p:nvSpPr>
        <p:spPr>
          <a:xfrm>
            <a:off x="370753" y="1305550"/>
            <a:ext cx="11306175" cy="5095250"/>
          </a:xfrm>
        </p:spPr>
        <p:txBody>
          <a:bodyPr/>
          <a:lstStyle/>
          <a:p>
            <a:pPr marL="285750" indent="-285750">
              <a:buFont typeface="Arial" panose="020B0604020202020204" pitchFamily="34" charset="0"/>
              <a:buChar char="•"/>
            </a:pPr>
            <a:r>
              <a:rPr lang="en-US" sz="1400" dirty="0">
                <a:solidFill>
                  <a:schemeClr val="bg1"/>
                </a:solidFill>
              </a:rPr>
              <a:t>Institute of Chartered Accountants of India, Institute of Company Secretaries of India and Institute of Cost Accountants of India are all Statutory Self Regulatory Bodies which regulate the respective professions in India.</a:t>
            </a:r>
          </a:p>
          <a:p>
            <a:pPr marL="285750" indent="-285750">
              <a:buFont typeface="Arial" panose="020B0604020202020204" pitchFamily="34" charset="0"/>
              <a:buChar char="•"/>
            </a:pPr>
            <a:r>
              <a:rPr lang="en-US" sz="1400" dirty="0">
                <a:solidFill>
                  <a:schemeClr val="bg1"/>
                </a:solidFill>
                <a:ea typeface="Arial" panose="020B0604020202020204" pitchFamily="34" charset="0"/>
                <a:cs typeface="Times New Roman" panose="02020603050405020304" pitchFamily="18" charset="0"/>
              </a:rPr>
              <a:t>Each of the Institutes are tasked with the responsibility of registering, licencing and regulating the professionals who are members of the Institute.</a:t>
            </a:r>
          </a:p>
          <a:p>
            <a:pPr marL="285750" indent="-285750">
              <a:buFont typeface="Arial" panose="020B0604020202020204" pitchFamily="34" charset="0"/>
              <a:buChar char="•"/>
            </a:pPr>
            <a:r>
              <a:rPr lang="en-US" sz="1400" dirty="0">
                <a:solidFill>
                  <a:schemeClr val="bg1"/>
                </a:solidFill>
                <a:ea typeface="Arial" panose="020B0604020202020204" pitchFamily="34" charset="0"/>
                <a:cs typeface="Times New Roman" panose="02020603050405020304" pitchFamily="18" charset="0"/>
              </a:rPr>
              <a:t>Institutes thus become “Regulator” within the meaning of PMLA read with PML Rules.</a:t>
            </a:r>
          </a:p>
          <a:p>
            <a:pPr marL="285750" indent="-285750">
              <a:buFont typeface="Arial" panose="020B0604020202020204" pitchFamily="34" charset="0"/>
              <a:buChar char="•"/>
            </a:pPr>
            <a:r>
              <a:rPr lang="en-US" sz="1400" dirty="0">
                <a:solidFill>
                  <a:schemeClr val="bg1"/>
                </a:solidFill>
                <a:ea typeface="Arial" panose="020B0604020202020204" pitchFamily="34" charset="0"/>
                <a:cs typeface="Times New Roman" panose="02020603050405020304" pitchFamily="18" charset="0"/>
              </a:rPr>
              <a:t>Regulator is required to issue guidelines under PML Rules and monitor the AML/CFT requirements cast on the reporting entities.</a:t>
            </a:r>
          </a:p>
          <a:p>
            <a:pPr marL="285750" indent="-285750">
              <a:buFont typeface="Arial" panose="020B0604020202020204" pitchFamily="34" charset="0"/>
              <a:buChar char="•"/>
            </a:pPr>
            <a:endParaRPr lang="en-US" sz="1400" dirty="0">
              <a:solidFill>
                <a:schemeClr val="bg1"/>
              </a:solidFill>
              <a:ea typeface="Arial" panose="020B0604020202020204" pitchFamily="34" charset="0"/>
              <a:cs typeface="Times New Roman" panose="02020603050405020304" pitchFamily="18" charset="0"/>
            </a:endParaRPr>
          </a:p>
          <a:p>
            <a:pPr marL="285750" indent="-285750">
              <a:buFont typeface="Arial" panose="020B0604020202020204" pitchFamily="34" charset="0"/>
              <a:buChar char="•"/>
            </a:pPr>
            <a:endParaRPr lang="en-US" sz="1400" dirty="0">
              <a:solidFill>
                <a:schemeClr val="bg1"/>
              </a:solidFill>
              <a:ea typeface="Arial" panose="020B0604020202020204" pitchFamily="34" charset="0"/>
              <a:cs typeface="Times New Roman" panose="02020603050405020304" pitchFamily="18" charset="0"/>
            </a:endParaRPr>
          </a:p>
          <a:p>
            <a:pPr marL="285750" indent="-285750">
              <a:buFont typeface="Arial" panose="020B0604020202020204" pitchFamily="34" charset="0"/>
              <a:buChar char="•"/>
            </a:pPr>
            <a:endParaRPr lang="en-US" sz="1400" dirty="0">
              <a:solidFill>
                <a:schemeClr val="bg1"/>
              </a:solidFill>
              <a:ea typeface="Arial" panose="020B0604020202020204" pitchFamily="34" charset="0"/>
              <a:cs typeface="Times New Roman" panose="02020603050405020304" pitchFamily="18" charset="0"/>
            </a:endParaRPr>
          </a:p>
          <a:p>
            <a:pPr marL="285750" indent="-285750">
              <a:buFont typeface="Arial" panose="020B0604020202020204" pitchFamily="34" charset="0"/>
              <a:buChar char="•"/>
            </a:pPr>
            <a:r>
              <a:rPr lang="en-US" sz="1400" dirty="0">
                <a:ea typeface="Arial" panose="020B0604020202020204" pitchFamily="34" charset="0"/>
                <a:cs typeface="Times New Roman" panose="02020603050405020304" pitchFamily="18" charset="0"/>
              </a:rPr>
              <a:t>The Regulator in this case the Institutes are required to carry out a risk assessment of the professional set up in the Country and assess the risks and formulate measures for combating the risks.</a:t>
            </a:r>
          </a:p>
          <a:p>
            <a:pPr marL="285750" indent="-285750">
              <a:buFont typeface="Arial" panose="020B0604020202020204" pitchFamily="34" charset="0"/>
              <a:buChar char="•"/>
            </a:pPr>
            <a:r>
              <a:rPr lang="en-US" sz="1400" dirty="0">
                <a:ea typeface="Arial" panose="020B0604020202020204" pitchFamily="34" charset="0"/>
                <a:cs typeface="Times New Roman" panose="02020603050405020304" pitchFamily="18" charset="0"/>
              </a:rPr>
              <a:t>Conduct risk based assessment of its members at periodic intervals and provide feedback to its members generally and specifically about the AML/CFT measures required to be put in place.</a:t>
            </a:r>
          </a:p>
          <a:p>
            <a:pPr marL="285750" indent="-285750">
              <a:buFont typeface="Arial" panose="020B0604020202020204" pitchFamily="34" charset="0"/>
              <a:buChar char="•"/>
            </a:pPr>
            <a:r>
              <a:rPr lang="en-US" sz="1400" dirty="0">
                <a:ea typeface="Arial" panose="020B0604020202020204" pitchFamily="34" charset="0"/>
                <a:cs typeface="Times New Roman" panose="02020603050405020304" pitchFamily="18" charset="0"/>
              </a:rPr>
              <a:t>Have the powers to supervise and levy sanctions for violation of reporting requirements under PMLA and PML Rules.</a:t>
            </a:r>
          </a:p>
          <a:p>
            <a:pPr marL="285750" indent="-285750">
              <a:buFont typeface="Arial" panose="020B0604020202020204" pitchFamily="34" charset="0"/>
              <a:buChar char="•"/>
            </a:pPr>
            <a:endParaRPr lang="en-US" sz="1400" dirty="0">
              <a:solidFill>
                <a:schemeClr val="bg1"/>
              </a:solidFill>
              <a:ea typeface="Arial" panose="020B0604020202020204" pitchFamily="34" charset="0"/>
              <a:cs typeface="Times New Roman" panose="02020603050405020304" pitchFamily="18" charset="0"/>
            </a:endParaRPr>
          </a:p>
          <a:p>
            <a:pPr marL="0" indent="0">
              <a:buNone/>
            </a:pPr>
            <a:endParaRPr lang="en-US" dirty="0"/>
          </a:p>
        </p:txBody>
      </p:sp>
      <p:sp>
        <p:nvSpPr>
          <p:cNvPr id="4" name="Slide Number Placeholder 3">
            <a:extLst>
              <a:ext uri="{FF2B5EF4-FFF2-40B4-BE49-F238E27FC236}">
                <a16:creationId xmlns:a16="http://schemas.microsoft.com/office/drawing/2014/main" id="{39F364BE-73DD-4D59-9674-BC245F6DC6C5}"/>
              </a:ext>
            </a:extLst>
          </p:cNvPr>
          <p:cNvSpPr>
            <a:spLocks noGrp="1"/>
          </p:cNvSpPr>
          <p:nvPr>
            <p:ph type="sldNum" sz="quarter" idx="11"/>
          </p:nvPr>
        </p:nvSpPr>
        <p:spPr/>
        <p:txBody>
          <a:bodyPr/>
          <a:lstStyle/>
          <a:p>
            <a:fld id="{7870704B-CE94-48CC-AF30-84932A1262A7}" type="slidenum">
              <a:rPr lang="en-GB" smtClean="0"/>
              <a:pPr/>
              <a:t>14</a:t>
            </a:fld>
            <a:endParaRPr lang="en-GB" dirty="0"/>
          </a:p>
        </p:txBody>
      </p:sp>
      <p:sp>
        <p:nvSpPr>
          <p:cNvPr id="7" name="Rectangle 6">
            <a:extLst>
              <a:ext uri="{FF2B5EF4-FFF2-40B4-BE49-F238E27FC236}">
                <a16:creationId xmlns:a16="http://schemas.microsoft.com/office/drawing/2014/main" id="{0DEDE84D-1C90-76E5-5C20-B71842A463E2}"/>
              </a:ext>
            </a:extLst>
          </p:cNvPr>
          <p:cNvSpPr/>
          <p:nvPr/>
        </p:nvSpPr>
        <p:spPr bwMode="gray">
          <a:xfrm>
            <a:off x="0" y="0"/>
            <a:ext cx="12192000" cy="137160"/>
          </a:xfrm>
          <a:prstGeom prst="rect">
            <a:avLst/>
          </a:prstGeom>
          <a:solidFill>
            <a:schemeClr val="accent3"/>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13" name="TextBox 12">
            <a:extLst>
              <a:ext uri="{FF2B5EF4-FFF2-40B4-BE49-F238E27FC236}">
                <a16:creationId xmlns:a16="http://schemas.microsoft.com/office/drawing/2014/main" id="{45BA06E1-3F09-4F8E-92FD-E79534CA459A}"/>
              </a:ext>
            </a:extLst>
          </p:cNvPr>
          <p:cNvSpPr txBox="1"/>
          <p:nvPr/>
        </p:nvSpPr>
        <p:spPr>
          <a:xfrm>
            <a:off x="533400" y="395018"/>
            <a:ext cx="6019800" cy="369332"/>
          </a:xfrm>
          <a:prstGeom prst="rect">
            <a:avLst/>
          </a:prstGeom>
          <a:noFill/>
        </p:spPr>
        <p:txBody>
          <a:bodyPr wrap="square" lIns="0" tIns="0" rIns="0" bIns="0" rtlCol="0">
            <a:spAutoFit/>
          </a:bodyPr>
          <a:lstStyle/>
          <a:p>
            <a:pPr>
              <a:lnSpc>
                <a:spcPct val="100000"/>
              </a:lnSpc>
              <a:spcAft>
                <a:spcPts val="600"/>
              </a:spcAft>
              <a:buSzPct val="100000"/>
            </a:pPr>
            <a:r>
              <a:rPr lang="en-US" sz="2400" dirty="0">
                <a:latin typeface="+mj-lt"/>
              </a:rPr>
              <a:t>Regulator’s Role </a:t>
            </a:r>
            <a:r>
              <a:rPr lang="en-US" sz="2400" dirty="0">
                <a:solidFill>
                  <a:schemeClr val="bg1"/>
                </a:solidFill>
                <a:latin typeface="+mj-lt"/>
              </a:rPr>
              <a:t> </a:t>
            </a:r>
          </a:p>
        </p:txBody>
      </p:sp>
    </p:spTree>
    <p:custDataLst>
      <p:custData r:id="rId1"/>
    </p:custDataLst>
    <p:extLst>
      <p:ext uri="{BB962C8B-B14F-4D97-AF65-F5344CB8AC3E}">
        <p14:creationId xmlns:p14="http://schemas.microsoft.com/office/powerpoint/2010/main" val="8285258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CB137DBD-304A-7C03-CA0A-ABED25C7B751}"/>
              </a:ext>
            </a:extLst>
          </p:cNvPr>
          <p:cNvSpPr/>
          <p:nvPr/>
        </p:nvSpPr>
        <p:spPr bwMode="gray">
          <a:xfrm>
            <a:off x="279802" y="3443031"/>
            <a:ext cx="11380386" cy="2500570"/>
          </a:xfrm>
          <a:prstGeom prst="rect">
            <a:avLst/>
          </a:prstGeom>
          <a:solidFill>
            <a:schemeClr val="accent2"/>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12" name="Google Shape;242;p21">
            <a:extLst>
              <a:ext uri="{FF2B5EF4-FFF2-40B4-BE49-F238E27FC236}">
                <a16:creationId xmlns:a16="http://schemas.microsoft.com/office/drawing/2014/main" id="{CDDE063D-22ED-5FDD-7FF4-7D925A0A82ED}"/>
              </a:ext>
            </a:extLst>
          </p:cNvPr>
          <p:cNvSpPr/>
          <p:nvPr/>
        </p:nvSpPr>
        <p:spPr>
          <a:xfrm>
            <a:off x="309562" y="1039214"/>
            <a:ext cx="11395075" cy="2330592"/>
          </a:xfrm>
          <a:prstGeom prst="rect">
            <a:avLst/>
          </a:prstGeom>
          <a:solidFill>
            <a:srgbClr val="2D2D2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7456" tIns="127456" rIns="127456" bIns="127456" numCol="1" spcCol="1270" anchor="ctr" anchorCtr="0">
            <a:noAutofit/>
          </a:bodyPr>
          <a:lstStyle/>
          <a:p>
            <a:pPr defTabSz="666750">
              <a:spcBef>
                <a:spcPct val="0"/>
              </a:spcBef>
              <a:spcAft>
                <a:spcPct val="35000"/>
              </a:spcAft>
            </a:pPr>
            <a:endParaRPr lang="en-US" sz="1400" dirty="0">
              <a:solidFill>
                <a:schemeClr val="bg1"/>
              </a:solidFill>
            </a:endParaRPr>
          </a:p>
        </p:txBody>
      </p:sp>
      <p:sp>
        <p:nvSpPr>
          <p:cNvPr id="2" name="Content Placeholder 1">
            <a:extLst>
              <a:ext uri="{FF2B5EF4-FFF2-40B4-BE49-F238E27FC236}">
                <a16:creationId xmlns:a16="http://schemas.microsoft.com/office/drawing/2014/main" id="{99C4C76B-D21A-4672-8490-AE4BBEAEB3F2}"/>
              </a:ext>
            </a:extLst>
          </p:cNvPr>
          <p:cNvSpPr>
            <a:spLocks noGrp="1"/>
          </p:cNvSpPr>
          <p:nvPr>
            <p:ph idx="1"/>
          </p:nvPr>
        </p:nvSpPr>
        <p:spPr>
          <a:xfrm>
            <a:off x="370753" y="1305550"/>
            <a:ext cx="11306175" cy="5095250"/>
          </a:xfrm>
        </p:spPr>
        <p:txBody>
          <a:bodyPr/>
          <a:lstStyle/>
          <a:p>
            <a:pPr marL="285750" indent="-285750">
              <a:buFont typeface="Arial" panose="020B0604020202020204" pitchFamily="34" charset="0"/>
              <a:buChar char="•"/>
            </a:pPr>
            <a:r>
              <a:rPr lang="en-US" sz="1400" dirty="0">
                <a:solidFill>
                  <a:schemeClr val="bg1"/>
                </a:solidFill>
              </a:rPr>
              <a:t>Institute of Chartered Accountants of India has issued </a:t>
            </a:r>
            <a:r>
              <a:rPr lang="en-GB" sz="1400" dirty="0">
                <a:solidFill>
                  <a:schemeClr val="bg1"/>
                </a:solidFill>
              </a:rPr>
              <a:t>Know Your Customer Norms w.e.f. 1st January 2017  for its practicing members to be applied for their clients, when they render Management Consultancy and other Services. </a:t>
            </a:r>
          </a:p>
          <a:p>
            <a:pPr marL="285750" indent="-285750">
              <a:buFont typeface="Arial" panose="020B0604020202020204" pitchFamily="34" charset="0"/>
              <a:buChar char="•"/>
            </a:pPr>
            <a:r>
              <a:rPr lang="en-GB" sz="1400" dirty="0">
                <a:solidFill>
                  <a:schemeClr val="bg1"/>
                </a:solidFill>
              </a:rPr>
              <a:t>They have to generate UDIN for every financial statement related to financial audit of the company through the system developed by the ICAI. </a:t>
            </a:r>
          </a:p>
          <a:p>
            <a:pPr marL="285750" indent="-285750">
              <a:buFont typeface="Arial" panose="020B0604020202020204" pitchFamily="34" charset="0"/>
              <a:buChar char="•"/>
            </a:pPr>
            <a:r>
              <a:rPr lang="en-GB" sz="1400" dirty="0">
                <a:solidFill>
                  <a:schemeClr val="bg1"/>
                </a:solidFill>
              </a:rPr>
              <a:t>Further, The Disciplinary Board is appointed by the Central Government for taking disciplinary action the CA. The ICAI has also issued a Code of Ethics for its members including Chartered Accountants. The definition of misconduct provided therein is wide enough to cover violation of money-laundering laws. </a:t>
            </a:r>
            <a:endParaRPr lang="en-US" sz="1400" dirty="0">
              <a:solidFill>
                <a:schemeClr val="bg1"/>
              </a:solidFill>
              <a:ea typeface="Arial" panose="020B0604020202020204" pitchFamily="34" charset="0"/>
              <a:cs typeface="Times New Roman" panose="02020603050405020304" pitchFamily="18" charset="0"/>
            </a:endParaRPr>
          </a:p>
          <a:p>
            <a:pPr marL="285750" indent="-285750">
              <a:buFont typeface="Arial" panose="020B0604020202020204" pitchFamily="34" charset="0"/>
              <a:buChar char="•"/>
            </a:pPr>
            <a:endParaRPr lang="en-US" sz="1400" dirty="0">
              <a:solidFill>
                <a:schemeClr val="bg1"/>
              </a:solidFill>
              <a:ea typeface="Arial" panose="020B0604020202020204" pitchFamily="34" charset="0"/>
              <a:cs typeface="Times New Roman" panose="02020603050405020304" pitchFamily="18" charset="0"/>
            </a:endParaRPr>
          </a:p>
          <a:p>
            <a:pPr marL="285750" indent="-285750">
              <a:buFont typeface="Arial" panose="020B0604020202020204" pitchFamily="34" charset="0"/>
              <a:buChar char="•"/>
            </a:pPr>
            <a:endParaRPr lang="en-US" sz="1400" dirty="0">
              <a:solidFill>
                <a:schemeClr val="bg1"/>
              </a:solidFill>
              <a:ea typeface="Arial" panose="020B0604020202020204" pitchFamily="34" charset="0"/>
              <a:cs typeface="Times New Roman" panose="02020603050405020304" pitchFamily="18" charset="0"/>
            </a:endParaRPr>
          </a:p>
          <a:p>
            <a:pPr marL="285750" indent="-285750">
              <a:buFont typeface="Arial" panose="020B0604020202020204" pitchFamily="34" charset="0"/>
              <a:buChar char="•"/>
            </a:pPr>
            <a:endParaRPr lang="en-US" sz="1400" dirty="0">
              <a:ea typeface="Arial" panose="020B0604020202020204" pitchFamily="34" charset="0"/>
              <a:cs typeface="Times New Roman" panose="02020603050405020304" pitchFamily="18" charset="0"/>
            </a:endParaRPr>
          </a:p>
          <a:p>
            <a:pPr marL="285750" indent="-285750">
              <a:buFont typeface="Arial" panose="020B0604020202020204" pitchFamily="34" charset="0"/>
              <a:buChar char="•"/>
            </a:pPr>
            <a:r>
              <a:rPr lang="en-GB" sz="1400" dirty="0">
                <a:ea typeface="Arial" panose="020B0604020202020204" pitchFamily="34" charset="0"/>
                <a:cs typeface="Times New Roman" panose="02020603050405020304" pitchFamily="18" charset="0"/>
              </a:rPr>
              <a:t>The Institute of Company Secretaries of India (ICSI) has issued an advisory dated 13th December 2022 to all its members for observing compliance to various applicable FATF Recommendations. </a:t>
            </a:r>
          </a:p>
          <a:p>
            <a:pPr marL="285750" indent="-285750">
              <a:buFont typeface="Arial" panose="020B0604020202020204" pitchFamily="34" charset="0"/>
              <a:buChar char="•"/>
            </a:pPr>
            <a:r>
              <a:rPr lang="en-GB" sz="1400" dirty="0">
                <a:ea typeface="Arial" panose="020B0604020202020204" pitchFamily="34" charset="0"/>
                <a:cs typeface="Times New Roman" panose="02020603050405020304" pitchFamily="18" charset="0"/>
              </a:rPr>
              <a:t>Further, The Disciplinary Board is appointed by the Central Government for taking disciplinary action the CS. The ICSI has also issued a Code of Ethics for its members. The definition of misconduct provided therein is wide enough to cover violation of money-laundering laws.</a:t>
            </a:r>
            <a:endParaRPr lang="en-US" sz="1400" dirty="0">
              <a:ea typeface="Arial" panose="020B060402020202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39F364BE-73DD-4D59-9674-BC245F6DC6C5}"/>
              </a:ext>
            </a:extLst>
          </p:cNvPr>
          <p:cNvSpPr>
            <a:spLocks noGrp="1"/>
          </p:cNvSpPr>
          <p:nvPr>
            <p:ph type="sldNum" sz="quarter" idx="11"/>
          </p:nvPr>
        </p:nvSpPr>
        <p:spPr/>
        <p:txBody>
          <a:bodyPr/>
          <a:lstStyle/>
          <a:p>
            <a:fld id="{7870704B-CE94-48CC-AF30-84932A1262A7}" type="slidenum">
              <a:rPr lang="en-GB" smtClean="0"/>
              <a:pPr/>
              <a:t>15</a:t>
            </a:fld>
            <a:endParaRPr lang="en-GB" dirty="0"/>
          </a:p>
        </p:txBody>
      </p:sp>
      <p:sp>
        <p:nvSpPr>
          <p:cNvPr id="7" name="Rectangle 6">
            <a:extLst>
              <a:ext uri="{FF2B5EF4-FFF2-40B4-BE49-F238E27FC236}">
                <a16:creationId xmlns:a16="http://schemas.microsoft.com/office/drawing/2014/main" id="{0DEDE84D-1C90-76E5-5C20-B71842A463E2}"/>
              </a:ext>
            </a:extLst>
          </p:cNvPr>
          <p:cNvSpPr/>
          <p:nvPr/>
        </p:nvSpPr>
        <p:spPr bwMode="gray">
          <a:xfrm>
            <a:off x="0" y="0"/>
            <a:ext cx="12192000" cy="137160"/>
          </a:xfrm>
          <a:prstGeom prst="rect">
            <a:avLst/>
          </a:prstGeom>
          <a:solidFill>
            <a:schemeClr val="accent3"/>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13" name="TextBox 12">
            <a:extLst>
              <a:ext uri="{FF2B5EF4-FFF2-40B4-BE49-F238E27FC236}">
                <a16:creationId xmlns:a16="http://schemas.microsoft.com/office/drawing/2014/main" id="{45BA06E1-3F09-4F8E-92FD-E79534CA459A}"/>
              </a:ext>
            </a:extLst>
          </p:cNvPr>
          <p:cNvSpPr txBox="1"/>
          <p:nvPr/>
        </p:nvSpPr>
        <p:spPr>
          <a:xfrm>
            <a:off x="533400" y="395018"/>
            <a:ext cx="6019800" cy="369332"/>
          </a:xfrm>
          <a:prstGeom prst="rect">
            <a:avLst/>
          </a:prstGeom>
          <a:noFill/>
        </p:spPr>
        <p:txBody>
          <a:bodyPr wrap="square" lIns="0" tIns="0" rIns="0" bIns="0" rtlCol="0">
            <a:spAutoFit/>
          </a:bodyPr>
          <a:lstStyle/>
          <a:p>
            <a:pPr>
              <a:lnSpc>
                <a:spcPct val="100000"/>
              </a:lnSpc>
              <a:spcAft>
                <a:spcPts val="600"/>
              </a:spcAft>
              <a:buSzPct val="100000"/>
            </a:pPr>
            <a:r>
              <a:rPr lang="en-US" sz="2400" dirty="0">
                <a:latin typeface="+mj-lt"/>
              </a:rPr>
              <a:t>Regulator’s Role </a:t>
            </a:r>
            <a:r>
              <a:rPr lang="en-US" sz="2400" dirty="0">
                <a:solidFill>
                  <a:schemeClr val="bg1"/>
                </a:solidFill>
                <a:latin typeface="+mj-lt"/>
              </a:rPr>
              <a:t> </a:t>
            </a:r>
          </a:p>
        </p:txBody>
      </p:sp>
    </p:spTree>
    <p:custDataLst>
      <p:custData r:id="rId1"/>
    </p:custDataLst>
    <p:extLst>
      <p:ext uri="{BB962C8B-B14F-4D97-AF65-F5344CB8AC3E}">
        <p14:creationId xmlns:p14="http://schemas.microsoft.com/office/powerpoint/2010/main" val="7341307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F900F07-FDDD-942D-9E6C-BF420082F3B6}"/>
              </a:ext>
            </a:extLst>
          </p:cNvPr>
          <p:cNvSpPr>
            <a:spLocks noGrp="1"/>
          </p:cNvSpPr>
          <p:nvPr>
            <p:ph type="title"/>
          </p:nvPr>
        </p:nvSpPr>
        <p:spPr>
          <a:xfrm>
            <a:off x="404056" y="314981"/>
            <a:ext cx="11306175" cy="766461"/>
          </a:xfrm>
        </p:spPr>
        <p:txBody>
          <a:bodyPr vert="horz" lIns="0" tIns="0" rIns="0" bIns="0" rtlCol="0" anchor="t" anchorCtr="0">
            <a:normAutofit/>
          </a:bodyPr>
          <a:lstStyle/>
          <a:p>
            <a:pPr lvl="0">
              <a:defRPr/>
            </a:pPr>
            <a:r>
              <a:rPr lang="en-US" sz="2800" dirty="0">
                <a:solidFill>
                  <a:srgbClr val="000000"/>
                </a:solidFill>
                <a:latin typeface="Georgia"/>
                <a:ea typeface="Georgia"/>
                <a:cs typeface="Georgia"/>
                <a:sym typeface="Georgia"/>
              </a:rPr>
              <a:t>Risks &amp; Consequences of regulatory non-compliance for reporting entities </a:t>
            </a:r>
          </a:p>
        </p:txBody>
      </p:sp>
      <p:sp>
        <p:nvSpPr>
          <p:cNvPr id="4" name="Slide Number Placeholder 3">
            <a:extLst>
              <a:ext uri="{FF2B5EF4-FFF2-40B4-BE49-F238E27FC236}">
                <a16:creationId xmlns:a16="http://schemas.microsoft.com/office/drawing/2014/main" id="{447C024C-9670-9C92-2B9A-5400F0BADC80}"/>
              </a:ext>
            </a:extLst>
          </p:cNvPr>
          <p:cNvSpPr>
            <a:spLocks noGrp="1"/>
          </p:cNvSpPr>
          <p:nvPr>
            <p:ph type="sldNum" sz="quarter" idx="15"/>
          </p:nvPr>
        </p:nvSpPr>
        <p:spPr/>
        <p:txBody>
          <a:bodyPr/>
          <a:lstStyle/>
          <a:p>
            <a:fld id="{7870704B-CE94-48CC-AF30-84932A1262A7}" type="slidenum">
              <a:rPr lang="en-GB" smtClean="0">
                <a:latin typeface="Arial" panose="020B0604020202020204" pitchFamily="34" charset="0"/>
                <a:cs typeface="Arial" panose="020B0604020202020204" pitchFamily="34" charset="0"/>
              </a:rPr>
              <a:pPr/>
              <a:t>16</a:t>
            </a:fld>
            <a:endParaRPr lang="en-GB" dirty="0">
              <a:latin typeface="Arial" panose="020B060402020202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5A0964BE-14A0-98C1-7E7F-0719AD04AC84}"/>
              </a:ext>
            </a:extLst>
          </p:cNvPr>
          <p:cNvGrpSpPr/>
          <p:nvPr/>
        </p:nvGrpSpPr>
        <p:grpSpPr>
          <a:xfrm>
            <a:off x="822494" y="1624429"/>
            <a:ext cx="10522624" cy="3176171"/>
            <a:chOff x="504047" y="938628"/>
            <a:chExt cx="10522624" cy="3176171"/>
          </a:xfrm>
        </p:grpSpPr>
        <p:sp>
          <p:nvSpPr>
            <p:cNvPr id="8" name="Google Shape;852;p16">
              <a:extLst>
                <a:ext uri="{FF2B5EF4-FFF2-40B4-BE49-F238E27FC236}">
                  <a16:creationId xmlns:a16="http://schemas.microsoft.com/office/drawing/2014/main" id="{401506E4-121A-F57B-3CB1-9090A52FEF92}"/>
                </a:ext>
              </a:extLst>
            </p:cNvPr>
            <p:cNvSpPr txBox="1"/>
            <p:nvPr/>
          </p:nvSpPr>
          <p:spPr>
            <a:xfrm>
              <a:off x="504047" y="1918241"/>
              <a:ext cx="2722804" cy="2196557"/>
            </a:xfrm>
            <a:prstGeom prst="rect">
              <a:avLst/>
            </a:prstGeom>
            <a:noFill/>
            <a:ln w="6350" cap="flat" cmpd="sng">
              <a:solidFill>
                <a:schemeClr val="tx1"/>
              </a:solidFill>
              <a:prstDash val="solid"/>
              <a:round/>
              <a:headEnd type="none" w="sm" len="sm"/>
              <a:tailEnd type="none" w="sm" len="sm"/>
            </a:ln>
          </p:spPr>
          <p:txBody>
            <a:bodyPr spcFirstLastPara="1" wrap="square" lIns="91440" tIns="274320" rIns="91440" bIns="91440" anchor="t" anchorCtr="0">
              <a:noAutofit/>
            </a:bodyPr>
            <a:lstStyle/>
            <a:p>
              <a:pPr marL="182880" marR="0" lvl="0" indent="-182880" algn="l" rtl="0">
                <a:spcAft>
                  <a:spcPts val="200"/>
                </a:spcAft>
                <a:buClr>
                  <a:schemeClr val="dk1"/>
                </a:buClr>
                <a:buSzPct val="100000"/>
                <a:buFont typeface="Arial"/>
                <a:buChar char="•"/>
              </a:pPr>
              <a:r>
                <a:rPr lang="en-US" sz="1200" dirty="0">
                  <a:solidFill>
                    <a:schemeClr val="dk1"/>
                  </a:solidFill>
                  <a:latin typeface="Arial" panose="020B0604020202020204" pitchFamily="34" charset="0"/>
                  <a:ea typeface="Arial"/>
                  <a:cs typeface="Arial" panose="020B0604020202020204" pitchFamily="34" charset="0"/>
                  <a:sym typeface="Arial"/>
                </a:rPr>
                <a:t>Loss of Revenue</a:t>
              </a:r>
            </a:p>
            <a:p>
              <a:pPr marL="182880" marR="0" lvl="0" indent="-182880" algn="l" rtl="0">
                <a:spcAft>
                  <a:spcPts val="200"/>
                </a:spcAft>
                <a:buClr>
                  <a:schemeClr val="dk1"/>
                </a:buClr>
                <a:buSzPct val="100000"/>
                <a:buFont typeface="Arial"/>
                <a:buChar char="•"/>
              </a:pPr>
              <a:r>
                <a:rPr lang="en-US" sz="1200" dirty="0">
                  <a:solidFill>
                    <a:schemeClr val="dk1"/>
                  </a:solidFill>
                  <a:latin typeface="Arial" panose="020B0604020202020204" pitchFamily="34" charset="0"/>
                  <a:ea typeface="Arial"/>
                  <a:cs typeface="Arial" panose="020B0604020202020204" pitchFamily="34" charset="0"/>
                  <a:sym typeface="Arial"/>
                </a:rPr>
                <a:t>Loss of customer trust </a:t>
              </a:r>
            </a:p>
            <a:p>
              <a:pPr marL="182880" marR="0" lvl="0" indent="-182880" algn="l" rtl="0">
                <a:spcAft>
                  <a:spcPts val="200"/>
                </a:spcAft>
                <a:buClr>
                  <a:schemeClr val="dk1"/>
                </a:buClr>
                <a:buSzPct val="100000"/>
                <a:buFont typeface="Arial"/>
                <a:buChar char="•"/>
              </a:pPr>
              <a:r>
                <a:rPr lang="en-US" sz="1200" dirty="0">
                  <a:solidFill>
                    <a:schemeClr val="dk1"/>
                  </a:solidFill>
                  <a:latin typeface="Arial" panose="020B0604020202020204" pitchFamily="34" charset="0"/>
                  <a:ea typeface="Arial"/>
                  <a:cs typeface="Arial" panose="020B0604020202020204" pitchFamily="34" charset="0"/>
                  <a:sym typeface="Arial"/>
                </a:rPr>
                <a:t>Loss of Business Partners</a:t>
              </a:r>
            </a:p>
            <a:p>
              <a:pPr marL="182880" indent="-182880" fontAlgn="auto">
                <a:lnSpc>
                  <a:spcPct val="100000"/>
                </a:lnSpc>
                <a:spcBef>
                  <a:spcPts val="0"/>
                </a:spcBef>
                <a:spcAft>
                  <a:spcPts val="200"/>
                </a:spcAft>
                <a:buClr>
                  <a:schemeClr val="dk1"/>
                </a:buClr>
                <a:buSzPct val="100000"/>
                <a:buFont typeface="Arial"/>
                <a:buChar char="•"/>
                <a:tabLst/>
                <a:defRPr/>
              </a:pPr>
              <a:r>
                <a:rPr lang="en-US" sz="1200" dirty="0">
                  <a:solidFill>
                    <a:schemeClr val="dk1"/>
                  </a:solidFill>
                  <a:latin typeface="Arial" panose="020B0604020202020204" pitchFamily="34" charset="0"/>
                  <a:cs typeface="Arial" panose="020B0604020202020204" pitchFamily="34" charset="0"/>
                </a:rPr>
                <a:t>Fines of large value on the entity &amp; employees</a:t>
              </a:r>
            </a:p>
            <a:p>
              <a:pPr marL="182880" indent="-182880" fontAlgn="auto">
                <a:lnSpc>
                  <a:spcPct val="100000"/>
                </a:lnSpc>
                <a:spcBef>
                  <a:spcPts val="0"/>
                </a:spcBef>
                <a:spcAft>
                  <a:spcPts val="200"/>
                </a:spcAft>
                <a:buClr>
                  <a:schemeClr val="dk1"/>
                </a:buClr>
                <a:buSzPct val="100000"/>
                <a:buFont typeface="Arial"/>
                <a:buChar char="•"/>
                <a:tabLst/>
                <a:defRPr/>
              </a:pPr>
              <a:r>
                <a:rPr lang="en-US" sz="1200" dirty="0">
                  <a:solidFill>
                    <a:schemeClr val="dk1"/>
                  </a:solidFill>
                  <a:latin typeface="Arial" panose="020B0604020202020204" pitchFamily="34" charset="0"/>
                  <a:cs typeface="Arial" panose="020B0604020202020204" pitchFamily="34" charset="0"/>
                </a:rPr>
                <a:t>Imprisonment </a:t>
              </a:r>
            </a:p>
            <a:p>
              <a:pPr marL="182880" indent="-182880" fontAlgn="auto">
                <a:lnSpc>
                  <a:spcPct val="100000"/>
                </a:lnSpc>
                <a:spcBef>
                  <a:spcPts val="0"/>
                </a:spcBef>
                <a:spcAft>
                  <a:spcPts val="200"/>
                </a:spcAft>
                <a:buClr>
                  <a:schemeClr val="dk1"/>
                </a:buClr>
                <a:buSzPct val="100000"/>
                <a:buFont typeface="Arial"/>
                <a:buChar char="•"/>
                <a:tabLst/>
                <a:defRPr/>
              </a:pPr>
              <a:r>
                <a:rPr lang="en-US" sz="1200" dirty="0">
                  <a:solidFill>
                    <a:schemeClr val="dk1"/>
                  </a:solidFill>
                  <a:latin typeface="Arial" panose="020B0604020202020204" pitchFamily="34" charset="0"/>
                  <a:cs typeface="Arial" panose="020B0604020202020204" pitchFamily="34" charset="0"/>
                </a:rPr>
                <a:t>Termination of Employees</a:t>
              </a:r>
            </a:p>
            <a:p>
              <a:pPr marL="182880" indent="-182880" fontAlgn="auto">
                <a:lnSpc>
                  <a:spcPct val="100000"/>
                </a:lnSpc>
                <a:spcBef>
                  <a:spcPts val="0"/>
                </a:spcBef>
                <a:spcAft>
                  <a:spcPts val="200"/>
                </a:spcAft>
                <a:buClr>
                  <a:schemeClr val="dk1"/>
                </a:buClr>
                <a:buSzPct val="100000"/>
                <a:buFont typeface="Arial"/>
                <a:buChar char="•"/>
                <a:tabLst/>
                <a:defRPr/>
              </a:pPr>
              <a:r>
                <a:rPr lang="en-US" sz="1200" dirty="0">
                  <a:solidFill>
                    <a:schemeClr val="dk1"/>
                  </a:solidFill>
                  <a:latin typeface="Arial" panose="020B0604020202020204" pitchFamily="34" charset="0"/>
                  <a:cs typeface="Arial" panose="020B0604020202020204" pitchFamily="34" charset="0"/>
                </a:rPr>
                <a:t>Irreparable reputational damage</a:t>
              </a:r>
            </a:p>
            <a:p>
              <a:pPr marR="0" lvl="0" algn="l" rtl="0">
                <a:spcAft>
                  <a:spcPts val="200"/>
                </a:spcAft>
                <a:buClr>
                  <a:schemeClr val="dk1"/>
                </a:buClr>
                <a:buSzPct val="100000"/>
              </a:pPr>
              <a:endParaRPr lang="en-US" sz="1200" dirty="0">
                <a:solidFill>
                  <a:schemeClr val="dk1"/>
                </a:solidFill>
                <a:latin typeface="Arial" panose="020B0604020202020204" pitchFamily="34" charset="0"/>
                <a:ea typeface="Arial"/>
                <a:cs typeface="Arial" panose="020B0604020202020204" pitchFamily="34" charset="0"/>
                <a:sym typeface="Arial"/>
              </a:endParaRPr>
            </a:p>
          </p:txBody>
        </p:sp>
        <p:sp>
          <p:nvSpPr>
            <p:cNvPr id="18" name="Google Shape;856;p16">
              <a:extLst>
                <a:ext uri="{FF2B5EF4-FFF2-40B4-BE49-F238E27FC236}">
                  <a16:creationId xmlns:a16="http://schemas.microsoft.com/office/drawing/2014/main" id="{9363C02F-7365-120A-8607-9ECC01A14FF3}"/>
                </a:ext>
              </a:extLst>
            </p:cNvPr>
            <p:cNvSpPr txBox="1"/>
            <p:nvPr/>
          </p:nvSpPr>
          <p:spPr>
            <a:xfrm>
              <a:off x="4275504" y="1911990"/>
              <a:ext cx="2850893" cy="2202809"/>
            </a:xfrm>
            <a:prstGeom prst="rect">
              <a:avLst/>
            </a:prstGeom>
            <a:noFill/>
            <a:ln w="6350" cap="flat" cmpd="sng">
              <a:solidFill>
                <a:schemeClr val="accent2"/>
              </a:solidFill>
              <a:prstDash val="solid"/>
              <a:round/>
              <a:headEnd type="none" w="sm" len="sm"/>
              <a:tailEnd type="none" w="sm" len="sm"/>
            </a:ln>
          </p:spPr>
          <p:txBody>
            <a:bodyPr spcFirstLastPara="1" wrap="square" lIns="91440" tIns="274320" rIns="91440" bIns="91440" anchor="t" anchorCtr="0">
              <a:noAutofit/>
            </a:bodyPr>
            <a:lstStyle/>
            <a:p>
              <a:pPr marL="182880" marR="0" lvl="0" indent="-182880" algn="l" rtl="0">
                <a:spcAft>
                  <a:spcPts val="200"/>
                </a:spcAft>
                <a:buClr>
                  <a:schemeClr val="dk1"/>
                </a:buClr>
                <a:buSzPct val="100000"/>
                <a:buFont typeface="Arial"/>
                <a:buChar char="•"/>
              </a:pPr>
              <a:r>
                <a:rPr lang="en-US" sz="1200" dirty="0">
                  <a:solidFill>
                    <a:schemeClr val="dk1"/>
                  </a:solidFill>
                  <a:latin typeface="Arial" panose="020B0604020202020204" pitchFamily="34" charset="0"/>
                  <a:ea typeface="Arial"/>
                  <a:cs typeface="Arial" panose="020B0604020202020204" pitchFamily="34" charset="0"/>
                  <a:sym typeface="Arial"/>
                </a:rPr>
                <a:t>Investigation by authorities</a:t>
              </a:r>
            </a:p>
            <a:p>
              <a:pPr marL="182880" marR="0" lvl="0" indent="-182880" algn="l" rtl="0">
                <a:spcAft>
                  <a:spcPts val="200"/>
                </a:spcAft>
                <a:buClr>
                  <a:schemeClr val="dk1"/>
                </a:buClr>
                <a:buSzPct val="100000"/>
                <a:buFont typeface="Arial"/>
                <a:buChar char="•"/>
              </a:pPr>
              <a:r>
                <a:rPr lang="en-US" sz="1200" dirty="0">
                  <a:solidFill>
                    <a:schemeClr val="dk1"/>
                  </a:solidFill>
                  <a:latin typeface="Arial" panose="020B0604020202020204" pitchFamily="34" charset="0"/>
                  <a:ea typeface="Arial"/>
                  <a:cs typeface="Arial" panose="020B0604020202020204" pitchFamily="34" charset="0"/>
                  <a:sym typeface="Arial"/>
                </a:rPr>
                <a:t>Dismiss of employees</a:t>
              </a:r>
            </a:p>
            <a:p>
              <a:pPr marL="182880" marR="0" lvl="0" indent="-182880" algn="l" rtl="0">
                <a:spcAft>
                  <a:spcPts val="200"/>
                </a:spcAft>
                <a:buClr>
                  <a:schemeClr val="dk1"/>
                </a:buClr>
                <a:buSzPct val="100000"/>
                <a:buFont typeface="Arial"/>
                <a:buChar char="•"/>
              </a:pPr>
              <a:r>
                <a:rPr lang="en-US" sz="1200" dirty="0">
                  <a:solidFill>
                    <a:schemeClr val="dk1"/>
                  </a:solidFill>
                  <a:latin typeface="Arial" panose="020B0604020202020204" pitchFamily="34" charset="0"/>
                  <a:ea typeface="Arial"/>
                  <a:cs typeface="Arial" panose="020B0604020202020204" pitchFamily="34" charset="0"/>
                  <a:sym typeface="Arial"/>
                </a:rPr>
                <a:t>Restitution</a:t>
              </a:r>
            </a:p>
            <a:p>
              <a:pPr marL="182880" marR="0" lvl="0" indent="-182880" algn="l" rtl="0">
                <a:spcAft>
                  <a:spcPts val="200"/>
                </a:spcAft>
                <a:buClr>
                  <a:schemeClr val="dk1"/>
                </a:buClr>
                <a:buSzPct val="100000"/>
                <a:buFont typeface="Arial"/>
                <a:buChar char="•"/>
              </a:pPr>
              <a:r>
                <a:rPr lang="en-US" sz="1200" dirty="0">
                  <a:solidFill>
                    <a:schemeClr val="dk1"/>
                  </a:solidFill>
                  <a:latin typeface="Arial" panose="020B0604020202020204" pitchFamily="34" charset="0"/>
                  <a:ea typeface="Arial"/>
                  <a:cs typeface="Arial" panose="020B0604020202020204" pitchFamily="34" charset="0"/>
                  <a:sym typeface="Arial"/>
                </a:rPr>
                <a:t>Closure of Business </a:t>
              </a:r>
            </a:p>
            <a:p>
              <a:pPr marL="171450" indent="-171450">
                <a:spcAft>
                  <a:spcPts val="200"/>
                </a:spcAft>
                <a:buClr>
                  <a:schemeClr val="dk1"/>
                </a:buClr>
                <a:buSzPct val="100000"/>
                <a:buFont typeface="Arial" panose="020B0604020202020204" pitchFamily="34" charset="0"/>
                <a:buChar char="•"/>
              </a:pPr>
              <a:r>
                <a:rPr lang="en-US" sz="1200" dirty="0">
                  <a:solidFill>
                    <a:schemeClr val="dk1"/>
                  </a:solidFill>
                  <a:latin typeface="Arial" panose="020B0604020202020204" pitchFamily="34" charset="0"/>
                  <a:ea typeface="Arial"/>
                  <a:cs typeface="Arial" panose="020B0604020202020204" pitchFamily="34" charset="0"/>
                  <a:sym typeface="Arial"/>
                </a:rPr>
                <a:t>Lawsuits and arrests against the business and Individuals </a:t>
              </a:r>
            </a:p>
            <a:p>
              <a:pPr marL="171450" indent="-171450">
                <a:spcAft>
                  <a:spcPts val="200"/>
                </a:spcAft>
                <a:buClr>
                  <a:schemeClr val="dk1"/>
                </a:buClr>
                <a:buSzPct val="100000"/>
                <a:buFont typeface="Arial" panose="020B0604020202020204" pitchFamily="34" charset="0"/>
                <a:buChar char="•"/>
              </a:pPr>
              <a:r>
                <a:rPr lang="en-US" sz="1200" dirty="0">
                  <a:solidFill>
                    <a:schemeClr val="dk1"/>
                  </a:solidFill>
                  <a:latin typeface="Arial" panose="020B0604020202020204" pitchFamily="34" charset="0"/>
                  <a:ea typeface="Arial"/>
                  <a:cs typeface="Arial" panose="020B0604020202020204" pitchFamily="34" charset="0"/>
                  <a:sym typeface="Arial"/>
                </a:rPr>
                <a:t>Possible ban on working in a specific sector</a:t>
              </a:r>
            </a:p>
            <a:p>
              <a:pPr marL="171450" indent="-171450">
                <a:spcAft>
                  <a:spcPts val="200"/>
                </a:spcAft>
                <a:buClr>
                  <a:schemeClr val="dk1"/>
                </a:buClr>
                <a:buSzPct val="100000"/>
                <a:buFont typeface="Arial" panose="020B0604020202020204" pitchFamily="34" charset="0"/>
                <a:buChar char="•"/>
              </a:pPr>
              <a:r>
                <a:rPr lang="en-US" sz="1200" dirty="0">
                  <a:solidFill>
                    <a:schemeClr val="dk1"/>
                  </a:solidFill>
                  <a:latin typeface="Arial" panose="020B0604020202020204" pitchFamily="34" charset="0"/>
                  <a:ea typeface="Arial"/>
                  <a:cs typeface="Arial" panose="020B0604020202020204" pitchFamily="34" charset="0"/>
                  <a:sym typeface="Arial"/>
                </a:rPr>
                <a:t>High value administrative penalties</a:t>
              </a:r>
            </a:p>
            <a:p>
              <a:pPr marL="182880" marR="0" lvl="0" indent="-182880" algn="l" rtl="0">
                <a:spcAft>
                  <a:spcPts val="200"/>
                </a:spcAft>
                <a:buClr>
                  <a:schemeClr val="dk1"/>
                </a:buClr>
                <a:buSzPct val="100000"/>
                <a:buFont typeface="Arial"/>
                <a:buChar char="•"/>
              </a:pPr>
              <a:endParaRPr lang="en-US" sz="1200" dirty="0">
                <a:solidFill>
                  <a:schemeClr val="dk1"/>
                </a:solidFill>
                <a:latin typeface="Arial" panose="020B0604020202020204" pitchFamily="34" charset="0"/>
                <a:ea typeface="Arial"/>
                <a:cs typeface="Arial" panose="020B0604020202020204" pitchFamily="34" charset="0"/>
                <a:sym typeface="Arial"/>
              </a:endParaRPr>
            </a:p>
            <a:p>
              <a:pPr marR="0" lvl="0" algn="l" rtl="0">
                <a:spcAft>
                  <a:spcPts val="200"/>
                </a:spcAft>
                <a:buClr>
                  <a:schemeClr val="dk1"/>
                </a:buClr>
                <a:buSzPct val="100000"/>
              </a:pPr>
              <a:endParaRPr lang="en-US" sz="1200" dirty="0">
                <a:solidFill>
                  <a:schemeClr val="dk1"/>
                </a:solidFill>
                <a:latin typeface="Arial" panose="020B0604020202020204" pitchFamily="34" charset="0"/>
                <a:ea typeface="Arial"/>
                <a:cs typeface="Arial" panose="020B0604020202020204" pitchFamily="34" charset="0"/>
                <a:sym typeface="Arial"/>
              </a:endParaRPr>
            </a:p>
          </p:txBody>
        </p:sp>
        <p:sp>
          <p:nvSpPr>
            <p:cNvPr id="27" name="Google Shape;860;p16">
              <a:extLst>
                <a:ext uri="{FF2B5EF4-FFF2-40B4-BE49-F238E27FC236}">
                  <a16:creationId xmlns:a16="http://schemas.microsoft.com/office/drawing/2014/main" id="{7FAC6B6F-C038-73A0-D09B-1868A1E710F0}"/>
                </a:ext>
              </a:extLst>
            </p:cNvPr>
            <p:cNvSpPr txBox="1"/>
            <p:nvPr/>
          </p:nvSpPr>
          <p:spPr>
            <a:xfrm>
              <a:off x="8175050" y="1855258"/>
              <a:ext cx="2821663" cy="2259541"/>
            </a:xfrm>
            <a:prstGeom prst="rect">
              <a:avLst/>
            </a:prstGeom>
            <a:noFill/>
            <a:ln w="6350" cap="flat" cmpd="sng">
              <a:solidFill>
                <a:schemeClr val="accent3"/>
              </a:solidFill>
              <a:prstDash val="solid"/>
              <a:round/>
              <a:headEnd type="none" w="sm" len="sm"/>
              <a:tailEnd type="none" w="sm" len="sm"/>
            </a:ln>
          </p:spPr>
          <p:txBody>
            <a:bodyPr spcFirstLastPara="1" wrap="square" lIns="91440" tIns="274320" rIns="91440" bIns="91440" anchor="t" anchorCtr="0">
              <a:noAutofit/>
            </a:bodyPr>
            <a:lstStyle/>
            <a:p>
              <a:pPr marL="182880" marR="0" lvl="0" indent="-182880">
                <a:spcAft>
                  <a:spcPts val="200"/>
                </a:spcAft>
                <a:buClr>
                  <a:schemeClr val="dk1"/>
                </a:buClr>
                <a:buSzPct val="100000"/>
                <a:buFont typeface="Arial"/>
                <a:buChar char="•"/>
                <a:defRPr/>
              </a:pPr>
              <a:r>
                <a:rPr lang="en-US" sz="1200" dirty="0">
                  <a:solidFill>
                    <a:schemeClr val="dk1"/>
                  </a:solidFill>
                  <a:latin typeface="Arial" panose="020B0604020202020204" pitchFamily="34" charset="0"/>
                  <a:cs typeface="Arial" panose="020B0604020202020204" pitchFamily="34" charset="0"/>
                </a:rPr>
                <a:t>Stoppage of work </a:t>
              </a:r>
            </a:p>
            <a:p>
              <a:pPr marL="182880" marR="0" lvl="0" indent="-182880">
                <a:spcAft>
                  <a:spcPts val="200"/>
                </a:spcAft>
                <a:buClr>
                  <a:schemeClr val="dk1"/>
                </a:buClr>
                <a:buSzPct val="100000"/>
                <a:buFont typeface="Arial"/>
                <a:buChar char="•"/>
                <a:defRPr/>
              </a:pPr>
              <a:r>
                <a:rPr lang="en-US" sz="1200" dirty="0">
                  <a:solidFill>
                    <a:schemeClr val="dk1"/>
                  </a:solidFill>
                  <a:latin typeface="Arial" panose="020B0604020202020204" pitchFamily="34" charset="0"/>
                  <a:cs typeface="Arial" panose="020B0604020202020204" pitchFamily="34" charset="0"/>
                </a:rPr>
                <a:t>Financial Loss </a:t>
              </a:r>
            </a:p>
            <a:p>
              <a:pPr marL="182880" indent="-182880">
                <a:spcAft>
                  <a:spcPts val="200"/>
                </a:spcAft>
                <a:buClr>
                  <a:schemeClr val="dk1"/>
                </a:buClr>
                <a:buSzPct val="100000"/>
                <a:buFont typeface="Arial"/>
                <a:buChar char="•"/>
                <a:defRPr/>
              </a:pPr>
              <a:r>
                <a:rPr lang="en-US" sz="1200" dirty="0">
                  <a:solidFill>
                    <a:schemeClr val="dk1"/>
                  </a:solidFill>
                  <a:latin typeface="Arial" panose="020B0604020202020204" pitchFamily="34" charset="0"/>
                  <a:ea typeface="Arial"/>
                  <a:cs typeface="Arial" panose="020B0604020202020204" pitchFamily="34" charset="0"/>
                  <a:sym typeface="Arial"/>
                </a:rPr>
                <a:t>Termination of business license</a:t>
              </a:r>
            </a:p>
            <a:p>
              <a:pPr marL="182880" indent="-182880">
                <a:spcAft>
                  <a:spcPts val="200"/>
                </a:spcAft>
                <a:buClr>
                  <a:schemeClr val="dk1"/>
                </a:buClr>
                <a:buSzPct val="100000"/>
                <a:buFont typeface="Arial"/>
                <a:buChar char="•"/>
                <a:defRPr/>
              </a:pPr>
              <a:r>
                <a:rPr lang="en-US" sz="1200" dirty="0">
                  <a:solidFill>
                    <a:schemeClr val="dk1"/>
                  </a:solidFill>
                  <a:latin typeface="Arial" panose="020B0604020202020204" pitchFamily="34" charset="0"/>
                  <a:ea typeface="Arial"/>
                  <a:cs typeface="Arial" panose="020B0604020202020204" pitchFamily="34" charset="0"/>
                  <a:sym typeface="Arial"/>
                </a:rPr>
                <a:t>Closure of Business </a:t>
              </a:r>
            </a:p>
            <a:p>
              <a:pPr marL="182880" marR="0" lvl="0" indent="-182880">
                <a:spcAft>
                  <a:spcPts val="200"/>
                </a:spcAft>
                <a:buClr>
                  <a:schemeClr val="dk1"/>
                </a:buClr>
                <a:buSzPct val="100000"/>
                <a:buFont typeface="Arial"/>
                <a:buChar char="•"/>
                <a:defRPr/>
              </a:pPr>
              <a:endParaRPr lang="en-US" sz="1200" dirty="0">
                <a:solidFill>
                  <a:schemeClr val="dk1"/>
                </a:solidFill>
                <a:latin typeface="Arial" panose="020B0604020202020204" pitchFamily="34" charset="0"/>
                <a:cs typeface="Arial" panose="020B0604020202020204" pitchFamily="34" charset="0"/>
              </a:endParaRPr>
            </a:p>
          </p:txBody>
        </p:sp>
        <p:sp>
          <p:nvSpPr>
            <p:cNvPr id="9" name="Google Shape;853;p16">
              <a:extLst>
                <a:ext uri="{FF2B5EF4-FFF2-40B4-BE49-F238E27FC236}">
                  <a16:creationId xmlns:a16="http://schemas.microsoft.com/office/drawing/2014/main" id="{C8A31988-993C-7D25-DF15-6B8E26846819}"/>
                </a:ext>
              </a:extLst>
            </p:cNvPr>
            <p:cNvSpPr/>
            <p:nvPr/>
          </p:nvSpPr>
          <p:spPr>
            <a:xfrm>
              <a:off x="504047" y="954228"/>
              <a:ext cx="2722804" cy="869834"/>
            </a:xfrm>
            <a:prstGeom prst="rect">
              <a:avLst/>
            </a:prstGeom>
            <a:solidFill>
              <a:schemeClr val="tx1"/>
            </a:solidFill>
            <a:ln w="6350" cap="flat" cmpd="sng">
              <a:solidFill>
                <a:schemeClr val="tx1"/>
              </a:solidFill>
              <a:prstDash val="solid"/>
              <a:round/>
              <a:headEnd type="none" w="sm" len="sm"/>
              <a:tailEnd type="none" w="sm" len="sm"/>
            </a:ln>
          </p:spPr>
          <p:txBody>
            <a:bodyPr spcFirstLastPara="1" wrap="square" lIns="91440" tIns="91440" rIns="91440" bIns="91440" anchor="ctr" anchorCtr="0">
              <a:noAutofit/>
            </a:bodyPr>
            <a:lstStyle/>
            <a:p>
              <a:pPr marL="0" marR="0" lvl="0" indent="0" algn="l" rtl="0">
                <a:spcBef>
                  <a:spcPts val="0"/>
                </a:spcBef>
                <a:buNone/>
              </a:pPr>
              <a:r>
                <a:rPr lang="en-US" sz="1400" b="1" dirty="0">
                  <a:solidFill>
                    <a:schemeClr val="lt1"/>
                  </a:solidFill>
                  <a:latin typeface="Arial"/>
                  <a:ea typeface="Arial"/>
                  <a:cs typeface="Arial"/>
                  <a:sym typeface="Arial"/>
                </a:rPr>
                <a:t>Reputation Damage</a:t>
              </a:r>
            </a:p>
          </p:txBody>
        </p:sp>
        <p:sp>
          <p:nvSpPr>
            <p:cNvPr id="19" name="Google Shape;857;p16">
              <a:extLst>
                <a:ext uri="{FF2B5EF4-FFF2-40B4-BE49-F238E27FC236}">
                  <a16:creationId xmlns:a16="http://schemas.microsoft.com/office/drawing/2014/main" id="{A4EC9FD0-5341-B633-5A22-3E2F3451B8E9}"/>
                </a:ext>
              </a:extLst>
            </p:cNvPr>
            <p:cNvSpPr/>
            <p:nvPr/>
          </p:nvSpPr>
          <p:spPr>
            <a:xfrm>
              <a:off x="4249106" y="968619"/>
              <a:ext cx="2880533" cy="869834"/>
            </a:xfrm>
            <a:prstGeom prst="rect">
              <a:avLst/>
            </a:prstGeom>
            <a:solidFill>
              <a:schemeClr val="accent2"/>
            </a:solidFill>
            <a:ln w="6350">
              <a:solidFill>
                <a:schemeClr val="accent2"/>
              </a:solidFill>
            </a:ln>
          </p:spPr>
          <p:txBody>
            <a:bodyPr spcFirstLastPara="1" wrap="square" lIns="91440" tIns="91440" rIns="91440" bIns="9144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Legal &amp; Regulator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 Actions</a:t>
              </a:r>
            </a:p>
          </p:txBody>
        </p:sp>
        <p:sp>
          <p:nvSpPr>
            <p:cNvPr id="28" name="Google Shape;861;p16">
              <a:extLst>
                <a:ext uri="{FF2B5EF4-FFF2-40B4-BE49-F238E27FC236}">
                  <a16:creationId xmlns:a16="http://schemas.microsoft.com/office/drawing/2014/main" id="{2A5CA972-00AB-E585-A065-CAFA69FEA9DD}"/>
                </a:ext>
              </a:extLst>
            </p:cNvPr>
            <p:cNvSpPr/>
            <p:nvPr/>
          </p:nvSpPr>
          <p:spPr>
            <a:xfrm>
              <a:off x="8175049" y="938628"/>
              <a:ext cx="2821664" cy="869834"/>
            </a:xfrm>
            <a:prstGeom prst="rect">
              <a:avLst/>
            </a:prstGeom>
            <a:solidFill>
              <a:schemeClr val="accent3"/>
            </a:solidFill>
            <a:ln w="6350">
              <a:solidFill>
                <a:schemeClr val="accent3"/>
              </a:solidFill>
            </a:ln>
          </p:spPr>
          <p:txBody>
            <a:bodyPr spcFirstLastPara="1" wrap="square" lIns="91440" tIns="91440" rIns="91440" bIns="9144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Operation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a:ea typeface="+mn-ea"/>
                  <a:cs typeface="+mn-cs"/>
                </a:rPr>
                <a:t> Challenges</a:t>
              </a:r>
            </a:p>
          </p:txBody>
        </p:sp>
        <p:sp>
          <p:nvSpPr>
            <p:cNvPr id="35" name="Freeform 97">
              <a:extLst>
                <a:ext uri="{FF2B5EF4-FFF2-40B4-BE49-F238E27FC236}">
                  <a16:creationId xmlns:a16="http://schemas.microsoft.com/office/drawing/2014/main" id="{3AE1EDB7-4A0C-2DB9-FF57-50E9E9EF4C6D}"/>
                </a:ext>
              </a:extLst>
            </p:cNvPr>
            <p:cNvSpPr>
              <a:spLocks noChangeAspect="1" noEditPoints="1"/>
            </p:cNvSpPr>
            <p:nvPr/>
          </p:nvSpPr>
          <p:spPr bwMode="auto">
            <a:xfrm>
              <a:off x="2331894" y="996904"/>
              <a:ext cx="552427" cy="553212"/>
            </a:xfrm>
            <a:custGeom>
              <a:avLst/>
              <a:gdLst>
                <a:gd name="T0" fmla="*/ 576 w 576"/>
                <a:gd name="T1" fmla="*/ 575 h 575"/>
                <a:gd name="T2" fmla="*/ 347 w 576"/>
                <a:gd name="T3" fmla="*/ 575 h 575"/>
                <a:gd name="T4" fmla="*/ 335 w 576"/>
                <a:gd name="T5" fmla="*/ 489 h 575"/>
                <a:gd name="T6" fmla="*/ 430 w 576"/>
                <a:gd name="T7" fmla="*/ 388 h 575"/>
                <a:gd name="T8" fmla="*/ 425 w 576"/>
                <a:gd name="T9" fmla="*/ 177 h 575"/>
                <a:gd name="T10" fmla="*/ 400 w 576"/>
                <a:gd name="T11" fmla="*/ 189 h 575"/>
                <a:gd name="T12" fmla="*/ 380 w 576"/>
                <a:gd name="T13" fmla="*/ 384 h 575"/>
                <a:gd name="T14" fmla="*/ 295 w 576"/>
                <a:gd name="T15" fmla="*/ 470 h 575"/>
                <a:gd name="T16" fmla="*/ 363 w 576"/>
                <a:gd name="T17" fmla="*/ 367 h 575"/>
                <a:gd name="T18" fmla="*/ 342 w 576"/>
                <a:gd name="T19" fmla="*/ 346 h 575"/>
                <a:gd name="T20" fmla="*/ 244 w 576"/>
                <a:gd name="T21" fmla="*/ 450 h 575"/>
                <a:gd name="T22" fmla="*/ 232 w 576"/>
                <a:gd name="T23" fmla="*/ 575 h 575"/>
                <a:gd name="T24" fmla="*/ 0 w 576"/>
                <a:gd name="T25" fmla="*/ 575 h 575"/>
                <a:gd name="T26" fmla="*/ 152 w 576"/>
                <a:gd name="T27" fmla="*/ 43 h 575"/>
                <a:gd name="T28" fmla="*/ 24 w 576"/>
                <a:gd name="T29" fmla="*/ 68 h 575"/>
                <a:gd name="T30" fmla="*/ 190 w 576"/>
                <a:gd name="T31" fmla="*/ 551 h 575"/>
                <a:gd name="T32" fmla="*/ 219 w 576"/>
                <a:gd name="T33" fmla="*/ 450 h 575"/>
                <a:gd name="T34" fmla="*/ 324 w 576"/>
                <a:gd name="T35" fmla="*/ 328 h 575"/>
                <a:gd name="T36" fmla="*/ 375 w 576"/>
                <a:gd name="T37" fmla="*/ 189 h 575"/>
                <a:gd name="T38" fmla="*/ 442 w 576"/>
                <a:gd name="T39" fmla="*/ 159 h 575"/>
                <a:gd name="T40" fmla="*/ 454 w 576"/>
                <a:gd name="T41" fmla="*/ 388 h 575"/>
                <a:gd name="T42" fmla="*/ 359 w 576"/>
                <a:gd name="T43" fmla="*/ 500 h 575"/>
                <a:gd name="T44" fmla="*/ 391 w 576"/>
                <a:gd name="T45" fmla="*/ 551 h 575"/>
                <a:gd name="T46" fmla="*/ 551 w 576"/>
                <a:gd name="T47" fmla="*/ 68 h 575"/>
                <a:gd name="T48" fmla="*/ 424 w 576"/>
                <a:gd name="T49" fmla="*/ 43 h 575"/>
                <a:gd name="T50" fmla="*/ 355 w 576"/>
                <a:gd name="T51" fmla="*/ 121 h 575"/>
                <a:gd name="T52" fmla="*/ 330 w 576"/>
                <a:gd name="T53" fmla="*/ 56 h 575"/>
                <a:gd name="T54" fmla="*/ 355 w 576"/>
                <a:gd name="T55" fmla="*/ 121 h 575"/>
                <a:gd name="T56" fmla="*/ 173 w 576"/>
                <a:gd name="T57" fmla="*/ 35 h 575"/>
                <a:gd name="T58" fmla="*/ 368 w 576"/>
                <a:gd name="T59" fmla="*/ 0 h 575"/>
                <a:gd name="T60" fmla="*/ 403 w 576"/>
                <a:gd name="T61" fmla="*/ 129 h 575"/>
                <a:gd name="T62" fmla="*/ 379 w 576"/>
                <a:gd name="T63" fmla="*/ 35 h 575"/>
                <a:gd name="T64" fmla="*/ 262 w 576"/>
                <a:gd name="T65" fmla="*/ 24 h 575"/>
                <a:gd name="T66" fmla="*/ 229 w 576"/>
                <a:gd name="T67" fmla="*/ 395 h 575"/>
                <a:gd name="T68" fmla="*/ 173 w 576"/>
                <a:gd name="T69" fmla="*/ 360 h 575"/>
                <a:gd name="T70" fmla="*/ 207 w 576"/>
                <a:gd name="T71" fmla="*/ 371 h 575"/>
                <a:gd name="T72" fmla="*/ 238 w 576"/>
                <a:gd name="T73" fmla="*/ 24 h 575"/>
                <a:gd name="T74" fmla="*/ 197 w 576"/>
                <a:gd name="T75" fmla="*/ 35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6" h="575">
                  <a:moveTo>
                    <a:pt x="576" y="43"/>
                  </a:moveTo>
                  <a:cubicBezTo>
                    <a:pt x="576" y="575"/>
                    <a:pt x="576" y="575"/>
                    <a:pt x="576" y="575"/>
                  </a:cubicBezTo>
                  <a:cubicBezTo>
                    <a:pt x="391" y="575"/>
                    <a:pt x="391" y="575"/>
                    <a:pt x="391" y="575"/>
                  </a:cubicBezTo>
                  <a:cubicBezTo>
                    <a:pt x="347" y="575"/>
                    <a:pt x="347" y="575"/>
                    <a:pt x="347" y="575"/>
                  </a:cubicBezTo>
                  <a:cubicBezTo>
                    <a:pt x="335" y="575"/>
                    <a:pt x="335" y="575"/>
                    <a:pt x="335" y="575"/>
                  </a:cubicBezTo>
                  <a:cubicBezTo>
                    <a:pt x="335" y="489"/>
                    <a:pt x="335" y="489"/>
                    <a:pt x="335" y="489"/>
                  </a:cubicBezTo>
                  <a:cubicBezTo>
                    <a:pt x="425" y="399"/>
                    <a:pt x="425" y="399"/>
                    <a:pt x="425" y="399"/>
                  </a:cubicBezTo>
                  <a:cubicBezTo>
                    <a:pt x="428" y="396"/>
                    <a:pt x="430" y="392"/>
                    <a:pt x="430" y="388"/>
                  </a:cubicBezTo>
                  <a:cubicBezTo>
                    <a:pt x="430" y="188"/>
                    <a:pt x="430" y="188"/>
                    <a:pt x="430" y="188"/>
                  </a:cubicBezTo>
                  <a:cubicBezTo>
                    <a:pt x="430" y="183"/>
                    <a:pt x="428" y="180"/>
                    <a:pt x="425" y="177"/>
                  </a:cubicBezTo>
                  <a:cubicBezTo>
                    <a:pt x="422" y="174"/>
                    <a:pt x="418" y="172"/>
                    <a:pt x="414" y="173"/>
                  </a:cubicBezTo>
                  <a:cubicBezTo>
                    <a:pt x="406" y="173"/>
                    <a:pt x="400" y="180"/>
                    <a:pt x="400" y="189"/>
                  </a:cubicBezTo>
                  <a:cubicBezTo>
                    <a:pt x="400" y="344"/>
                    <a:pt x="400" y="344"/>
                    <a:pt x="400" y="344"/>
                  </a:cubicBezTo>
                  <a:cubicBezTo>
                    <a:pt x="400" y="359"/>
                    <a:pt x="388" y="377"/>
                    <a:pt x="380" y="384"/>
                  </a:cubicBezTo>
                  <a:cubicBezTo>
                    <a:pt x="380" y="384"/>
                    <a:pt x="380" y="384"/>
                    <a:pt x="380" y="384"/>
                  </a:cubicBezTo>
                  <a:cubicBezTo>
                    <a:pt x="295" y="470"/>
                    <a:pt x="295" y="470"/>
                    <a:pt x="295" y="470"/>
                  </a:cubicBezTo>
                  <a:cubicBezTo>
                    <a:pt x="277" y="452"/>
                    <a:pt x="277" y="452"/>
                    <a:pt x="277" y="452"/>
                  </a:cubicBezTo>
                  <a:cubicBezTo>
                    <a:pt x="363" y="367"/>
                    <a:pt x="363" y="367"/>
                    <a:pt x="363" y="367"/>
                  </a:cubicBezTo>
                  <a:cubicBezTo>
                    <a:pt x="369" y="361"/>
                    <a:pt x="369" y="352"/>
                    <a:pt x="363" y="346"/>
                  </a:cubicBezTo>
                  <a:cubicBezTo>
                    <a:pt x="357" y="340"/>
                    <a:pt x="348" y="340"/>
                    <a:pt x="342" y="346"/>
                  </a:cubicBezTo>
                  <a:cubicBezTo>
                    <a:pt x="248" y="439"/>
                    <a:pt x="248" y="439"/>
                    <a:pt x="248" y="439"/>
                  </a:cubicBezTo>
                  <a:cubicBezTo>
                    <a:pt x="246" y="442"/>
                    <a:pt x="244" y="446"/>
                    <a:pt x="244" y="450"/>
                  </a:cubicBezTo>
                  <a:cubicBezTo>
                    <a:pt x="244" y="575"/>
                    <a:pt x="244" y="575"/>
                    <a:pt x="244" y="575"/>
                  </a:cubicBezTo>
                  <a:cubicBezTo>
                    <a:pt x="232" y="575"/>
                    <a:pt x="232" y="575"/>
                    <a:pt x="232" y="575"/>
                  </a:cubicBezTo>
                  <a:cubicBezTo>
                    <a:pt x="190" y="575"/>
                    <a:pt x="190" y="575"/>
                    <a:pt x="190" y="575"/>
                  </a:cubicBezTo>
                  <a:cubicBezTo>
                    <a:pt x="0" y="575"/>
                    <a:pt x="0" y="575"/>
                    <a:pt x="0" y="575"/>
                  </a:cubicBezTo>
                  <a:cubicBezTo>
                    <a:pt x="0" y="43"/>
                    <a:pt x="0" y="43"/>
                    <a:pt x="0" y="43"/>
                  </a:cubicBezTo>
                  <a:cubicBezTo>
                    <a:pt x="152" y="43"/>
                    <a:pt x="152" y="43"/>
                    <a:pt x="152" y="43"/>
                  </a:cubicBezTo>
                  <a:cubicBezTo>
                    <a:pt x="152" y="68"/>
                    <a:pt x="152" y="68"/>
                    <a:pt x="152" y="68"/>
                  </a:cubicBezTo>
                  <a:cubicBezTo>
                    <a:pt x="24" y="68"/>
                    <a:pt x="24" y="68"/>
                    <a:pt x="24" y="68"/>
                  </a:cubicBezTo>
                  <a:cubicBezTo>
                    <a:pt x="24" y="551"/>
                    <a:pt x="24" y="551"/>
                    <a:pt x="24" y="551"/>
                  </a:cubicBezTo>
                  <a:cubicBezTo>
                    <a:pt x="190" y="551"/>
                    <a:pt x="190" y="551"/>
                    <a:pt x="190" y="551"/>
                  </a:cubicBezTo>
                  <a:cubicBezTo>
                    <a:pt x="219" y="551"/>
                    <a:pt x="219" y="551"/>
                    <a:pt x="219" y="551"/>
                  </a:cubicBezTo>
                  <a:cubicBezTo>
                    <a:pt x="219" y="450"/>
                    <a:pt x="219" y="450"/>
                    <a:pt x="219" y="450"/>
                  </a:cubicBezTo>
                  <a:cubicBezTo>
                    <a:pt x="219" y="439"/>
                    <a:pt x="223" y="429"/>
                    <a:pt x="231" y="422"/>
                  </a:cubicBezTo>
                  <a:cubicBezTo>
                    <a:pt x="324" y="328"/>
                    <a:pt x="324" y="328"/>
                    <a:pt x="324" y="328"/>
                  </a:cubicBezTo>
                  <a:cubicBezTo>
                    <a:pt x="338" y="315"/>
                    <a:pt x="360" y="313"/>
                    <a:pt x="375" y="324"/>
                  </a:cubicBezTo>
                  <a:cubicBezTo>
                    <a:pt x="375" y="189"/>
                    <a:pt x="375" y="189"/>
                    <a:pt x="375" y="189"/>
                  </a:cubicBezTo>
                  <a:cubicBezTo>
                    <a:pt x="375" y="167"/>
                    <a:pt x="392" y="149"/>
                    <a:pt x="413" y="148"/>
                  </a:cubicBezTo>
                  <a:cubicBezTo>
                    <a:pt x="424" y="147"/>
                    <a:pt x="434" y="151"/>
                    <a:pt x="442" y="159"/>
                  </a:cubicBezTo>
                  <a:cubicBezTo>
                    <a:pt x="450" y="166"/>
                    <a:pt x="454" y="177"/>
                    <a:pt x="454" y="188"/>
                  </a:cubicBezTo>
                  <a:cubicBezTo>
                    <a:pt x="454" y="388"/>
                    <a:pt x="454" y="388"/>
                    <a:pt x="454" y="388"/>
                  </a:cubicBezTo>
                  <a:cubicBezTo>
                    <a:pt x="454" y="399"/>
                    <a:pt x="450" y="409"/>
                    <a:pt x="443" y="416"/>
                  </a:cubicBezTo>
                  <a:cubicBezTo>
                    <a:pt x="359" y="500"/>
                    <a:pt x="359" y="500"/>
                    <a:pt x="359" y="500"/>
                  </a:cubicBezTo>
                  <a:cubicBezTo>
                    <a:pt x="359" y="551"/>
                    <a:pt x="359" y="551"/>
                    <a:pt x="359" y="551"/>
                  </a:cubicBezTo>
                  <a:cubicBezTo>
                    <a:pt x="391" y="551"/>
                    <a:pt x="391" y="551"/>
                    <a:pt x="391" y="551"/>
                  </a:cubicBezTo>
                  <a:cubicBezTo>
                    <a:pt x="551" y="551"/>
                    <a:pt x="551" y="551"/>
                    <a:pt x="551" y="551"/>
                  </a:cubicBezTo>
                  <a:cubicBezTo>
                    <a:pt x="551" y="68"/>
                    <a:pt x="551" y="68"/>
                    <a:pt x="551" y="68"/>
                  </a:cubicBezTo>
                  <a:cubicBezTo>
                    <a:pt x="424" y="68"/>
                    <a:pt x="424" y="68"/>
                    <a:pt x="424" y="68"/>
                  </a:cubicBezTo>
                  <a:cubicBezTo>
                    <a:pt x="424" y="43"/>
                    <a:pt x="424" y="43"/>
                    <a:pt x="424" y="43"/>
                  </a:cubicBezTo>
                  <a:lnTo>
                    <a:pt x="576" y="43"/>
                  </a:lnTo>
                  <a:close/>
                  <a:moveTo>
                    <a:pt x="355" y="121"/>
                  </a:moveTo>
                  <a:cubicBezTo>
                    <a:pt x="355" y="56"/>
                    <a:pt x="355" y="56"/>
                    <a:pt x="355" y="56"/>
                  </a:cubicBezTo>
                  <a:cubicBezTo>
                    <a:pt x="330" y="56"/>
                    <a:pt x="330" y="56"/>
                    <a:pt x="330" y="56"/>
                  </a:cubicBezTo>
                  <a:cubicBezTo>
                    <a:pt x="330" y="121"/>
                    <a:pt x="330" y="121"/>
                    <a:pt x="330" y="121"/>
                  </a:cubicBezTo>
                  <a:lnTo>
                    <a:pt x="355" y="121"/>
                  </a:lnTo>
                  <a:close/>
                  <a:moveTo>
                    <a:pt x="173" y="360"/>
                  </a:moveTo>
                  <a:cubicBezTo>
                    <a:pt x="173" y="35"/>
                    <a:pt x="173" y="35"/>
                    <a:pt x="173" y="35"/>
                  </a:cubicBezTo>
                  <a:cubicBezTo>
                    <a:pt x="173" y="15"/>
                    <a:pt x="188" y="0"/>
                    <a:pt x="207" y="0"/>
                  </a:cubicBezTo>
                  <a:cubicBezTo>
                    <a:pt x="368" y="0"/>
                    <a:pt x="368" y="0"/>
                    <a:pt x="368" y="0"/>
                  </a:cubicBezTo>
                  <a:cubicBezTo>
                    <a:pt x="388" y="0"/>
                    <a:pt x="403" y="15"/>
                    <a:pt x="403" y="35"/>
                  </a:cubicBezTo>
                  <a:cubicBezTo>
                    <a:pt x="403" y="129"/>
                    <a:pt x="403" y="129"/>
                    <a:pt x="403" y="129"/>
                  </a:cubicBezTo>
                  <a:cubicBezTo>
                    <a:pt x="394" y="131"/>
                    <a:pt x="386" y="135"/>
                    <a:pt x="379" y="140"/>
                  </a:cubicBezTo>
                  <a:cubicBezTo>
                    <a:pt x="379" y="35"/>
                    <a:pt x="379" y="35"/>
                    <a:pt x="379" y="35"/>
                  </a:cubicBezTo>
                  <a:cubicBezTo>
                    <a:pt x="379" y="29"/>
                    <a:pt x="374" y="24"/>
                    <a:pt x="368" y="24"/>
                  </a:cubicBezTo>
                  <a:cubicBezTo>
                    <a:pt x="262" y="24"/>
                    <a:pt x="262" y="24"/>
                    <a:pt x="262" y="24"/>
                  </a:cubicBezTo>
                  <a:cubicBezTo>
                    <a:pt x="262" y="362"/>
                    <a:pt x="262" y="362"/>
                    <a:pt x="262" y="362"/>
                  </a:cubicBezTo>
                  <a:cubicBezTo>
                    <a:pt x="229" y="395"/>
                    <a:pt x="229" y="395"/>
                    <a:pt x="229" y="395"/>
                  </a:cubicBezTo>
                  <a:cubicBezTo>
                    <a:pt x="207" y="395"/>
                    <a:pt x="207" y="395"/>
                    <a:pt x="207" y="395"/>
                  </a:cubicBezTo>
                  <a:cubicBezTo>
                    <a:pt x="188" y="395"/>
                    <a:pt x="173" y="380"/>
                    <a:pt x="173" y="360"/>
                  </a:cubicBezTo>
                  <a:close/>
                  <a:moveTo>
                    <a:pt x="197" y="360"/>
                  </a:moveTo>
                  <a:cubicBezTo>
                    <a:pt x="197" y="366"/>
                    <a:pt x="202" y="371"/>
                    <a:pt x="207" y="371"/>
                  </a:cubicBezTo>
                  <a:cubicBezTo>
                    <a:pt x="238" y="371"/>
                    <a:pt x="238" y="371"/>
                    <a:pt x="238" y="371"/>
                  </a:cubicBezTo>
                  <a:cubicBezTo>
                    <a:pt x="238" y="24"/>
                    <a:pt x="238" y="24"/>
                    <a:pt x="238" y="24"/>
                  </a:cubicBezTo>
                  <a:cubicBezTo>
                    <a:pt x="207" y="24"/>
                    <a:pt x="207" y="24"/>
                    <a:pt x="207" y="24"/>
                  </a:cubicBezTo>
                  <a:cubicBezTo>
                    <a:pt x="202" y="24"/>
                    <a:pt x="197" y="29"/>
                    <a:pt x="197" y="35"/>
                  </a:cubicBezTo>
                  <a:lnTo>
                    <a:pt x="197" y="3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a:solidFill>
                  <a:schemeClr val="accent1"/>
                </a:solidFill>
              </a:endParaRPr>
            </a:p>
          </p:txBody>
        </p:sp>
        <p:pic>
          <p:nvPicPr>
            <p:cNvPr id="24" name="Graphic 23" descr="Scales of justice outline">
              <a:extLst>
                <a:ext uri="{FF2B5EF4-FFF2-40B4-BE49-F238E27FC236}">
                  <a16:creationId xmlns:a16="http://schemas.microsoft.com/office/drawing/2014/main" id="{60622408-44D6-DA77-9397-73FF3F0A350A}"/>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6374924" y="1308801"/>
              <a:ext cx="754716" cy="499661"/>
            </a:xfrm>
            <a:prstGeom prst="rect">
              <a:avLst/>
            </a:prstGeom>
          </p:spPr>
        </p:pic>
        <p:pic>
          <p:nvPicPr>
            <p:cNvPr id="30" name="Graphic 29" descr="Circles with arrows outline">
              <a:extLst>
                <a:ext uri="{FF2B5EF4-FFF2-40B4-BE49-F238E27FC236}">
                  <a16:creationId xmlns:a16="http://schemas.microsoft.com/office/drawing/2014/main" id="{4AA7AF8B-1120-147F-5D5A-44D9A7D9851C}"/>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10197153" y="1078856"/>
              <a:ext cx="829518" cy="715610"/>
            </a:xfrm>
            <a:prstGeom prst="rect">
              <a:avLst/>
            </a:prstGeom>
          </p:spPr>
        </p:pic>
      </p:grpSp>
    </p:spTree>
    <p:custDataLst>
      <p:custData r:id="rId1"/>
    </p:custDataLst>
    <p:extLst>
      <p:ext uri="{BB962C8B-B14F-4D97-AF65-F5344CB8AC3E}">
        <p14:creationId xmlns:p14="http://schemas.microsoft.com/office/powerpoint/2010/main" val="22375804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4DA136-1EA4-F7C5-200C-77C4257A5B8E}"/>
              </a:ext>
            </a:extLst>
          </p:cNvPr>
          <p:cNvGraphicFramePr>
            <a:graphicFrameLocks noChangeAspect="1"/>
          </p:cNvGraphicFramePr>
          <p:nvPr>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405" name="think-cell Slide" r:id="rId6" imgW="7772400" imgH="10058400" progId="TCLayout.ActiveDocument.1">
                  <p:embed/>
                </p:oleObj>
              </mc:Choice>
              <mc:Fallback>
                <p:oleObj name="think-cell Slide" r:id="rId6" imgW="7772400" imgH="10058400" progId="TCLayout.ActiveDocument.1">
                  <p:embed/>
                  <p:pic>
                    <p:nvPicPr>
                      <p:cNvPr id="10" name="Object 9" hidden="1">
                        <a:extLst>
                          <a:ext uri="{FF2B5EF4-FFF2-40B4-BE49-F238E27FC236}">
                            <a16:creationId xmlns:a16="http://schemas.microsoft.com/office/drawing/2014/main" id="{2D4DA136-1EA4-F7C5-200C-77C4257A5B8E}"/>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pic>
        <p:nvPicPr>
          <p:cNvPr id="2" name="Picture Placeholder 4">
            <a:extLst>
              <a:ext uri="{FF2B5EF4-FFF2-40B4-BE49-F238E27FC236}">
                <a16:creationId xmlns:a16="http://schemas.microsoft.com/office/drawing/2014/main" id="{CF7388C0-BA03-1735-9931-E8C2B862CFB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4" name="Slide Number Placeholder 3">
            <a:extLst>
              <a:ext uri="{FF2B5EF4-FFF2-40B4-BE49-F238E27FC236}">
                <a16:creationId xmlns:a16="http://schemas.microsoft.com/office/drawing/2014/main" id="{2F8DBAD9-2FB4-3D45-BD3C-AE82E5DD780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750" b="0" i="0" u="none" strike="noStrike" kern="1200" cap="none" spc="0" normalizeH="0" baseline="0" noProof="0" dirty="0">
              <a:ln>
                <a:noFill/>
              </a:ln>
              <a:effectLst/>
              <a:uLnTx/>
              <a:uFillTx/>
              <a:latin typeface="Arial"/>
              <a:ea typeface="+mn-ea"/>
              <a:cs typeface="+mn-cs"/>
            </a:endParaRPr>
          </a:p>
        </p:txBody>
      </p:sp>
      <p:sp>
        <p:nvSpPr>
          <p:cNvPr id="5" name="Date Placeholder 4">
            <a:extLst>
              <a:ext uri="{FF2B5EF4-FFF2-40B4-BE49-F238E27FC236}">
                <a16:creationId xmlns:a16="http://schemas.microsoft.com/office/drawing/2014/main" id="{99D8C669-2260-864E-AB40-EDF5D4FEF749}"/>
              </a:ext>
            </a:extLst>
          </p:cNvPr>
          <p:cNvSpPr>
            <a:spLocks noGrp="1"/>
          </p:cNvSpPr>
          <p:nvPr>
            <p:ph type="dt" sz="half" idx="12"/>
          </p:nvPr>
        </p:nvSpPr>
        <p:spPr/>
        <p:txBody>
          <a:bodyPr/>
          <a:lstStyle/>
          <a:p>
            <a:r>
              <a:rPr kumimoji="0" lang="en-IN" sz="750" i="0" u="none" strike="noStrike" kern="1200" cap="none" spc="0" normalizeH="0" baseline="0" noProof="0" dirty="0">
                <a:ln>
                  <a:noFill/>
                </a:ln>
                <a:solidFill>
                  <a:srgbClr val="000000"/>
                </a:solidFill>
                <a:effectLst/>
                <a:uLnTx/>
                <a:uFillTx/>
                <a:latin typeface="Arial"/>
                <a:ea typeface="+mn-ea"/>
                <a:cs typeface="+mn-cs"/>
              </a:rPr>
              <a:t>May</a:t>
            </a:r>
            <a:r>
              <a:rPr kumimoji="0" lang="en-IN" sz="750" b="0" i="0" u="none" strike="noStrike" kern="1200" cap="none" spc="0" normalizeH="0" baseline="0" noProof="0" dirty="0">
                <a:ln>
                  <a:noFill/>
                </a:ln>
                <a:effectLst/>
                <a:uLnTx/>
                <a:uFillTx/>
                <a:latin typeface="Arial"/>
                <a:ea typeface="+mn-ea"/>
                <a:cs typeface="+mn-cs"/>
              </a:rPr>
              <a:t> 2023 </a:t>
            </a:r>
            <a:endParaRPr kumimoji="0" lang="en-US" sz="750" b="0" i="0" u="none" strike="noStrike" kern="1200" cap="none" spc="0" normalizeH="0" baseline="0" noProof="0" dirty="0">
              <a:ln>
                <a:noFill/>
              </a:ln>
              <a:effectLst/>
              <a:uLnTx/>
              <a:uFillTx/>
              <a:latin typeface="Arial"/>
              <a:ea typeface="+mn-ea"/>
              <a:cs typeface="+mn-cs"/>
            </a:endParaRPr>
          </a:p>
        </p:txBody>
      </p:sp>
      <p:sp>
        <p:nvSpPr>
          <p:cNvPr id="12" name="TextBox 11">
            <a:extLst>
              <a:ext uri="{FF2B5EF4-FFF2-40B4-BE49-F238E27FC236}">
                <a16:creationId xmlns:a16="http://schemas.microsoft.com/office/drawing/2014/main" id="{FAE80C07-5B34-1DA2-ECE5-76BEC9974C7F}"/>
              </a:ext>
            </a:extLst>
          </p:cNvPr>
          <p:cNvSpPr txBox="1"/>
          <p:nvPr/>
        </p:nvSpPr>
        <p:spPr>
          <a:xfrm>
            <a:off x="442913" y="6492240"/>
            <a:ext cx="5473700" cy="137160"/>
          </a:xfrm>
          <a:prstGeom prst="rect">
            <a:avLst/>
          </a:prstGeom>
          <a:noFill/>
        </p:spPr>
        <p:txBody>
          <a:bodyPr wrap="square" lIns="0" tIns="0" rIns="0" bIns="0" rtlCol="0" anchor="b" anchorCtr="0">
            <a:noAutofit/>
          </a:bodyPr>
          <a:lstStyle/>
          <a:p>
            <a:pPr algn="l"/>
            <a:endParaRPr lang="en-US" sz="750" b="0" dirty="0"/>
          </a:p>
        </p:txBody>
      </p:sp>
      <p:sp>
        <p:nvSpPr>
          <p:cNvPr id="14" name="Rectangle 13">
            <a:extLst>
              <a:ext uri="{FF2B5EF4-FFF2-40B4-BE49-F238E27FC236}">
                <a16:creationId xmlns:a16="http://schemas.microsoft.com/office/drawing/2014/main" id="{35AF01FB-5EEA-FDDE-240E-EEECA87BCE8B}"/>
              </a:ext>
            </a:extLst>
          </p:cNvPr>
          <p:cNvSpPr/>
          <p:nvPr/>
        </p:nvSpPr>
        <p:spPr bwMode="gray">
          <a:xfrm>
            <a:off x="0" y="5029200"/>
            <a:ext cx="11749088" cy="1143000"/>
          </a:xfrm>
          <a:prstGeom prst="rect">
            <a:avLst/>
          </a:prstGeom>
          <a:solidFill>
            <a:schemeClr val="accent2"/>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15" name="Title 2">
            <a:extLst>
              <a:ext uri="{FF2B5EF4-FFF2-40B4-BE49-F238E27FC236}">
                <a16:creationId xmlns:a16="http://schemas.microsoft.com/office/drawing/2014/main" id="{E9F4CA30-518B-58DA-F055-E73D23A26BCF}"/>
              </a:ext>
            </a:extLst>
          </p:cNvPr>
          <p:cNvSpPr txBox="1">
            <a:spLocks/>
          </p:cNvSpPr>
          <p:nvPr/>
        </p:nvSpPr>
        <p:spPr>
          <a:xfrm>
            <a:off x="1415576" y="5183445"/>
            <a:ext cx="10333510" cy="834508"/>
          </a:xfrm>
          <a:prstGeom prst="rect">
            <a:avLst/>
          </a:prstGeom>
        </p:spPr>
        <p:txBody>
          <a:bodyPr lIns="0" tIns="0" rIns="0" bIns="0" anchor="ctr" anchorCtr="0">
            <a:noAutofit/>
          </a:bodyPr>
          <a:lstStyle>
            <a:lvl1pPr algn="l" defTabSz="914400" rtl="0" eaLnBrk="1" latinLnBrk="0" hangingPunct="1">
              <a:lnSpc>
                <a:spcPct val="100000"/>
              </a:lnSpc>
              <a:spcBef>
                <a:spcPct val="0"/>
              </a:spcBef>
              <a:buNone/>
              <a:defRPr sz="2800" kern="1200">
                <a:solidFill>
                  <a:schemeClr val="bg1"/>
                </a:solidFill>
                <a:latin typeface="+mj-lt"/>
                <a:ea typeface="+mj-ea"/>
                <a:cs typeface="+mj-cs"/>
              </a:defRPr>
            </a:lvl1pPr>
          </a:lstStyle>
          <a:p>
            <a:r>
              <a:rPr lang="en-GB" sz="3600" dirty="0">
                <a:solidFill>
                  <a:schemeClr val="tx1"/>
                </a:solidFill>
                <a:latin typeface="+mj-lt"/>
              </a:rPr>
              <a:t>Key Components of AML and Sanctions compliance program</a:t>
            </a:r>
          </a:p>
        </p:txBody>
      </p:sp>
      <p:sp>
        <p:nvSpPr>
          <p:cNvPr id="8" name="Freeform 10">
            <a:extLst>
              <a:ext uri="{FF2B5EF4-FFF2-40B4-BE49-F238E27FC236}">
                <a16:creationId xmlns:a16="http://schemas.microsoft.com/office/drawing/2014/main" id="{D4BEE4A1-E857-AE18-76A0-14E7284C3745}"/>
              </a:ext>
            </a:extLst>
          </p:cNvPr>
          <p:cNvSpPr>
            <a:spLocks noChangeAspect="1" noEditPoints="1"/>
          </p:cNvSpPr>
          <p:nvPr/>
        </p:nvSpPr>
        <p:spPr bwMode="auto">
          <a:xfrm>
            <a:off x="442912" y="5242832"/>
            <a:ext cx="706712" cy="7243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15 w 346"/>
              <a:gd name="T11" fmla="*/ 14 h 346"/>
              <a:gd name="T12" fmla="*/ 331 w 346"/>
              <a:gd name="T13" fmla="*/ 14 h 346"/>
              <a:gd name="T14" fmla="*/ 331 w 346"/>
              <a:gd name="T15" fmla="*/ 54 h 346"/>
              <a:gd name="T16" fmla="*/ 54 w 346"/>
              <a:gd name="T17" fmla="*/ 54 h 346"/>
              <a:gd name="T18" fmla="*/ 54 w 346"/>
              <a:gd name="T19" fmla="*/ 331 h 346"/>
              <a:gd name="T20" fmla="*/ 15 w 346"/>
              <a:gd name="T21" fmla="*/ 331 h 346"/>
              <a:gd name="T22" fmla="*/ 15 w 346"/>
              <a:gd name="T23" fmla="*/ 14 h 346"/>
              <a:gd name="T24" fmla="*/ 108 w 346"/>
              <a:gd name="T25" fmla="*/ 331 h 346"/>
              <a:gd name="T26" fmla="*/ 69 w 346"/>
              <a:gd name="T27" fmla="*/ 331 h 346"/>
              <a:gd name="T28" fmla="*/ 69 w 346"/>
              <a:gd name="T29" fmla="*/ 69 h 346"/>
              <a:gd name="T30" fmla="*/ 331 w 346"/>
              <a:gd name="T31" fmla="*/ 69 h 346"/>
              <a:gd name="T32" fmla="*/ 331 w 346"/>
              <a:gd name="T33" fmla="*/ 108 h 346"/>
              <a:gd name="T34" fmla="*/ 108 w 346"/>
              <a:gd name="T35" fmla="*/ 108 h 346"/>
              <a:gd name="T36" fmla="*/ 108 w 346"/>
              <a:gd name="T37" fmla="*/ 331 h 346"/>
              <a:gd name="T38" fmla="*/ 123 w 346"/>
              <a:gd name="T39" fmla="*/ 331 h 346"/>
              <a:gd name="T40" fmla="*/ 123 w 346"/>
              <a:gd name="T41" fmla="*/ 123 h 346"/>
              <a:gd name="T42" fmla="*/ 331 w 346"/>
              <a:gd name="T43" fmla="*/ 123 h 346"/>
              <a:gd name="T44" fmla="*/ 331 w 346"/>
              <a:gd name="T45" fmla="*/ 331 h 346"/>
              <a:gd name="T46" fmla="*/ 123 w 346"/>
              <a:gd name="T47" fmla="*/ 331 h 346"/>
              <a:gd name="T48" fmla="*/ 262 w 346"/>
              <a:gd name="T49" fmla="*/ 190 h 346"/>
              <a:gd name="T50" fmla="*/ 227 w 346"/>
              <a:gd name="T51" fmla="*/ 155 h 346"/>
              <a:gd name="T52" fmla="*/ 193 w 346"/>
              <a:gd name="T53" fmla="*/ 190 h 346"/>
              <a:gd name="T54" fmla="*/ 193 w 346"/>
              <a:gd name="T55" fmla="*/ 206 h 346"/>
              <a:gd name="T56" fmla="*/ 170 w 346"/>
              <a:gd name="T57" fmla="*/ 206 h 346"/>
              <a:gd name="T58" fmla="*/ 170 w 346"/>
              <a:gd name="T59" fmla="*/ 295 h 346"/>
              <a:gd name="T60" fmla="*/ 285 w 346"/>
              <a:gd name="T61" fmla="*/ 295 h 346"/>
              <a:gd name="T62" fmla="*/ 285 w 346"/>
              <a:gd name="T63" fmla="*/ 206 h 346"/>
              <a:gd name="T64" fmla="*/ 262 w 346"/>
              <a:gd name="T65" fmla="*/ 206 h 346"/>
              <a:gd name="T66" fmla="*/ 262 w 346"/>
              <a:gd name="T67" fmla="*/ 190 h 346"/>
              <a:gd name="T68" fmla="*/ 207 w 346"/>
              <a:gd name="T69" fmla="*/ 190 h 346"/>
              <a:gd name="T70" fmla="*/ 227 w 346"/>
              <a:gd name="T71" fmla="*/ 170 h 346"/>
              <a:gd name="T72" fmla="*/ 247 w 346"/>
              <a:gd name="T73" fmla="*/ 190 h 346"/>
              <a:gd name="T74" fmla="*/ 247 w 346"/>
              <a:gd name="T75" fmla="*/ 206 h 346"/>
              <a:gd name="T76" fmla="*/ 207 w 346"/>
              <a:gd name="T77" fmla="*/ 206 h 346"/>
              <a:gd name="T78" fmla="*/ 207 w 346"/>
              <a:gd name="T79" fmla="*/ 190 h 346"/>
              <a:gd name="T80" fmla="*/ 270 w 346"/>
              <a:gd name="T81" fmla="*/ 280 h 346"/>
              <a:gd name="T82" fmla="*/ 185 w 346"/>
              <a:gd name="T83" fmla="*/ 280 h 346"/>
              <a:gd name="T84" fmla="*/ 185 w 346"/>
              <a:gd name="T85" fmla="*/ 220 h 346"/>
              <a:gd name="T86" fmla="*/ 270 w 346"/>
              <a:gd name="T87" fmla="*/ 220 h 346"/>
              <a:gd name="T88" fmla="*/ 270 w 346"/>
              <a:gd name="T89" fmla="*/ 280 h 346"/>
              <a:gd name="T90" fmla="*/ 235 w 346"/>
              <a:gd name="T91" fmla="*/ 261 h 346"/>
              <a:gd name="T92" fmla="*/ 220 w 346"/>
              <a:gd name="T93" fmla="*/ 261 h 346"/>
              <a:gd name="T94" fmla="*/ 220 w 346"/>
              <a:gd name="T95" fmla="*/ 239 h 346"/>
              <a:gd name="T96" fmla="*/ 235 w 346"/>
              <a:gd name="T97" fmla="*/ 239 h 346"/>
              <a:gd name="T98" fmla="*/ 235 w 346"/>
              <a:gd name="T99" fmla="*/ 26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15" y="14"/>
                </a:moveTo>
                <a:cubicBezTo>
                  <a:pt x="331" y="14"/>
                  <a:pt x="331" y="14"/>
                  <a:pt x="331" y="14"/>
                </a:cubicBezTo>
                <a:cubicBezTo>
                  <a:pt x="331" y="54"/>
                  <a:pt x="331" y="54"/>
                  <a:pt x="331" y="54"/>
                </a:cubicBezTo>
                <a:cubicBezTo>
                  <a:pt x="54" y="54"/>
                  <a:pt x="54" y="54"/>
                  <a:pt x="54" y="54"/>
                </a:cubicBezTo>
                <a:cubicBezTo>
                  <a:pt x="54" y="331"/>
                  <a:pt x="54" y="331"/>
                  <a:pt x="54" y="331"/>
                </a:cubicBezTo>
                <a:cubicBezTo>
                  <a:pt x="15" y="331"/>
                  <a:pt x="15" y="331"/>
                  <a:pt x="15" y="331"/>
                </a:cubicBezTo>
                <a:lnTo>
                  <a:pt x="15" y="14"/>
                </a:lnTo>
                <a:close/>
                <a:moveTo>
                  <a:pt x="108" y="331"/>
                </a:moveTo>
                <a:cubicBezTo>
                  <a:pt x="69" y="331"/>
                  <a:pt x="69" y="331"/>
                  <a:pt x="69" y="331"/>
                </a:cubicBezTo>
                <a:cubicBezTo>
                  <a:pt x="69" y="69"/>
                  <a:pt x="69" y="69"/>
                  <a:pt x="69" y="69"/>
                </a:cubicBezTo>
                <a:cubicBezTo>
                  <a:pt x="331" y="69"/>
                  <a:pt x="331" y="69"/>
                  <a:pt x="331" y="69"/>
                </a:cubicBezTo>
                <a:cubicBezTo>
                  <a:pt x="331" y="108"/>
                  <a:pt x="331" y="108"/>
                  <a:pt x="331" y="108"/>
                </a:cubicBezTo>
                <a:cubicBezTo>
                  <a:pt x="108" y="108"/>
                  <a:pt x="108" y="108"/>
                  <a:pt x="108" y="108"/>
                </a:cubicBezTo>
                <a:lnTo>
                  <a:pt x="108" y="331"/>
                </a:lnTo>
                <a:close/>
                <a:moveTo>
                  <a:pt x="123" y="331"/>
                </a:moveTo>
                <a:cubicBezTo>
                  <a:pt x="123" y="123"/>
                  <a:pt x="123" y="123"/>
                  <a:pt x="123" y="123"/>
                </a:cubicBezTo>
                <a:cubicBezTo>
                  <a:pt x="331" y="123"/>
                  <a:pt x="331" y="123"/>
                  <a:pt x="331" y="123"/>
                </a:cubicBezTo>
                <a:cubicBezTo>
                  <a:pt x="331" y="331"/>
                  <a:pt x="331" y="331"/>
                  <a:pt x="331" y="331"/>
                </a:cubicBezTo>
                <a:lnTo>
                  <a:pt x="123" y="331"/>
                </a:lnTo>
                <a:close/>
                <a:moveTo>
                  <a:pt x="262" y="190"/>
                </a:moveTo>
                <a:cubicBezTo>
                  <a:pt x="262" y="171"/>
                  <a:pt x="246" y="155"/>
                  <a:pt x="227" y="155"/>
                </a:cubicBezTo>
                <a:cubicBezTo>
                  <a:pt x="208" y="155"/>
                  <a:pt x="193" y="171"/>
                  <a:pt x="193" y="190"/>
                </a:cubicBezTo>
                <a:cubicBezTo>
                  <a:pt x="193" y="206"/>
                  <a:pt x="193" y="206"/>
                  <a:pt x="193" y="206"/>
                </a:cubicBezTo>
                <a:cubicBezTo>
                  <a:pt x="170" y="206"/>
                  <a:pt x="170" y="206"/>
                  <a:pt x="170" y="206"/>
                </a:cubicBezTo>
                <a:cubicBezTo>
                  <a:pt x="170" y="295"/>
                  <a:pt x="170" y="295"/>
                  <a:pt x="170" y="295"/>
                </a:cubicBezTo>
                <a:cubicBezTo>
                  <a:pt x="285" y="295"/>
                  <a:pt x="285" y="295"/>
                  <a:pt x="285" y="295"/>
                </a:cubicBezTo>
                <a:cubicBezTo>
                  <a:pt x="285" y="206"/>
                  <a:pt x="285" y="206"/>
                  <a:pt x="285" y="206"/>
                </a:cubicBezTo>
                <a:cubicBezTo>
                  <a:pt x="262" y="206"/>
                  <a:pt x="262" y="206"/>
                  <a:pt x="262" y="206"/>
                </a:cubicBezTo>
                <a:lnTo>
                  <a:pt x="262" y="190"/>
                </a:lnTo>
                <a:close/>
                <a:moveTo>
                  <a:pt x="207" y="190"/>
                </a:moveTo>
                <a:cubicBezTo>
                  <a:pt x="207" y="179"/>
                  <a:pt x="216" y="170"/>
                  <a:pt x="227" y="170"/>
                </a:cubicBezTo>
                <a:cubicBezTo>
                  <a:pt x="238" y="170"/>
                  <a:pt x="247" y="179"/>
                  <a:pt x="247" y="190"/>
                </a:cubicBezTo>
                <a:cubicBezTo>
                  <a:pt x="247" y="206"/>
                  <a:pt x="247" y="206"/>
                  <a:pt x="247" y="206"/>
                </a:cubicBezTo>
                <a:cubicBezTo>
                  <a:pt x="207" y="206"/>
                  <a:pt x="207" y="206"/>
                  <a:pt x="207" y="206"/>
                </a:cubicBezTo>
                <a:lnTo>
                  <a:pt x="207" y="190"/>
                </a:lnTo>
                <a:close/>
                <a:moveTo>
                  <a:pt x="270" y="280"/>
                </a:moveTo>
                <a:cubicBezTo>
                  <a:pt x="185" y="280"/>
                  <a:pt x="185" y="280"/>
                  <a:pt x="185" y="280"/>
                </a:cubicBezTo>
                <a:cubicBezTo>
                  <a:pt x="185" y="220"/>
                  <a:pt x="185" y="220"/>
                  <a:pt x="185" y="220"/>
                </a:cubicBezTo>
                <a:cubicBezTo>
                  <a:pt x="270" y="220"/>
                  <a:pt x="270" y="220"/>
                  <a:pt x="270" y="220"/>
                </a:cubicBezTo>
                <a:lnTo>
                  <a:pt x="270" y="280"/>
                </a:lnTo>
                <a:close/>
                <a:moveTo>
                  <a:pt x="235" y="261"/>
                </a:moveTo>
                <a:cubicBezTo>
                  <a:pt x="220" y="261"/>
                  <a:pt x="220" y="261"/>
                  <a:pt x="220" y="261"/>
                </a:cubicBezTo>
                <a:cubicBezTo>
                  <a:pt x="220" y="239"/>
                  <a:pt x="220" y="239"/>
                  <a:pt x="220" y="239"/>
                </a:cubicBezTo>
                <a:cubicBezTo>
                  <a:pt x="235" y="239"/>
                  <a:pt x="235" y="239"/>
                  <a:pt x="235" y="239"/>
                </a:cubicBezTo>
                <a:lnTo>
                  <a:pt x="235" y="261"/>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1350" dirty="0"/>
          </a:p>
        </p:txBody>
      </p:sp>
    </p:spTree>
    <p:custDataLst>
      <p:custData r:id="rId2"/>
    </p:custDataLst>
    <p:extLst>
      <p:ext uri="{BB962C8B-B14F-4D97-AF65-F5344CB8AC3E}">
        <p14:creationId xmlns:p14="http://schemas.microsoft.com/office/powerpoint/2010/main" val="6785307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4DA136-1EA4-F7C5-200C-77C4257A5B8E}"/>
              </a:ext>
            </a:extLst>
          </p:cNvPr>
          <p:cNvGraphicFramePr>
            <a:graphicFrameLocks noChangeAspect="1"/>
          </p:cNvGraphicFramePr>
          <p:nvPr>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429" name="think-cell Slide" r:id="rId6" imgW="7772400" imgH="10058400" progId="TCLayout.ActiveDocument.1">
                  <p:embed/>
                </p:oleObj>
              </mc:Choice>
              <mc:Fallback>
                <p:oleObj name="think-cell Slide" r:id="rId6" imgW="7772400" imgH="10058400" progId="TCLayout.ActiveDocument.1">
                  <p:embed/>
                  <p:pic>
                    <p:nvPicPr>
                      <p:cNvPr id="10" name="Object 9" hidden="1">
                        <a:extLst>
                          <a:ext uri="{FF2B5EF4-FFF2-40B4-BE49-F238E27FC236}">
                            <a16:creationId xmlns:a16="http://schemas.microsoft.com/office/drawing/2014/main" id="{2D4DA136-1EA4-F7C5-200C-77C4257A5B8E}"/>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2F8DBAD9-2FB4-3D45-BD3C-AE82E5DD780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169" name="TextBox 168">
            <a:extLst>
              <a:ext uri="{FF2B5EF4-FFF2-40B4-BE49-F238E27FC236}">
                <a16:creationId xmlns:a16="http://schemas.microsoft.com/office/drawing/2014/main" id="{20452E5A-2247-49EF-A923-10AF3F688F10}"/>
              </a:ext>
            </a:extLst>
          </p:cNvPr>
          <p:cNvSpPr txBox="1"/>
          <p:nvPr/>
        </p:nvSpPr>
        <p:spPr>
          <a:xfrm>
            <a:off x="349820" y="318107"/>
            <a:ext cx="11380218" cy="523220"/>
          </a:xfrm>
          <a:prstGeom prst="rect">
            <a:avLst/>
          </a:prstGeom>
          <a:noFill/>
        </p:spPr>
        <p:txBody>
          <a:bodyPr wrap="square">
            <a:spAutoFit/>
          </a:bodyPr>
          <a:lstStyle/>
          <a:p>
            <a:pPr lvl="0">
              <a:defRPr/>
            </a:pPr>
            <a:r>
              <a:rPr lang="en-US" sz="2800" dirty="0">
                <a:solidFill>
                  <a:srgbClr val="000000"/>
                </a:solidFill>
                <a:latin typeface="Georgia"/>
                <a:ea typeface="Georgia"/>
                <a:cs typeface="Georgia"/>
                <a:sym typeface="Georgia"/>
              </a:rPr>
              <a:t>Key Components of AML and CFT compliance program</a:t>
            </a:r>
          </a:p>
        </p:txBody>
      </p:sp>
      <p:sp>
        <p:nvSpPr>
          <p:cNvPr id="2" name="Rectangle 1">
            <a:extLst>
              <a:ext uri="{FF2B5EF4-FFF2-40B4-BE49-F238E27FC236}">
                <a16:creationId xmlns:a16="http://schemas.microsoft.com/office/drawing/2014/main" id="{D3E82E12-CB3F-8998-950F-A2D45F6DB6BF}"/>
              </a:ext>
            </a:extLst>
          </p:cNvPr>
          <p:cNvSpPr/>
          <p:nvPr/>
        </p:nvSpPr>
        <p:spPr bwMode="gray">
          <a:xfrm>
            <a:off x="0" y="0"/>
            <a:ext cx="12192000" cy="137160"/>
          </a:xfrm>
          <a:prstGeom prst="rect">
            <a:avLst/>
          </a:prstGeom>
          <a:solidFill>
            <a:schemeClr val="accent3"/>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3" name="Rectangle 2">
            <a:extLst>
              <a:ext uri="{FF2B5EF4-FFF2-40B4-BE49-F238E27FC236}">
                <a16:creationId xmlns:a16="http://schemas.microsoft.com/office/drawing/2014/main" id="{76702AC8-68C3-8360-5A41-99C74E8B2258}"/>
              </a:ext>
            </a:extLst>
          </p:cNvPr>
          <p:cNvSpPr/>
          <p:nvPr/>
        </p:nvSpPr>
        <p:spPr bwMode="gray">
          <a:xfrm>
            <a:off x="442913" y="1181100"/>
            <a:ext cx="11306175" cy="806380"/>
          </a:xfrm>
          <a:prstGeom prst="rect">
            <a:avLst/>
          </a:prstGeom>
          <a:solidFill>
            <a:schemeClr val="accent6"/>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15" name="TextBox 14">
            <a:extLst>
              <a:ext uri="{FF2B5EF4-FFF2-40B4-BE49-F238E27FC236}">
                <a16:creationId xmlns:a16="http://schemas.microsoft.com/office/drawing/2014/main" id="{749B5B4A-49FB-8F19-DA7A-192AC1FA4884}"/>
              </a:ext>
            </a:extLst>
          </p:cNvPr>
          <p:cNvSpPr txBox="1"/>
          <p:nvPr/>
        </p:nvSpPr>
        <p:spPr>
          <a:xfrm>
            <a:off x="458834" y="1278541"/>
            <a:ext cx="11123565" cy="584775"/>
          </a:xfrm>
          <a:prstGeom prst="rect">
            <a:avLst/>
          </a:prstGeom>
          <a:noFill/>
        </p:spPr>
        <p:txBody>
          <a:bodyPr wrap="square">
            <a:spAutoFit/>
          </a:bodyPr>
          <a:lstStyle/>
          <a:p>
            <a:r>
              <a:rPr lang="en-US" sz="1600" b="1" dirty="0">
                <a:solidFill>
                  <a:schemeClr val="accent2"/>
                </a:solidFill>
              </a:rPr>
              <a:t>An AML/CFT program is an essential component of an institution’s compliance regime. Such a program should be risk-based and must address 4 basic elements – also known as “the four pillars”</a:t>
            </a:r>
          </a:p>
        </p:txBody>
      </p:sp>
      <p:sp>
        <p:nvSpPr>
          <p:cNvPr id="16" name="Rectangle 15">
            <a:extLst>
              <a:ext uri="{FF2B5EF4-FFF2-40B4-BE49-F238E27FC236}">
                <a16:creationId xmlns:a16="http://schemas.microsoft.com/office/drawing/2014/main" id="{4759320E-2884-5077-C3E0-9E9F2E839F57}"/>
              </a:ext>
            </a:extLst>
          </p:cNvPr>
          <p:cNvSpPr/>
          <p:nvPr/>
        </p:nvSpPr>
        <p:spPr bwMode="ltGray">
          <a:xfrm>
            <a:off x="456321" y="2144707"/>
            <a:ext cx="11292767" cy="522293"/>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432000" rIns="396000" rtlCol="0" anchor="ctr"/>
          <a:lstStyle/>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B113668A-008C-A74D-7934-CBFC0D907EB8}"/>
              </a:ext>
            </a:extLst>
          </p:cNvPr>
          <p:cNvSpPr txBox="1"/>
          <p:nvPr/>
        </p:nvSpPr>
        <p:spPr>
          <a:xfrm>
            <a:off x="899397" y="2257261"/>
            <a:ext cx="10406614"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AML and CFT Compliance program</a:t>
            </a:r>
          </a:p>
        </p:txBody>
      </p:sp>
      <p:grpSp>
        <p:nvGrpSpPr>
          <p:cNvPr id="20" name="Group 19">
            <a:extLst>
              <a:ext uri="{FF2B5EF4-FFF2-40B4-BE49-F238E27FC236}">
                <a16:creationId xmlns:a16="http://schemas.microsoft.com/office/drawing/2014/main" id="{1C92D59B-E18D-5B98-2058-9AC3483892C3}"/>
              </a:ext>
            </a:extLst>
          </p:cNvPr>
          <p:cNvGrpSpPr/>
          <p:nvPr/>
        </p:nvGrpSpPr>
        <p:grpSpPr>
          <a:xfrm>
            <a:off x="1576355" y="3002658"/>
            <a:ext cx="10006044" cy="3165504"/>
            <a:chOff x="412603" y="1441657"/>
            <a:chExt cx="12563839" cy="3974686"/>
          </a:xfrm>
        </p:grpSpPr>
        <p:sp>
          <p:nvSpPr>
            <p:cNvPr id="24" name="Google Shape;285;p22">
              <a:extLst>
                <a:ext uri="{FF2B5EF4-FFF2-40B4-BE49-F238E27FC236}">
                  <a16:creationId xmlns:a16="http://schemas.microsoft.com/office/drawing/2014/main" id="{C4B2FA51-A846-D3D2-7FE5-6652BDDBB2F0}"/>
                </a:ext>
              </a:extLst>
            </p:cNvPr>
            <p:cNvSpPr/>
            <p:nvPr/>
          </p:nvSpPr>
          <p:spPr>
            <a:xfrm>
              <a:off x="5170242" y="3557299"/>
              <a:ext cx="1738903" cy="1429606"/>
            </a:xfrm>
            <a:custGeom>
              <a:avLst/>
              <a:gdLst/>
              <a:ahLst/>
              <a:cxnLst/>
              <a:rect l="l" t="t" r="r" b="b"/>
              <a:pathLst>
                <a:path w="21600" h="21600" extrusionOk="0">
                  <a:moveTo>
                    <a:pt x="0" y="0"/>
                  </a:moveTo>
                  <a:lnTo>
                    <a:pt x="21599" y="0"/>
                  </a:lnTo>
                  <a:lnTo>
                    <a:pt x="21599" y="21600"/>
                  </a:lnTo>
                  <a:lnTo>
                    <a:pt x="0" y="21600"/>
                  </a:lnTo>
                  <a:close/>
                </a:path>
              </a:pathLst>
            </a:custGeom>
            <a:solidFill>
              <a:schemeClr val="bg2"/>
            </a:solidFill>
            <a:ln>
              <a:noFill/>
            </a:ln>
          </p:spPr>
          <p:txBody>
            <a:bodyPr spcFirstLastPara="1" wrap="square" lIns="0" tIns="0" rIns="0" bIns="0" anchor="b" anchorCtr="0">
              <a:noAutofit/>
            </a:bodyPr>
            <a:lstStyle/>
            <a:p>
              <a:pPr marL="0" marR="0" lvl="0" indent="0" algn="l" defTabSz="914400" rtl="0" eaLnBrk="1" fontAlgn="auto" latinLnBrk="0" hangingPunct="1">
                <a:lnSpc>
                  <a:spcPct val="150000"/>
                </a:lnSpc>
                <a:spcBef>
                  <a:spcPts val="0"/>
                </a:spcBef>
                <a:spcAft>
                  <a:spcPts val="0"/>
                </a:spcAft>
                <a:buClr>
                  <a:srgbClr val="000000"/>
                </a:buClr>
                <a:buSzTx/>
                <a:buFont typeface="Arial"/>
                <a:buNone/>
                <a:tabLst/>
                <a:defRPr/>
              </a:pPr>
              <a:endParaRPr kumimoji="0" sz="1200" b="1" i="0" u="none" strike="noStrike" kern="0" cap="none" spc="0" normalizeH="0" baseline="0" noProof="0">
                <a:ln>
                  <a:noFill/>
                </a:ln>
                <a:solidFill>
                  <a:srgbClr val="000000"/>
                </a:solidFill>
                <a:effectLst/>
                <a:uLnTx/>
                <a:uFillTx/>
                <a:latin typeface="Arial"/>
                <a:ea typeface="Lato"/>
                <a:cs typeface="Lato"/>
                <a:sym typeface="Lato"/>
              </a:endParaRPr>
            </a:p>
          </p:txBody>
        </p:sp>
        <p:sp>
          <p:nvSpPr>
            <p:cNvPr id="36" name="Google Shape;286;p22">
              <a:extLst>
                <a:ext uri="{FF2B5EF4-FFF2-40B4-BE49-F238E27FC236}">
                  <a16:creationId xmlns:a16="http://schemas.microsoft.com/office/drawing/2014/main" id="{F553F981-7139-4E34-7451-6EBE278F0972}"/>
                </a:ext>
              </a:extLst>
            </p:cNvPr>
            <p:cNvSpPr/>
            <p:nvPr/>
          </p:nvSpPr>
          <p:spPr>
            <a:xfrm>
              <a:off x="4098152" y="4986905"/>
              <a:ext cx="3844670" cy="429438"/>
            </a:xfrm>
            <a:prstGeom prst="roundRect">
              <a:avLst>
                <a:gd name="adj" fmla="val 16667"/>
              </a:avLst>
            </a:prstGeom>
            <a:solidFill>
              <a:schemeClr val="tx2"/>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a:ln>
                  <a:noFill/>
                </a:ln>
                <a:solidFill>
                  <a:srgbClr val="000000"/>
                </a:solidFill>
                <a:effectLst/>
                <a:uLnTx/>
                <a:uFillTx/>
                <a:latin typeface="Arial"/>
                <a:ea typeface="Century Gothic"/>
                <a:cs typeface="Century Gothic"/>
                <a:sym typeface="Century Gothic"/>
              </a:endParaRPr>
            </a:p>
          </p:txBody>
        </p:sp>
        <p:sp>
          <p:nvSpPr>
            <p:cNvPr id="37" name="Google Shape;288;p22">
              <a:extLst>
                <a:ext uri="{FF2B5EF4-FFF2-40B4-BE49-F238E27FC236}">
                  <a16:creationId xmlns:a16="http://schemas.microsoft.com/office/drawing/2014/main" id="{37069E7A-D809-C935-A8ED-3F026564D890}"/>
                </a:ext>
              </a:extLst>
            </p:cNvPr>
            <p:cNvSpPr/>
            <p:nvPr/>
          </p:nvSpPr>
          <p:spPr>
            <a:xfrm>
              <a:off x="4109659" y="1441657"/>
              <a:ext cx="1845320" cy="1577480"/>
            </a:xfrm>
            <a:custGeom>
              <a:avLst/>
              <a:gdLst/>
              <a:ahLst/>
              <a:cxnLst/>
              <a:rect l="l" t="t" r="r" b="b"/>
              <a:pathLst>
                <a:path w="21600" h="21600" extrusionOk="0">
                  <a:moveTo>
                    <a:pt x="9599" y="21600"/>
                  </a:moveTo>
                  <a:cubicBezTo>
                    <a:pt x="0" y="14674"/>
                    <a:pt x="0" y="14674"/>
                    <a:pt x="0" y="14674"/>
                  </a:cubicBezTo>
                  <a:cubicBezTo>
                    <a:pt x="4517" y="6100"/>
                    <a:pt x="12282" y="577"/>
                    <a:pt x="20894" y="0"/>
                  </a:cubicBezTo>
                  <a:cubicBezTo>
                    <a:pt x="21599" y="13190"/>
                    <a:pt x="21599" y="13190"/>
                    <a:pt x="21599" y="13190"/>
                  </a:cubicBezTo>
                  <a:cubicBezTo>
                    <a:pt x="16517" y="13520"/>
                    <a:pt x="12141" y="16818"/>
                    <a:pt x="9599" y="21600"/>
                  </a:cubicBezTo>
                  <a:close/>
                </a:path>
              </a:pathLst>
            </a:custGeom>
            <a:solidFill>
              <a:schemeClr val="accent6"/>
            </a:solidFill>
            <a:ln>
              <a:noFill/>
            </a:ln>
          </p:spPr>
          <p:txBody>
            <a:bodyPr spcFirstLastPara="1" wrap="square" lIns="17125" tIns="17125" rIns="17125" bIns="171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a:ln>
                  <a:noFill/>
                </a:ln>
                <a:solidFill>
                  <a:srgbClr val="000000"/>
                </a:solidFill>
                <a:effectLst/>
                <a:uLnTx/>
                <a:uFillTx/>
                <a:latin typeface="Arial"/>
                <a:ea typeface="Century Gothic"/>
                <a:cs typeface="Century Gothic"/>
                <a:sym typeface="Century Gothic"/>
              </a:endParaRPr>
            </a:p>
          </p:txBody>
        </p:sp>
        <p:sp>
          <p:nvSpPr>
            <p:cNvPr id="38" name="Google Shape;289;p22">
              <a:extLst>
                <a:ext uri="{FF2B5EF4-FFF2-40B4-BE49-F238E27FC236}">
                  <a16:creationId xmlns:a16="http://schemas.microsoft.com/office/drawing/2014/main" id="{CDFFDF3B-C1C5-2BC5-1165-A79BEA4D95BA}"/>
                </a:ext>
              </a:extLst>
            </p:cNvPr>
            <p:cNvSpPr/>
            <p:nvPr/>
          </p:nvSpPr>
          <p:spPr>
            <a:xfrm>
              <a:off x="4528230" y="2002827"/>
              <a:ext cx="1008175" cy="384117"/>
            </a:xfrm>
            <a:custGeom>
              <a:avLst/>
              <a:gdLst/>
              <a:ahLst/>
              <a:cxnLst/>
              <a:rect l="l" t="t" r="r" b="b"/>
              <a:pathLst>
                <a:path w="21600" h="21600" extrusionOk="0">
                  <a:moveTo>
                    <a:pt x="0" y="0"/>
                  </a:moveTo>
                  <a:lnTo>
                    <a:pt x="21600" y="0"/>
                  </a:lnTo>
                  <a:lnTo>
                    <a:pt x="21600" y="21600"/>
                  </a:lnTo>
                  <a:lnTo>
                    <a:pt x="0" y="21600"/>
                  </a:lnTo>
                  <a:close/>
                </a:path>
              </a:pathLst>
            </a:custGeom>
            <a:noFill/>
            <a:ln>
              <a:noFill/>
            </a:ln>
          </p:spPr>
          <p:txBody>
            <a:bodyPr spcFirstLastPara="1" wrap="square" lIns="0" tIns="0" rIns="0" bIns="0" anchor="ctr" anchorCtr="0">
              <a:noAutofit/>
            </a:bodyPr>
            <a:lstStyle/>
            <a:p>
              <a:pPr marL="0" marR="0" lvl="0" indent="0" algn="ctr" defTabSz="914400" rtl="0" eaLnBrk="1" fontAlgn="auto" latinLnBrk="0" hangingPunct="1">
                <a:lnSpc>
                  <a:spcPct val="160000"/>
                </a:lnSpc>
                <a:spcBef>
                  <a:spcPts val="0"/>
                </a:spcBef>
                <a:spcAft>
                  <a:spcPts val="0"/>
                </a:spcAft>
                <a:buClr>
                  <a:srgbClr val="000000"/>
                </a:buClr>
                <a:buSzTx/>
                <a:buFont typeface="Arial"/>
                <a:buNone/>
                <a:tabLst/>
                <a:defRPr/>
              </a:pPr>
              <a:r>
                <a:rPr kumimoji="0" lang="tr-TR" sz="1600" b="1" i="0" u="none" strike="noStrike" kern="0" cap="none" spc="0" normalizeH="0" baseline="0" noProof="0" dirty="0">
                  <a:ln>
                    <a:noFill/>
                  </a:ln>
                  <a:solidFill>
                    <a:schemeClr val="bg1"/>
                  </a:solidFill>
                  <a:effectLst/>
                  <a:uLnTx/>
                  <a:uFillTx/>
                  <a:latin typeface="Arial"/>
                  <a:ea typeface="Century Gothic"/>
                  <a:cs typeface="Century Gothic"/>
                  <a:sym typeface="Century Gothic"/>
                </a:rPr>
                <a:t>02</a:t>
              </a:r>
              <a:endParaRPr kumimoji="0" sz="1600" b="1" i="0" u="none" strike="noStrike" kern="0" cap="none" spc="0" normalizeH="0" baseline="0" noProof="0" dirty="0">
                <a:ln>
                  <a:noFill/>
                </a:ln>
                <a:solidFill>
                  <a:schemeClr val="bg1"/>
                </a:solidFill>
                <a:effectLst/>
                <a:uLnTx/>
                <a:uFillTx/>
                <a:latin typeface="Arial"/>
                <a:ea typeface="Century Gothic"/>
                <a:cs typeface="Century Gothic"/>
                <a:sym typeface="Century Gothic"/>
              </a:endParaRPr>
            </a:p>
          </p:txBody>
        </p:sp>
        <p:sp>
          <p:nvSpPr>
            <p:cNvPr id="39" name="Google Shape;291;p22">
              <a:extLst>
                <a:ext uri="{FF2B5EF4-FFF2-40B4-BE49-F238E27FC236}">
                  <a16:creationId xmlns:a16="http://schemas.microsoft.com/office/drawing/2014/main" id="{5D686965-07C7-DD5D-58CB-B68F2DC045F3}"/>
                </a:ext>
              </a:extLst>
            </p:cNvPr>
            <p:cNvSpPr/>
            <p:nvPr/>
          </p:nvSpPr>
          <p:spPr>
            <a:xfrm>
              <a:off x="6104004" y="1441657"/>
              <a:ext cx="1850322" cy="1566476"/>
            </a:xfrm>
            <a:custGeom>
              <a:avLst/>
              <a:gdLst/>
              <a:ahLst/>
              <a:cxnLst/>
              <a:rect l="l" t="t" r="r" b="b"/>
              <a:pathLst>
                <a:path w="21600" h="21600" extrusionOk="0">
                  <a:moveTo>
                    <a:pt x="0" y="13292"/>
                  </a:moveTo>
                  <a:cubicBezTo>
                    <a:pt x="562" y="0"/>
                    <a:pt x="562" y="0"/>
                    <a:pt x="562" y="0"/>
                  </a:cubicBezTo>
                  <a:cubicBezTo>
                    <a:pt x="9216" y="498"/>
                    <a:pt x="17026" y="5981"/>
                    <a:pt x="21600" y="14538"/>
                  </a:cubicBezTo>
                  <a:cubicBezTo>
                    <a:pt x="12031" y="21600"/>
                    <a:pt x="12031" y="21600"/>
                    <a:pt x="12031" y="21600"/>
                  </a:cubicBezTo>
                  <a:cubicBezTo>
                    <a:pt x="9498" y="16864"/>
                    <a:pt x="5065" y="13624"/>
                    <a:pt x="0" y="13292"/>
                  </a:cubicBezTo>
                  <a:close/>
                </a:path>
              </a:pathLst>
            </a:custGeom>
            <a:solidFill>
              <a:schemeClr val="accent2"/>
            </a:solidFill>
            <a:ln>
              <a:noFill/>
            </a:ln>
          </p:spPr>
          <p:txBody>
            <a:bodyPr spcFirstLastPara="1" wrap="square" lIns="17125" tIns="17125" rIns="17125" bIns="171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a:ln>
                  <a:noFill/>
                </a:ln>
                <a:solidFill>
                  <a:srgbClr val="000000"/>
                </a:solidFill>
                <a:effectLst/>
                <a:uLnTx/>
                <a:uFillTx/>
                <a:latin typeface="Arial"/>
                <a:ea typeface="Century Gothic"/>
                <a:cs typeface="Century Gothic"/>
                <a:sym typeface="Century Gothic"/>
              </a:endParaRPr>
            </a:p>
          </p:txBody>
        </p:sp>
        <p:sp>
          <p:nvSpPr>
            <p:cNvPr id="40" name="Google Shape;292;p22">
              <a:extLst>
                <a:ext uri="{FF2B5EF4-FFF2-40B4-BE49-F238E27FC236}">
                  <a16:creationId xmlns:a16="http://schemas.microsoft.com/office/drawing/2014/main" id="{D178B874-2172-CA09-D6E6-C6F5C678264A}"/>
                </a:ext>
              </a:extLst>
            </p:cNvPr>
            <p:cNvSpPr/>
            <p:nvPr/>
          </p:nvSpPr>
          <p:spPr>
            <a:xfrm>
              <a:off x="6405052" y="1941810"/>
              <a:ext cx="1008177" cy="384117"/>
            </a:xfrm>
            <a:custGeom>
              <a:avLst/>
              <a:gdLst/>
              <a:ahLst/>
              <a:cxnLst/>
              <a:rect l="l" t="t" r="r" b="b"/>
              <a:pathLst>
                <a:path w="21600" h="21600" extrusionOk="0">
                  <a:moveTo>
                    <a:pt x="0" y="0"/>
                  </a:moveTo>
                  <a:lnTo>
                    <a:pt x="21600" y="0"/>
                  </a:lnTo>
                  <a:lnTo>
                    <a:pt x="21600" y="21600"/>
                  </a:lnTo>
                  <a:lnTo>
                    <a:pt x="0" y="21600"/>
                  </a:lnTo>
                  <a:close/>
                </a:path>
              </a:pathLst>
            </a:custGeom>
            <a:noFill/>
            <a:ln>
              <a:noFill/>
            </a:ln>
          </p:spPr>
          <p:txBody>
            <a:bodyPr spcFirstLastPara="1" wrap="square" lIns="0" tIns="0" rIns="0" bIns="0" anchor="ctr" anchorCtr="0">
              <a:noAutofit/>
            </a:bodyPr>
            <a:lstStyle/>
            <a:p>
              <a:pPr marL="0" marR="0" lvl="0" indent="0" algn="ctr" defTabSz="914400" rtl="0" eaLnBrk="1" fontAlgn="auto" latinLnBrk="0" hangingPunct="1">
                <a:lnSpc>
                  <a:spcPct val="160000"/>
                </a:lnSpc>
                <a:spcBef>
                  <a:spcPts val="0"/>
                </a:spcBef>
                <a:spcAft>
                  <a:spcPts val="0"/>
                </a:spcAft>
                <a:buClr>
                  <a:srgbClr val="000000"/>
                </a:buClr>
                <a:buSzTx/>
                <a:buFont typeface="Arial"/>
                <a:buNone/>
                <a:tabLst/>
                <a:defRPr/>
              </a:pPr>
              <a:r>
                <a:rPr kumimoji="0" lang="tr-TR" sz="1600" b="1" i="0" u="none" strike="noStrike" kern="0" cap="none" spc="0" normalizeH="0" baseline="0" noProof="0" dirty="0">
                  <a:ln>
                    <a:noFill/>
                  </a:ln>
                  <a:solidFill>
                    <a:srgbClr val="000000"/>
                  </a:solidFill>
                  <a:effectLst/>
                  <a:uLnTx/>
                  <a:uFillTx/>
                  <a:latin typeface="Arial"/>
                  <a:ea typeface="Century Gothic"/>
                  <a:cs typeface="Century Gothic"/>
                  <a:sym typeface="Century Gothic"/>
                </a:rPr>
                <a:t>03</a:t>
              </a:r>
              <a:endParaRPr kumimoji="0" sz="1600" b="1" i="0" u="none" strike="noStrike" kern="0" cap="none" spc="0" normalizeH="0" baseline="0" noProof="0" dirty="0">
                <a:ln>
                  <a:noFill/>
                </a:ln>
                <a:solidFill>
                  <a:srgbClr val="000000"/>
                </a:solidFill>
                <a:effectLst/>
                <a:uLnTx/>
                <a:uFillTx/>
                <a:latin typeface="Arial"/>
                <a:ea typeface="Century Gothic"/>
                <a:cs typeface="Century Gothic"/>
                <a:sym typeface="Century Gothic"/>
              </a:endParaRPr>
            </a:p>
          </p:txBody>
        </p:sp>
        <p:sp>
          <p:nvSpPr>
            <p:cNvPr id="41" name="Google Shape;294;p22">
              <a:extLst>
                <a:ext uri="{FF2B5EF4-FFF2-40B4-BE49-F238E27FC236}">
                  <a16:creationId xmlns:a16="http://schemas.microsoft.com/office/drawing/2014/main" id="{17D3C0AE-D1CC-7033-5FA3-31AC89B7B400}"/>
                </a:ext>
              </a:extLst>
            </p:cNvPr>
            <p:cNvSpPr/>
            <p:nvPr/>
          </p:nvSpPr>
          <p:spPr>
            <a:xfrm>
              <a:off x="7184192" y="2699266"/>
              <a:ext cx="1112194" cy="2083634"/>
            </a:xfrm>
            <a:custGeom>
              <a:avLst/>
              <a:gdLst/>
              <a:ahLst/>
              <a:cxnLst/>
              <a:rect l="l" t="t" r="r" b="b"/>
              <a:pathLst>
                <a:path w="20053" h="21600" extrusionOk="0">
                  <a:moveTo>
                    <a:pt x="0" y="4619"/>
                  </a:moveTo>
                  <a:cubicBezTo>
                    <a:pt x="15413" y="0"/>
                    <a:pt x="15413" y="0"/>
                    <a:pt x="15413" y="0"/>
                  </a:cubicBezTo>
                  <a:cubicBezTo>
                    <a:pt x="21599" y="6742"/>
                    <a:pt x="21599" y="14857"/>
                    <a:pt x="15413" y="21599"/>
                  </a:cubicBezTo>
                  <a:cubicBezTo>
                    <a:pt x="0" y="16980"/>
                    <a:pt x="0" y="16980"/>
                    <a:pt x="0" y="16980"/>
                  </a:cubicBezTo>
                  <a:cubicBezTo>
                    <a:pt x="1736" y="15169"/>
                    <a:pt x="2605" y="13047"/>
                    <a:pt x="2605" y="10800"/>
                  </a:cubicBezTo>
                  <a:cubicBezTo>
                    <a:pt x="2605" y="8552"/>
                    <a:pt x="1736" y="6492"/>
                    <a:pt x="0" y="4619"/>
                  </a:cubicBezTo>
                  <a:close/>
                </a:path>
              </a:pathLst>
            </a:custGeom>
            <a:solidFill>
              <a:schemeClr val="accent6"/>
            </a:solidFill>
            <a:ln>
              <a:noFill/>
            </a:ln>
          </p:spPr>
          <p:txBody>
            <a:bodyPr spcFirstLastPara="1" wrap="square" lIns="17125" tIns="17125" rIns="17125" bIns="171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a:ln>
                  <a:noFill/>
                </a:ln>
                <a:solidFill>
                  <a:srgbClr val="000000"/>
                </a:solidFill>
                <a:effectLst/>
                <a:uLnTx/>
                <a:uFillTx/>
                <a:latin typeface="Arial"/>
                <a:ea typeface="Century Gothic"/>
                <a:cs typeface="Century Gothic"/>
                <a:sym typeface="Century Gothic"/>
              </a:endParaRPr>
            </a:p>
          </p:txBody>
        </p:sp>
        <p:sp>
          <p:nvSpPr>
            <p:cNvPr id="42" name="Google Shape;295;p22">
              <a:extLst>
                <a:ext uri="{FF2B5EF4-FFF2-40B4-BE49-F238E27FC236}">
                  <a16:creationId xmlns:a16="http://schemas.microsoft.com/office/drawing/2014/main" id="{758EA3F3-86B6-F630-4C93-38B13631C9BD}"/>
                </a:ext>
              </a:extLst>
            </p:cNvPr>
            <p:cNvSpPr/>
            <p:nvPr/>
          </p:nvSpPr>
          <p:spPr>
            <a:xfrm>
              <a:off x="7355767" y="3527292"/>
              <a:ext cx="1007176" cy="384117"/>
            </a:xfrm>
            <a:custGeom>
              <a:avLst/>
              <a:gdLst/>
              <a:ahLst/>
              <a:cxnLst/>
              <a:rect l="l" t="t" r="r" b="b"/>
              <a:pathLst>
                <a:path w="21600" h="21600" extrusionOk="0">
                  <a:moveTo>
                    <a:pt x="0" y="0"/>
                  </a:moveTo>
                  <a:lnTo>
                    <a:pt x="21600" y="0"/>
                  </a:lnTo>
                  <a:lnTo>
                    <a:pt x="21600" y="21600"/>
                  </a:lnTo>
                  <a:lnTo>
                    <a:pt x="0" y="21600"/>
                  </a:lnTo>
                  <a:close/>
                </a:path>
              </a:pathLst>
            </a:custGeom>
            <a:noFill/>
            <a:ln>
              <a:noFill/>
            </a:ln>
          </p:spPr>
          <p:txBody>
            <a:bodyPr spcFirstLastPara="1" wrap="square" lIns="0" tIns="0" rIns="0" bIns="0" anchor="ctr" anchorCtr="0">
              <a:noAutofit/>
            </a:bodyPr>
            <a:lstStyle/>
            <a:p>
              <a:pPr marL="0" marR="0" lvl="0" indent="0" algn="ctr" defTabSz="914400" rtl="0" eaLnBrk="1" fontAlgn="auto" latinLnBrk="0" hangingPunct="1">
                <a:lnSpc>
                  <a:spcPct val="160000"/>
                </a:lnSpc>
                <a:spcBef>
                  <a:spcPts val="0"/>
                </a:spcBef>
                <a:spcAft>
                  <a:spcPts val="0"/>
                </a:spcAft>
                <a:buClr>
                  <a:srgbClr val="000000"/>
                </a:buClr>
                <a:buSzTx/>
                <a:buFont typeface="Arial"/>
                <a:buNone/>
                <a:tabLst/>
                <a:defRPr/>
              </a:pPr>
              <a:r>
                <a:rPr kumimoji="0" lang="tr-TR" sz="1600" b="1" i="0" u="none" strike="noStrike" kern="0" cap="none" spc="0" normalizeH="0" baseline="0" noProof="0" dirty="0">
                  <a:ln>
                    <a:noFill/>
                  </a:ln>
                  <a:solidFill>
                    <a:schemeClr val="bg1"/>
                  </a:solidFill>
                  <a:effectLst/>
                  <a:uLnTx/>
                  <a:uFillTx/>
                  <a:latin typeface="Arial"/>
                  <a:ea typeface="Century Gothic"/>
                  <a:cs typeface="Century Gothic"/>
                  <a:sym typeface="Century Gothic"/>
                </a:rPr>
                <a:t>04</a:t>
              </a:r>
              <a:endParaRPr kumimoji="0" sz="1600" b="1" i="0" u="none" strike="noStrike" kern="0" cap="none" spc="0" normalizeH="0" baseline="0" noProof="0" dirty="0">
                <a:ln>
                  <a:noFill/>
                </a:ln>
                <a:solidFill>
                  <a:schemeClr val="bg1"/>
                </a:solidFill>
                <a:effectLst/>
                <a:uLnTx/>
                <a:uFillTx/>
                <a:latin typeface="Arial"/>
                <a:ea typeface="Century Gothic"/>
                <a:cs typeface="Century Gothic"/>
                <a:sym typeface="Century Gothic"/>
              </a:endParaRPr>
            </a:p>
          </p:txBody>
        </p:sp>
        <p:sp>
          <p:nvSpPr>
            <p:cNvPr id="43" name="Google Shape;297;p22">
              <a:extLst>
                <a:ext uri="{FF2B5EF4-FFF2-40B4-BE49-F238E27FC236}">
                  <a16:creationId xmlns:a16="http://schemas.microsoft.com/office/drawing/2014/main" id="{95BB3D5D-286A-A6C2-EA3F-1EC2A882DE0B}"/>
                </a:ext>
              </a:extLst>
            </p:cNvPr>
            <p:cNvSpPr/>
            <p:nvPr/>
          </p:nvSpPr>
          <p:spPr>
            <a:xfrm>
              <a:off x="3751492" y="2699266"/>
              <a:ext cx="1117194" cy="2083634"/>
            </a:xfrm>
            <a:custGeom>
              <a:avLst/>
              <a:gdLst/>
              <a:ahLst/>
              <a:cxnLst/>
              <a:rect l="l" t="t" r="r" b="b"/>
              <a:pathLst>
                <a:path w="20023" h="21600" extrusionOk="0">
                  <a:moveTo>
                    <a:pt x="20023" y="16855"/>
                  </a:moveTo>
                  <a:cubicBezTo>
                    <a:pt x="4794" y="21599"/>
                    <a:pt x="4794" y="21599"/>
                    <a:pt x="4794" y="21599"/>
                  </a:cubicBezTo>
                  <a:cubicBezTo>
                    <a:pt x="-1470" y="14857"/>
                    <a:pt x="-1577" y="6804"/>
                    <a:pt x="4363" y="0"/>
                  </a:cubicBezTo>
                  <a:cubicBezTo>
                    <a:pt x="19806" y="4494"/>
                    <a:pt x="19806" y="4494"/>
                    <a:pt x="19806" y="4494"/>
                  </a:cubicBezTo>
                  <a:cubicBezTo>
                    <a:pt x="18187" y="6305"/>
                    <a:pt x="17323" y="8365"/>
                    <a:pt x="17323" y="10550"/>
                  </a:cubicBezTo>
                  <a:cubicBezTo>
                    <a:pt x="17323" y="12860"/>
                    <a:pt x="18295" y="14982"/>
                    <a:pt x="20023" y="16855"/>
                  </a:cubicBezTo>
                  <a:close/>
                </a:path>
              </a:pathLst>
            </a:custGeom>
            <a:solidFill>
              <a:schemeClr val="accent2"/>
            </a:solidFill>
            <a:ln>
              <a:noFill/>
            </a:ln>
          </p:spPr>
          <p:txBody>
            <a:bodyPr spcFirstLastPara="1" wrap="square" lIns="17125" tIns="17125" rIns="17125" bIns="171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dirty="0">
                <a:ln>
                  <a:noFill/>
                </a:ln>
                <a:solidFill>
                  <a:srgbClr val="000000"/>
                </a:solidFill>
                <a:effectLst/>
                <a:uLnTx/>
                <a:uFillTx/>
                <a:latin typeface="Arial"/>
                <a:ea typeface="Century Gothic"/>
                <a:cs typeface="Century Gothic"/>
                <a:sym typeface="Century Gothic"/>
              </a:endParaRPr>
            </a:p>
          </p:txBody>
        </p:sp>
        <p:sp>
          <p:nvSpPr>
            <p:cNvPr id="44" name="Google Shape;298;p22">
              <a:extLst>
                <a:ext uri="{FF2B5EF4-FFF2-40B4-BE49-F238E27FC236}">
                  <a16:creationId xmlns:a16="http://schemas.microsoft.com/office/drawing/2014/main" id="{A4A10920-4EC3-99FE-FD34-B4BAFA86ED6E}"/>
                </a:ext>
              </a:extLst>
            </p:cNvPr>
            <p:cNvSpPr/>
            <p:nvPr/>
          </p:nvSpPr>
          <p:spPr>
            <a:xfrm>
              <a:off x="3844688" y="3500284"/>
              <a:ext cx="795138" cy="384117"/>
            </a:xfrm>
            <a:custGeom>
              <a:avLst/>
              <a:gdLst/>
              <a:ahLst/>
              <a:cxnLst/>
              <a:rect l="l" t="t" r="r" b="b"/>
              <a:pathLst>
                <a:path w="21600" h="21600" extrusionOk="0">
                  <a:moveTo>
                    <a:pt x="0" y="0"/>
                  </a:moveTo>
                  <a:lnTo>
                    <a:pt x="21600" y="0"/>
                  </a:lnTo>
                  <a:lnTo>
                    <a:pt x="21600" y="21600"/>
                  </a:lnTo>
                  <a:lnTo>
                    <a:pt x="0" y="21600"/>
                  </a:lnTo>
                  <a:close/>
                </a:path>
              </a:pathLst>
            </a:custGeom>
            <a:noFill/>
            <a:ln>
              <a:noFill/>
            </a:ln>
          </p:spPr>
          <p:txBody>
            <a:bodyPr spcFirstLastPara="1" wrap="square" lIns="0" tIns="0" rIns="0" bIns="0" anchor="ctr" anchorCtr="0">
              <a:noAutofit/>
            </a:bodyPr>
            <a:lstStyle/>
            <a:p>
              <a:pPr marL="0" marR="0" lvl="0" indent="0" algn="ctr" defTabSz="914400" rtl="0" eaLnBrk="1" fontAlgn="auto" latinLnBrk="0" hangingPunct="1">
                <a:lnSpc>
                  <a:spcPct val="160000"/>
                </a:lnSpc>
                <a:spcBef>
                  <a:spcPts val="0"/>
                </a:spcBef>
                <a:spcAft>
                  <a:spcPts val="0"/>
                </a:spcAft>
                <a:buClr>
                  <a:srgbClr val="000000"/>
                </a:buClr>
                <a:buSzTx/>
                <a:buFont typeface="Arial"/>
                <a:buNone/>
                <a:tabLst/>
                <a:defRPr/>
              </a:pPr>
              <a:r>
                <a:rPr kumimoji="0" lang="tr-TR" sz="1600" b="1" i="0" u="none" strike="noStrike" kern="0" cap="none" spc="0" normalizeH="0" baseline="0" noProof="0" dirty="0">
                  <a:ln>
                    <a:noFill/>
                  </a:ln>
                  <a:effectLst/>
                  <a:uLnTx/>
                  <a:uFillTx/>
                  <a:latin typeface="Arial"/>
                  <a:ea typeface="Century Gothic"/>
                  <a:cs typeface="Century Gothic"/>
                  <a:sym typeface="Century Gothic"/>
                </a:rPr>
                <a:t>01</a:t>
              </a:r>
              <a:endParaRPr kumimoji="0" sz="1600" b="1" i="0" u="none" strike="noStrike" kern="0" cap="none" spc="0" normalizeH="0" baseline="0" noProof="0" dirty="0">
                <a:ln>
                  <a:noFill/>
                </a:ln>
                <a:effectLst/>
                <a:uLnTx/>
                <a:uFillTx/>
                <a:latin typeface="Arial"/>
                <a:ea typeface="Century Gothic"/>
                <a:cs typeface="Century Gothic"/>
                <a:sym typeface="Century Gothic"/>
              </a:endParaRPr>
            </a:p>
          </p:txBody>
        </p:sp>
        <p:sp>
          <p:nvSpPr>
            <p:cNvPr id="45" name="Google Shape;300;p22">
              <a:extLst>
                <a:ext uri="{FF2B5EF4-FFF2-40B4-BE49-F238E27FC236}">
                  <a16:creationId xmlns:a16="http://schemas.microsoft.com/office/drawing/2014/main" id="{9ABDBF8E-0308-DC9E-956B-D76E6F0A6450}"/>
                </a:ext>
              </a:extLst>
            </p:cNvPr>
            <p:cNvSpPr/>
            <p:nvPr/>
          </p:nvSpPr>
          <p:spPr>
            <a:xfrm>
              <a:off x="3124736" y="1557714"/>
              <a:ext cx="365646" cy="365694"/>
            </a:xfrm>
            <a:custGeom>
              <a:avLst/>
              <a:gdLst/>
              <a:ahLst/>
              <a:cxnLst/>
              <a:rect l="l" t="t" r="r" b="b"/>
              <a:pathLst>
                <a:path w="21600" h="21600" extrusionOk="0">
                  <a:moveTo>
                    <a:pt x="21599" y="10800"/>
                  </a:moveTo>
                  <a:cubicBezTo>
                    <a:pt x="21599" y="16764"/>
                    <a:pt x="16764" y="21599"/>
                    <a:pt x="10800" y="21599"/>
                  </a:cubicBezTo>
                  <a:cubicBezTo>
                    <a:pt x="4835" y="21599"/>
                    <a:pt x="0" y="16764"/>
                    <a:pt x="0" y="10800"/>
                  </a:cubicBezTo>
                  <a:cubicBezTo>
                    <a:pt x="0" y="4835"/>
                    <a:pt x="4835" y="0"/>
                    <a:pt x="10799" y="0"/>
                  </a:cubicBezTo>
                  <a:cubicBezTo>
                    <a:pt x="16764" y="0"/>
                    <a:pt x="21599" y="4835"/>
                    <a:pt x="21599" y="10799"/>
                  </a:cubicBezTo>
                  <a:close/>
                </a:path>
              </a:pathLst>
            </a:custGeom>
            <a:solidFill>
              <a:schemeClr val="accent6"/>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a:ln>
                  <a:noFill/>
                </a:ln>
                <a:solidFill>
                  <a:srgbClr val="000000"/>
                </a:solidFill>
                <a:effectLst/>
                <a:uLnTx/>
                <a:uFillTx/>
                <a:latin typeface="Arial"/>
                <a:ea typeface="Century Gothic"/>
                <a:cs typeface="Century Gothic"/>
                <a:sym typeface="Century Gothic"/>
              </a:endParaRPr>
            </a:p>
          </p:txBody>
        </p:sp>
        <p:sp>
          <p:nvSpPr>
            <p:cNvPr id="46" name="Google Shape;301;p22">
              <a:extLst>
                <a:ext uri="{FF2B5EF4-FFF2-40B4-BE49-F238E27FC236}">
                  <a16:creationId xmlns:a16="http://schemas.microsoft.com/office/drawing/2014/main" id="{2E08C44A-11B0-A4E8-1054-96F38F2F135D}"/>
                </a:ext>
              </a:extLst>
            </p:cNvPr>
            <p:cNvSpPr/>
            <p:nvPr/>
          </p:nvSpPr>
          <p:spPr>
            <a:xfrm>
              <a:off x="3108202" y="3653369"/>
              <a:ext cx="366080" cy="365694"/>
            </a:xfrm>
            <a:custGeom>
              <a:avLst/>
              <a:gdLst/>
              <a:ahLst/>
              <a:cxnLst/>
              <a:rect l="l" t="t" r="r" b="b"/>
              <a:pathLst>
                <a:path w="21600" h="21600" extrusionOk="0">
                  <a:moveTo>
                    <a:pt x="21599" y="10800"/>
                  </a:moveTo>
                  <a:cubicBezTo>
                    <a:pt x="21599" y="16764"/>
                    <a:pt x="16764" y="21599"/>
                    <a:pt x="10800" y="21599"/>
                  </a:cubicBezTo>
                  <a:cubicBezTo>
                    <a:pt x="4835" y="21599"/>
                    <a:pt x="0" y="16764"/>
                    <a:pt x="0" y="10800"/>
                  </a:cubicBezTo>
                  <a:cubicBezTo>
                    <a:pt x="0" y="4835"/>
                    <a:pt x="4835" y="0"/>
                    <a:pt x="10799" y="0"/>
                  </a:cubicBezTo>
                  <a:cubicBezTo>
                    <a:pt x="16764" y="0"/>
                    <a:pt x="21599" y="4835"/>
                    <a:pt x="21599" y="10799"/>
                  </a:cubicBezTo>
                  <a:close/>
                </a:path>
              </a:pathLst>
            </a:custGeom>
            <a:solidFill>
              <a:schemeClr val="accent2"/>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a:ln>
                  <a:noFill/>
                </a:ln>
                <a:solidFill>
                  <a:srgbClr val="000000"/>
                </a:solidFill>
                <a:effectLst/>
                <a:uLnTx/>
                <a:uFillTx/>
                <a:latin typeface="Arial"/>
                <a:ea typeface="Century Gothic"/>
                <a:cs typeface="Century Gothic"/>
                <a:sym typeface="Century Gothic"/>
              </a:endParaRPr>
            </a:p>
          </p:txBody>
        </p:sp>
        <p:sp>
          <p:nvSpPr>
            <p:cNvPr id="47" name="Google Shape;302;p22">
              <a:extLst>
                <a:ext uri="{FF2B5EF4-FFF2-40B4-BE49-F238E27FC236}">
                  <a16:creationId xmlns:a16="http://schemas.microsoft.com/office/drawing/2014/main" id="{FC449FA7-F0AD-881E-B3C5-C22DB792DFAD}"/>
                </a:ext>
              </a:extLst>
            </p:cNvPr>
            <p:cNvSpPr txBox="1">
              <a:spLocks/>
            </p:cNvSpPr>
            <p:nvPr/>
          </p:nvSpPr>
          <p:spPr>
            <a:xfrm>
              <a:off x="440436" y="1520769"/>
              <a:ext cx="2593521" cy="36847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tr-TR" sz="1400" b="1" i="0" u="none" strike="noStrike" kern="0" cap="none" spc="0" normalizeH="0" baseline="0" noProof="0" dirty="0" err="1">
                  <a:ln>
                    <a:noFill/>
                  </a:ln>
                  <a:solidFill>
                    <a:srgbClr val="000000"/>
                  </a:solidFill>
                  <a:effectLst/>
                  <a:uLnTx/>
                  <a:uFillTx/>
                  <a:latin typeface="Arial"/>
                  <a:ea typeface="Century Gothic"/>
                  <a:cs typeface="Century Gothic"/>
                  <a:sym typeface="Century Gothic"/>
                </a:rPr>
                <a:t>Monitoring</a:t>
              </a:r>
              <a:r>
                <a:rPr kumimoji="0" lang="tr-TR" sz="1400" b="1" i="0" u="none" strike="noStrike" kern="0" cap="none" spc="0" normalizeH="0" baseline="0" noProof="0" dirty="0">
                  <a:ln>
                    <a:noFill/>
                  </a:ln>
                  <a:solidFill>
                    <a:srgbClr val="000000"/>
                  </a:solidFill>
                  <a:effectLst/>
                  <a:uLnTx/>
                  <a:uFillTx/>
                  <a:latin typeface="Arial"/>
                  <a:ea typeface="Century Gothic"/>
                  <a:cs typeface="Century Gothic"/>
                  <a:sym typeface="Century Gothic"/>
                </a:rPr>
                <a:t> of </a:t>
              </a:r>
              <a:r>
                <a:rPr kumimoji="0" lang="tr-TR" sz="1400" b="1" i="0" u="none" strike="noStrike" kern="0" cap="none" spc="0" normalizeH="0" baseline="0" noProof="0" dirty="0" err="1">
                  <a:ln>
                    <a:noFill/>
                  </a:ln>
                  <a:solidFill>
                    <a:srgbClr val="000000"/>
                  </a:solidFill>
                  <a:effectLst/>
                  <a:uLnTx/>
                  <a:uFillTx/>
                  <a:latin typeface="Arial"/>
                  <a:ea typeface="Century Gothic"/>
                  <a:cs typeface="Century Gothic"/>
                  <a:sym typeface="Century Gothic"/>
                </a:rPr>
                <a:t>transactions</a:t>
              </a:r>
              <a:endParaRPr kumimoji="0" lang="tr-TR" sz="1400" b="1" i="0" u="none" strike="noStrike" kern="0" cap="none" spc="0" normalizeH="0" baseline="0" noProof="0" dirty="0">
                <a:ln>
                  <a:noFill/>
                </a:ln>
                <a:solidFill>
                  <a:srgbClr val="000000"/>
                </a:solidFill>
                <a:effectLst/>
                <a:uLnTx/>
                <a:uFillTx/>
                <a:latin typeface="Arial"/>
                <a:ea typeface="Century Gothic"/>
                <a:cs typeface="Century Gothic"/>
                <a:sym typeface="Century Gothic"/>
              </a:endParaRPr>
            </a:p>
          </p:txBody>
        </p:sp>
        <p:sp>
          <p:nvSpPr>
            <p:cNvPr id="48" name="Google Shape;304;p22">
              <a:extLst>
                <a:ext uri="{FF2B5EF4-FFF2-40B4-BE49-F238E27FC236}">
                  <a16:creationId xmlns:a16="http://schemas.microsoft.com/office/drawing/2014/main" id="{7D916D07-0F78-9CBE-5E52-DDBF479C1FB1}"/>
                </a:ext>
              </a:extLst>
            </p:cNvPr>
            <p:cNvSpPr txBox="1">
              <a:spLocks/>
            </p:cNvSpPr>
            <p:nvPr/>
          </p:nvSpPr>
          <p:spPr>
            <a:xfrm>
              <a:off x="412603" y="3178719"/>
              <a:ext cx="2593521" cy="1465380"/>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tr-TR" sz="1400" b="1" i="0" u="none" strike="noStrike" kern="0" cap="none" spc="0" normalizeH="0" baseline="0" noProof="0" dirty="0">
                  <a:ln>
                    <a:noFill/>
                  </a:ln>
                  <a:solidFill>
                    <a:srgbClr val="000000"/>
                  </a:solidFill>
                  <a:effectLst/>
                  <a:uLnTx/>
                  <a:uFillTx/>
                  <a:latin typeface="Arial"/>
                  <a:ea typeface="Century Gothic"/>
                  <a:cs typeface="Century Gothic"/>
                  <a:sym typeface="Century Gothic"/>
                </a:rPr>
                <a:t>Customer Due Diligence (CDD)</a:t>
              </a:r>
              <a:r>
                <a:rPr kumimoji="0" lang="en-US" sz="1400" b="1" i="0" u="none" strike="noStrike" kern="0" cap="none" spc="0" normalizeH="0" baseline="0" noProof="0" dirty="0">
                  <a:ln>
                    <a:noFill/>
                  </a:ln>
                  <a:solidFill>
                    <a:srgbClr val="000000"/>
                  </a:solidFill>
                  <a:effectLst/>
                  <a:uLnTx/>
                  <a:uFillTx/>
                  <a:latin typeface="Arial"/>
                  <a:ea typeface="Century Gothic"/>
                  <a:cs typeface="Century Gothic"/>
                  <a:sym typeface="Century Gothic"/>
                </a:rPr>
                <a:t>/ Enhanced Due Diligence </a:t>
              </a:r>
              <a:endParaRPr kumimoji="0" lang="tr-TR" sz="1400" b="1" i="0" u="none" strike="noStrike" kern="0" cap="none" spc="0" normalizeH="0" baseline="0" noProof="0" dirty="0">
                <a:ln>
                  <a:noFill/>
                </a:ln>
                <a:solidFill>
                  <a:srgbClr val="000000"/>
                </a:solidFill>
                <a:effectLst/>
                <a:uLnTx/>
                <a:uFillTx/>
                <a:latin typeface="Arial"/>
                <a:ea typeface="Century Gothic"/>
                <a:cs typeface="Century Gothic"/>
                <a:sym typeface="Century Gothic"/>
              </a:endParaRPr>
            </a:p>
          </p:txBody>
        </p:sp>
        <p:sp>
          <p:nvSpPr>
            <p:cNvPr id="49" name="Google Shape;307;p22">
              <a:extLst>
                <a:ext uri="{FF2B5EF4-FFF2-40B4-BE49-F238E27FC236}">
                  <a16:creationId xmlns:a16="http://schemas.microsoft.com/office/drawing/2014/main" id="{303F7E50-6DB5-0AC7-9ECA-127CCEC86788}"/>
                </a:ext>
              </a:extLst>
            </p:cNvPr>
            <p:cNvSpPr/>
            <p:nvPr/>
          </p:nvSpPr>
          <p:spPr>
            <a:xfrm>
              <a:off x="8743014" y="3502511"/>
              <a:ext cx="365647" cy="365694"/>
            </a:xfrm>
            <a:custGeom>
              <a:avLst/>
              <a:gdLst/>
              <a:ahLst/>
              <a:cxnLst/>
              <a:rect l="l" t="t" r="r" b="b"/>
              <a:pathLst>
                <a:path w="21600" h="21600" extrusionOk="0">
                  <a:moveTo>
                    <a:pt x="21599" y="10800"/>
                  </a:moveTo>
                  <a:cubicBezTo>
                    <a:pt x="21599" y="16764"/>
                    <a:pt x="16764" y="21599"/>
                    <a:pt x="10800" y="21599"/>
                  </a:cubicBezTo>
                  <a:cubicBezTo>
                    <a:pt x="4835" y="21599"/>
                    <a:pt x="0" y="16764"/>
                    <a:pt x="0" y="10800"/>
                  </a:cubicBezTo>
                  <a:cubicBezTo>
                    <a:pt x="0" y="4835"/>
                    <a:pt x="4835" y="0"/>
                    <a:pt x="10799" y="0"/>
                  </a:cubicBezTo>
                  <a:cubicBezTo>
                    <a:pt x="16764" y="0"/>
                    <a:pt x="21599" y="4835"/>
                    <a:pt x="21599" y="10799"/>
                  </a:cubicBezTo>
                  <a:close/>
                </a:path>
              </a:pathLst>
            </a:custGeom>
            <a:solidFill>
              <a:schemeClr val="accent6"/>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a:ln>
                  <a:noFill/>
                </a:ln>
                <a:solidFill>
                  <a:srgbClr val="000000"/>
                </a:solidFill>
                <a:effectLst/>
                <a:uLnTx/>
                <a:uFillTx/>
                <a:latin typeface="Arial"/>
                <a:ea typeface="Century Gothic"/>
                <a:cs typeface="Century Gothic"/>
                <a:sym typeface="Century Gothic"/>
              </a:endParaRPr>
            </a:p>
          </p:txBody>
        </p:sp>
        <p:sp>
          <p:nvSpPr>
            <p:cNvPr id="50" name="Google Shape;308;p22">
              <a:extLst>
                <a:ext uri="{FF2B5EF4-FFF2-40B4-BE49-F238E27FC236}">
                  <a16:creationId xmlns:a16="http://schemas.microsoft.com/office/drawing/2014/main" id="{5ACF9120-34D8-1080-355E-ED8D58E93D52}"/>
                </a:ext>
              </a:extLst>
            </p:cNvPr>
            <p:cNvSpPr/>
            <p:nvPr/>
          </p:nvSpPr>
          <p:spPr>
            <a:xfrm>
              <a:off x="8692497" y="1555203"/>
              <a:ext cx="365647" cy="366128"/>
            </a:xfrm>
            <a:custGeom>
              <a:avLst/>
              <a:gdLst/>
              <a:ahLst/>
              <a:cxnLst/>
              <a:rect l="l" t="t" r="r" b="b"/>
              <a:pathLst>
                <a:path w="21600" h="21600" extrusionOk="0">
                  <a:moveTo>
                    <a:pt x="21599" y="10800"/>
                  </a:moveTo>
                  <a:cubicBezTo>
                    <a:pt x="21599" y="16764"/>
                    <a:pt x="16764" y="21599"/>
                    <a:pt x="10800" y="21599"/>
                  </a:cubicBezTo>
                  <a:cubicBezTo>
                    <a:pt x="4835" y="21599"/>
                    <a:pt x="0" y="16764"/>
                    <a:pt x="0" y="10800"/>
                  </a:cubicBezTo>
                  <a:cubicBezTo>
                    <a:pt x="0" y="4835"/>
                    <a:pt x="4835" y="0"/>
                    <a:pt x="10799" y="0"/>
                  </a:cubicBezTo>
                  <a:cubicBezTo>
                    <a:pt x="16764" y="0"/>
                    <a:pt x="21599" y="4835"/>
                    <a:pt x="21599" y="10799"/>
                  </a:cubicBezTo>
                  <a:close/>
                </a:path>
              </a:pathLst>
            </a:custGeom>
            <a:solidFill>
              <a:schemeClr val="accent2"/>
            </a:solid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a:ln>
                  <a:noFill/>
                </a:ln>
                <a:solidFill>
                  <a:srgbClr val="000000"/>
                </a:solidFill>
                <a:effectLst/>
                <a:uLnTx/>
                <a:uFillTx/>
                <a:latin typeface="Arial"/>
                <a:ea typeface="Century Gothic"/>
                <a:cs typeface="Century Gothic"/>
                <a:sym typeface="Century Gothic"/>
              </a:endParaRPr>
            </a:p>
          </p:txBody>
        </p:sp>
        <p:sp>
          <p:nvSpPr>
            <p:cNvPr id="51" name="Google Shape;309;p22">
              <a:extLst>
                <a:ext uri="{FF2B5EF4-FFF2-40B4-BE49-F238E27FC236}">
                  <a16:creationId xmlns:a16="http://schemas.microsoft.com/office/drawing/2014/main" id="{FE5DA265-3E11-F4F3-502F-D9716DADAD91}"/>
                </a:ext>
              </a:extLst>
            </p:cNvPr>
            <p:cNvSpPr txBox="1">
              <a:spLocks/>
            </p:cNvSpPr>
            <p:nvPr/>
          </p:nvSpPr>
          <p:spPr>
            <a:xfrm>
              <a:off x="9253719" y="3447168"/>
              <a:ext cx="3722723" cy="368474"/>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latin typeface="Arial"/>
                  <a:ea typeface="Century Gothic"/>
                  <a:cs typeface="Century Gothic"/>
                  <a:sym typeface="Century Gothic"/>
                </a:rPr>
                <a:t>Record Keeping</a:t>
              </a:r>
              <a:endParaRPr kumimoji="0" lang="tr-TR" sz="1400" b="1" i="0" u="none" strike="noStrike" kern="0" cap="none" spc="0" normalizeH="0" baseline="0" noProof="0" dirty="0">
                <a:ln>
                  <a:noFill/>
                </a:ln>
                <a:solidFill>
                  <a:srgbClr val="000000"/>
                </a:solidFill>
                <a:effectLst/>
                <a:uLnTx/>
                <a:uFillTx/>
                <a:latin typeface="Arial"/>
                <a:ea typeface="Century Gothic"/>
                <a:cs typeface="Century Gothic"/>
                <a:sym typeface="Century Gothic"/>
              </a:endParaRPr>
            </a:p>
          </p:txBody>
        </p:sp>
        <p:sp>
          <p:nvSpPr>
            <p:cNvPr id="52" name="Google Shape;311;p22">
              <a:extLst>
                <a:ext uri="{FF2B5EF4-FFF2-40B4-BE49-F238E27FC236}">
                  <a16:creationId xmlns:a16="http://schemas.microsoft.com/office/drawing/2014/main" id="{4DC879DC-B922-4D2D-21BC-17900AE80D87}"/>
                </a:ext>
              </a:extLst>
            </p:cNvPr>
            <p:cNvSpPr txBox="1">
              <a:spLocks/>
            </p:cNvSpPr>
            <p:nvPr/>
          </p:nvSpPr>
          <p:spPr>
            <a:xfrm>
              <a:off x="9158042" y="1520768"/>
              <a:ext cx="2593521" cy="368474"/>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1" i="0" u="none" strike="noStrike" kern="0" cap="none" spc="0" normalizeH="0" baseline="0" noProof="0" dirty="0">
                  <a:ln>
                    <a:noFill/>
                  </a:ln>
                  <a:solidFill>
                    <a:srgbClr val="000000"/>
                  </a:solidFill>
                  <a:effectLst/>
                  <a:uLnTx/>
                  <a:uFillTx/>
                  <a:latin typeface="Arial"/>
                  <a:ea typeface="Century Gothic"/>
                  <a:cs typeface="Century Gothic"/>
                  <a:sym typeface="Century Gothic"/>
                </a:rPr>
                <a:t>Regulatory Reporting </a:t>
              </a:r>
              <a:endParaRPr kumimoji="0" lang="tr-TR" sz="1400" b="1" i="0" u="none" strike="noStrike" kern="0" cap="none" spc="0" normalizeH="0" baseline="0" noProof="0" dirty="0">
                <a:ln>
                  <a:noFill/>
                </a:ln>
                <a:solidFill>
                  <a:srgbClr val="000000"/>
                </a:solidFill>
                <a:effectLst/>
                <a:uLnTx/>
                <a:uFillTx/>
                <a:latin typeface="Arial"/>
                <a:ea typeface="Century Gothic"/>
                <a:cs typeface="Century Gothic"/>
                <a:sym typeface="Century Gothic"/>
              </a:endParaRPr>
            </a:p>
          </p:txBody>
        </p:sp>
        <p:sp>
          <p:nvSpPr>
            <p:cNvPr id="53" name="Google Shape;314;p22">
              <a:extLst>
                <a:ext uri="{FF2B5EF4-FFF2-40B4-BE49-F238E27FC236}">
                  <a16:creationId xmlns:a16="http://schemas.microsoft.com/office/drawing/2014/main" id="{20217115-AAE4-21C7-CC67-B8CC036EA074}"/>
                </a:ext>
              </a:extLst>
            </p:cNvPr>
            <p:cNvSpPr/>
            <p:nvPr/>
          </p:nvSpPr>
          <p:spPr>
            <a:xfrm>
              <a:off x="5131832" y="2694139"/>
              <a:ext cx="1777309" cy="1777540"/>
            </a:xfrm>
            <a:prstGeom prst="ellipse">
              <a:avLst/>
            </a:prstGeom>
            <a:solidFill>
              <a:schemeClr val="tx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a:ln>
                  <a:noFill/>
                </a:ln>
                <a:solidFill>
                  <a:srgbClr val="000000"/>
                </a:solidFill>
                <a:effectLst/>
                <a:uLnTx/>
                <a:uFillTx/>
                <a:latin typeface="Arial"/>
                <a:ea typeface="Century Gothic"/>
                <a:cs typeface="Century Gothic"/>
                <a:sym typeface="Century Gothic"/>
              </a:endParaRPr>
            </a:p>
          </p:txBody>
        </p:sp>
      </p:grpSp>
      <p:sp>
        <p:nvSpPr>
          <p:cNvPr id="55" name="Freeform 54">
            <a:extLst>
              <a:ext uri="{FF2B5EF4-FFF2-40B4-BE49-F238E27FC236}">
                <a16:creationId xmlns:a16="http://schemas.microsoft.com/office/drawing/2014/main" id="{14BC2CE3-3CFB-763A-C7E5-58C2CABD1D68}"/>
              </a:ext>
            </a:extLst>
          </p:cNvPr>
          <p:cNvSpPr>
            <a:spLocks noChangeAspect="1" noEditPoints="1"/>
          </p:cNvSpPr>
          <p:nvPr/>
        </p:nvSpPr>
        <p:spPr bwMode="auto">
          <a:xfrm>
            <a:off x="5837590" y="4436138"/>
            <a:ext cx="457200" cy="457200"/>
          </a:xfrm>
          <a:custGeom>
            <a:avLst/>
            <a:gdLst>
              <a:gd name="T0" fmla="*/ 0 w 346"/>
              <a:gd name="T1" fmla="*/ 346 h 346"/>
              <a:gd name="T2" fmla="*/ 346 w 346"/>
              <a:gd name="T3" fmla="*/ 0 h 346"/>
              <a:gd name="T4" fmla="*/ 209 w 346"/>
              <a:gd name="T5" fmla="*/ 249 h 346"/>
              <a:gd name="T6" fmla="*/ 199 w 346"/>
              <a:gd name="T7" fmla="*/ 231 h 346"/>
              <a:gd name="T8" fmla="*/ 141 w 346"/>
              <a:gd name="T9" fmla="*/ 249 h 346"/>
              <a:gd name="T10" fmla="*/ 15 w 346"/>
              <a:gd name="T11" fmla="*/ 181 h 346"/>
              <a:gd name="T12" fmla="*/ 227 w 346"/>
              <a:gd name="T13" fmla="*/ 198 h 346"/>
              <a:gd name="T14" fmla="*/ 270 w 346"/>
              <a:gd name="T15" fmla="*/ 202 h 346"/>
              <a:gd name="T16" fmla="*/ 299 w 346"/>
              <a:gd name="T17" fmla="*/ 211 h 346"/>
              <a:gd name="T18" fmla="*/ 285 w 346"/>
              <a:gd name="T19" fmla="*/ 181 h 346"/>
              <a:gd name="T20" fmla="*/ 332 w 346"/>
              <a:gd name="T21" fmla="*/ 249 h 346"/>
              <a:gd name="T22" fmla="*/ 175 w 346"/>
              <a:gd name="T23" fmla="*/ 275 h 346"/>
              <a:gd name="T24" fmla="*/ 156 w 346"/>
              <a:gd name="T25" fmla="*/ 256 h 346"/>
              <a:gd name="T26" fmla="*/ 175 w 346"/>
              <a:gd name="T27" fmla="*/ 236 h 346"/>
              <a:gd name="T28" fmla="*/ 195 w 346"/>
              <a:gd name="T29" fmla="*/ 256 h 346"/>
              <a:gd name="T30" fmla="*/ 175 w 346"/>
              <a:gd name="T31" fmla="*/ 275 h 346"/>
              <a:gd name="T32" fmla="*/ 251 w 346"/>
              <a:gd name="T33" fmla="*/ 193 h 346"/>
              <a:gd name="T34" fmla="*/ 232 w 346"/>
              <a:gd name="T35" fmla="*/ 173 h 346"/>
              <a:gd name="T36" fmla="*/ 251 w 346"/>
              <a:gd name="T37" fmla="*/ 154 h 346"/>
              <a:gd name="T38" fmla="*/ 265 w 346"/>
              <a:gd name="T39" fmla="*/ 187 h 346"/>
              <a:gd name="T40" fmla="*/ 275 w 346"/>
              <a:gd name="T41" fmla="*/ 149 h 346"/>
              <a:gd name="T42" fmla="*/ 227 w 346"/>
              <a:gd name="T43" fmla="*/ 149 h 346"/>
              <a:gd name="T44" fmla="*/ 15 w 346"/>
              <a:gd name="T45" fmla="*/ 166 h 346"/>
              <a:gd name="T46" fmla="*/ 53 w 346"/>
              <a:gd name="T47" fmla="*/ 98 h 346"/>
              <a:gd name="T48" fmla="*/ 86 w 346"/>
              <a:gd name="T49" fmla="*/ 125 h 346"/>
              <a:gd name="T50" fmla="*/ 124 w 346"/>
              <a:gd name="T51" fmla="*/ 138 h 346"/>
              <a:gd name="T52" fmla="*/ 115 w 346"/>
              <a:gd name="T53" fmla="*/ 109 h 346"/>
              <a:gd name="T54" fmla="*/ 332 w 346"/>
              <a:gd name="T55" fmla="*/ 98 h 346"/>
              <a:gd name="T56" fmla="*/ 285 w 346"/>
              <a:gd name="T57" fmla="*/ 166 h 346"/>
              <a:gd name="T58" fmla="*/ 72 w 346"/>
              <a:gd name="T59" fmla="*/ 104 h 346"/>
              <a:gd name="T60" fmla="*/ 72 w 346"/>
              <a:gd name="T61" fmla="*/ 77 h 346"/>
              <a:gd name="T62" fmla="*/ 100 w 346"/>
              <a:gd name="T63" fmla="*/ 77 h 346"/>
              <a:gd name="T64" fmla="*/ 100 w 346"/>
              <a:gd name="T65" fmla="*/ 104 h 346"/>
              <a:gd name="T66" fmla="*/ 332 w 346"/>
              <a:gd name="T67" fmla="*/ 83 h 346"/>
              <a:gd name="T68" fmla="*/ 110 w 346"/>
              <a:gd name="T69" fmla="*/ 66 h 346"/>
              <a:gd name="T70" fmla="*/ 53 w 346"/>
              <a:gd name="T71" fmla="*/ 83 h 346"/>
              <a:gd name="T72" fmla="*/ 15 w 346"/>
              <a:gd name="T73" fmla="*/ 15 h 346"/>
              <a:gd name="T74" fmla="*/ 15 w 346"/>
              <a:gd name="T75" fmla="*/ 332 h 346"/>
              <a:gd name="T76" fmla="*/ 142 w 346"/>
              <a:gd name="T77" fmla="*/ 263 h 346"/>
              <a:gd name="T78" fmla="*/ 175 w 346"/>
              <a:gd name="T79" fmla="*/ 290 h 346"/>
              <a:gd name="T80" fmla="*/ 213 w 346"/>
              <a:gd name="T81" fmla="*/ 304 h 346"/>
              <a:gd name="T82" fmla="*/ 204 w 346"/>
              <a:gd name="T83" fmla="*/ 274 h 346"/>
              <a:gd name="T84" fmla="*/ 332 w 346"/>
              <a:gd name="T85" fmla="*/ 263 h 346"/>
              <a:gd name="T86" fmla="*/ 15 w 346"/>
              <a:gd name="T87" fmla="*/ 33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209" y="249"/>
                </a:moveTo>
                <a:cubicBezTo>
                  <a:pt x="207" y="242"/>
                  <a:pt x="204" y="236"/>
                  <a:pt x="199" y="231"/>
                </a:cubicBezTo>
                <a:cubicBezTo>
                  <a:pt x="199" y="231"/>
                  <a:pt x="199" y="231"/>
                  <a:pt x="199" y="231"/>
                </a:cubicBezTo>
                <a:cubicBezTo>
                  <a:pt x="186" y="218"/>
                  <a:pt x="164" y="218"/>
                  <a:pt x="151" y="231"/>
                </a:cubicBezTo>
                <a:cubicBezTo>
                  <a:pt x="146" y="236"/>
                  <a:pt x="143" y="242"/>
                  <a:pt x="141" y="249"/>
                </a:cubicBezTo>
                <a:cubicBezTo>
                  <a:pt x="15" y="249"/>
                  <a:pt x="15" y="249"/>
                  <a:pt x="15" y="249"/>
                </a:cubicBezTo>
                <a:cubicBezTo>
                  <a:pt x="15" y="181"/>
                  <a:pt x="15" y="181"/>
                  <a:pt x="15" y="181"/>
                </a:cubicBezTo>
                <a:cubicBezTo>
                  <a:pt x="218" y="181"/>
                  <a:pt x="218" y="181"/>
                  <a:pt x="218" y="181"/>
                </a:cubicBezTo>
                <a:cubicBezTo>
                  <a:pt x="219" y="187"/>
                  <a:pt x="222" y="193"/>
                  <a:pt x="227" y="198"/>
                </a:cubicBezTo>
                <a:cubicBezTo>
                  <a:pt x="233" y="204"/>
                  <a:pt x="242" y="208"/>
                  <a:pt x="251" y="208"/>
                </a:cubicBezTo>
                <a:cubicBezTo>
                  <a:pt x="258" y="208"/>
                  <a:pt x="264" y="206"/>
                  <a:pt x="270" y="202"/>
                </a:cubicBezTo>
                <a:cubicBezTo>
                  <a:pt x="289" y="221"/>
                  <a:pt x="289" y="221"/>
                  <a:pt x="289" y="221"/>
                </a:cubicBezTo>
                <a:cubicBezTo>
                  <a:pt x="299" y="211"/>
                  <a:pt x="299" y="211"/>
                  <a:pt x="299" y="211"/>
                </a:cubicBezTo>
                <a:cubicBezTo>
                  <a:pt x="280" y="192"/>
                  <a:pt x="280" y="192"/>
                  <a:pt x="280" y="192"/>
                </a:cubicBezTo>
                <a:cubicBezTo>
                  <a:pt x="282" y="188"/>
                  <a:pt x="284" y="184"/>
                  <a:pt x="285" y="181"/>
                </a:cubicBezTo>
                <a:cubicBezTo>
                  <a:pt x="332" y="181"/>
                  <a:pt x="332" y="181"/>
                  <a:pt x="332" y="181"/>
                </a:cubicBezTo>
                <a:cubicBezTo>
                  <a:pt x="332" y="249"/>
                  <a:pt x="332" y="249"/>
                  <a:pt x="332" y="249"/>
                </a:cubicBezTo>
                <a:lnTo>
                  <a:pt x="209" y="249"/>
                </a:lnTo>
                <a:close/>
                <a:moveTo>
                  <a:pt x="175" y="275"/>
                </a:moveTo>
                <a:cubicBezTo>
                  <a:pt x="170" y="275"/>
                  <a:pt x="165" y="273"/>
                  <a:pt x="161" y="269"/>
                </a:cubicBezTo>
                <a:cubicBezTo>
                  <a:pt x="158" y="266"/>
                  <a:pt x="156" y="261"/>
                  <a:pt x="156" y="256"/>
                </a:cubicBezTo>
                <a:cubicBezTo>
                  <a:pt x="156" y="250"/>
                  <a:pt x="158" y="246"/>
                  <a:pt x="161" y="242"/>
                </a:cubicBezTo>
                <a:cubicBezTo>
                  <a:pt x="165" y="238"/>
                  <a:pt x="170" y="236"/>
                  <a:pt x="175" y="236"/>
                </a:cubicBezTo>
                <a:cubicBezTo>
                  <a:pt x="180" y="236"/>
                  <a:pt x="185" y="238"/>
                  <a:pt x="189" y="242"/>
                </a:cubicBezTo>
                <a:cubicBezTo>
                  <a:pt x="193" y="246"/>
                  <a:pt x="195" y="250"/>
                  <a:pt x="195" y="256"/>
                </a:cubicBezTo>
                <a:cubicBezTo>
                  <a:pt x="195" y="261"/>
                  <a:pt x="193" y="266"/>
                  <a:pt x="189" y="269"/>
                </a:cubicBezTo>
                <a:cubicBezTo>
                  <a:pt x="185" y="273"/>
                  <a:pt x="180" y="275"/>
                  <a:pt x="175" y="275"/>
                </a:cubicBezTo>
                <a:close/>
                <a:moveTo>
                  <a:pt x="265" y="187"/>
                </a:moveTo>
                <a:cubicBezTo>
                  <a:pt x="261" y="191"/>
                  <a:pt x="256" y="193"/>
                  <a:pt x="251" y="193"/>
                </a:cubicBezTo>
                <a:cubicBezTo>
                  <a:pt x="246" y="193"/>
                  <a:pt x="241" y="191"/>
                  <a:pt x="237" y="187"/>
                </a:cubicBezTo>
                <a:cubicBezTo>
                  <a:pt x="234" y="183"/>
                  <a:pt x="232" y="179"/>
                  <a:pt x="232" y="173"/>
                </a:cubicBezTo>
                <a:cubicBezTo>
                  <a:pt x="232" y="168"/>
                  <a:pt x="234" y="163"/>
                  <a:pt x="237" y="160"/>
                </a:cubicBezTo>
                <a:cubicBezTo>
                  <a:pt x="241" y="156"/>
                  <a:pt x="246" y="154"/>
                  <a:pt x="251" y="154"/>
                </a:cubicBezTo>
                <a:cubicBezTo>
                  <a:pt x="256" y="154"/>
                  <a:pt x="261" y="156"/>
                  <a:pt x="265" y="160"/>
                </a:cubicBezTo>
                <a:cubicBezTo>
                  <a:pt x="273" y="167"/>
                  <a:pt x="273" y="180"/>
                  <a:pt x="265" y="187"/>
                </a:cubicBezTo>
                <a:close/>
                <a:moveTo>
                  <a:pt x="285" y="166"/>
                </a:moveTo>
                <a:cubicBezTo>
                  <a:pt x="283" y="160"/>
                  <a:pt x="280" y="154"/>
                  <a:pt x="275" y="149"/>
                </a:cubicBezTo>
                <a:cubicBezTo>
                  <a:pt x="275" y="149"/>
                  <a:pt x="275" y="149"/>
                  <a:pt x="275" y="149"/>
                </a:cubicBezTo>
                <a:cubicBezTo>
                  <a:pt x="262" y="136"/>
                  <a:pt x="240" y="136"/>
                  <a:pt x="227" y="149"/>
                </a:cubicBezTo>
                <a:cubicBezTo>
                  <a:pt x="222" y="154"/>
                  <a:pt x="219" y="160"/>
                  <a:pt x="218" y="166"/>
                </a:cubicBezTo>
                <a:cubicBezTo>
                  <a:pt x="15" y="166"/>
                  <a:pt x="15" y="166"/>
                  <a:pt x="15" y="166"/>
                </a:cubicBezTo>
                <a:cubicBezTo>
                  <a:pt x="15" y="98"/>
                  <a:pt x="15" y="98"/>
                  <a:pt x="15" y="98"/>
                </a:cubicBezTo>
                <a:cubicBezTo>
                  <a:pt x="53" y="98"/>
                  <a:pt x="53" y="98"/>
                  <a:pt x="53" y="98"/>
                </a:cubicBezTo>
                <a:cubicBezTo>
                  <a:pt x="54" y="104"/>
                  <a:pt x="57" y="110"/>
                  <a:pt x="62" y="115"/>
                </a:cubicBezTo>
                <a:cubicBezTo>
                  <a:pt x="69" y="121"/>
                  <a:pt x="77" y="125"/>
                  <a:pt x="86" y="125"/>
                </a:cubicBezTo>
                <a:cubicBezTo>
                  <a:pt x="93" y="125"/>
                  <a:pt x="99" y="123"/>
                  <a:pt x="105" y="119"/>
                </a:cubicBezTo>
                <a:cubicBezTo>
                  <a:pt x="124" y="138"/>
                  <a:pt x="124" y="138"/>
                  <a:pt x="124" y="138"/>
                </a:cubicBezTo>
                <a:cubicBezTo>
                  <a:pt x="134" y="128"/>
                  <a:pt x="134" y="128"/>
                  <a:pt x="134" y="128"/>
                </a:cubicBezTo>
                <a:cubicBezTo>
                  <a:pt x="115" y="109"/>
                  <a:pt x="115" y="109"/>
                  <a:pt x="115" y="109"/>
                </a:cubicBezTo>
                <a:cubicBezTo>
                  <a:pt x="117" y="105"/>
                  <a:pt x="119" y="102"/>
                  <a:pt x="120" y="98"/>
                </a:cubicBezTo>
                <a:cubicBezTo>
                  <a:pt x="332" y="98"/>
                  <a:pt x="332" y="98"/>
                  <a:pt x="332" y="98"/>
                </a:cubicBezTo>
                <a:cubicBezTo>
                  <a:pt x="332" y="166"/>
                  <a:pt x="332" y="166"/>
                  <a:pt x="332" y="166"/>
                </a:cubicBezTo>
                <a:lnTo>
                  <a:pt x="285" y="166"/>
                </a:lnTo>
                <a:close/>
                <a:moveTo>
                  <a:pt x="100" y="104"/>
                </a:moveTo>
                <a:cubicBezTo>
                  <a:pt x="92" y="112"/>
                  <a:pt x="80" y="112"/>
                  <a:pt x="72" y="104"/>
                </a:cubicBezTo>
                <a:cubicBezTo>
                  <a:pt x="69" y="101"/>
                  <a:pt x="67" y="96"/>
                  <a:pt x="67" y="90"/>
                </a:cubicBezTo>
                <a:cubicBezTo>
                  <a:pt x="67" y="85"/>
                  <a:pt x="69" y="80"/>
                  <a:pt x="72" y="77"/>
                </a:cubicBezTo>
                <a:cubicBezTo>
                  <a:pt x="76" y="73"/>
                  <a:pt x="81" y="71"/>
                  <a:pt x="86" y="71"/>
                </a:cubicBezTo>
                <a:cubicBezTo>
                  <a:pt x="91" y="71"/>
                  <a:pt x="96" y="73"/>
                  <a:pt x="100" y="77"/>
                </a:cubicBezTo>
                <a:cubicBezTo>
                  <a:pt x="104" y="80"/>
                  <a:pt x="106" y="85"/>
                  <a:pt x="106" y="90"/>
                </a:cubicBezTo>
                <a:cubicBezTo>
                  <a:pt x="106" y="96"/>
                  <a:pt x="104" y="101"/>
                  <a:pt x="100" y="104"/>
                </a:cubicBezTo>
                <a:close/>
                <a:moveTo>
                  <a:pt x="332" y="15"/>
                </a:moveTo>
                <a:cubicBezTo>
                  <a:pt x="332" y="83"/>
                  <a:pt x="332" y="83"/>
                  <a:pt x="332" y="83"/>
                </a:cubicBezTo>
                <a:cubicBezTo>
                  <a:pt x="120" y="83"/>
                  <a:pt x="120" y="83"/>
                  <a:pt x="120" y="83"/>
                </a:cubicBezTo>
                <a:cubicBezTo>
                  <a:pt x="118" y="77"/>
                  <a:pt x="115" y="71"/>
                  <a:pt x="110" y="66"/>
                </a:cubicBezTo>
                <a:cubicBezTo>
                  <a:pt x="97" y="53"/>
                  <a:pt x="75" y="53"/>
                  <a:pt x="62" y="66"/>
                </a:cubicBezTo>
                <a:cubicBezTo>
                  <a:pt x="57" y="71"/>
                  <a:pt x="54" y="77"/>
                  <a:pt x="53" y="83"/>
                </a:cubicBezTo>
                <a:cubicBezTo>
                  <a:pt x="15" y="83"/>
                  <a:pt x="15" y="83"/>
                  <a:pt x="15" y="83"/>
                </a:cubicBezTo>
                <a:cubicBezTo>
                  <a:pt x="15" y="15"/>
                  <a:pt x="15" y="15"/>
                  <a:pt x="15" y="15"/>
                </a:cubicBezTo>
                <a:lnTo>
                  <a:pt x="332" y="15"/>
                </a:lnTo>
                <a:close/>
                <a:moveTo>
                  <a:pt x="15" y="332"/>
                </a:moveTo>
                <a:cubicBezTo>
                  <a:pt x="15" y="263"/>
                  <a:pt x="15" y="263"/>
                  <a:pt x="15" y="263"/>
                </a:cubicBezTo>
                <a:cubicBezTo>
                  <a:pt x="142" y="263"/>
                  <a:pt x="142" y="263"/>
                  <a:pt x="142" y="263"/>
                </a:cubicBezTo>
                <a:cubicBezTo>
                  <a:pt x="143" y="270"/>
                  <a:pt x="146" y="275"/>
                  <a:pt x="151" y="280"/>
                </a:cubicBezTo>
                <a:cubicBezTo>
                  <a:pt x="157" y="286"/>
                  <a:pt x="166" y="290"/>
                  <a:pt x="175" y="290"/>
                </a:cubicBezTo>
                <a:cubicBezTo>
                  <a:pt x="182" y="290"/>
                  <a:pt x="188" y="288"/>
                  <a:pt x="193" y="285"/>
                </a:cubicBezTo>
                <a:cubicBezTo>
                  <a:pt x="213" y="304"/>
                  <a:pt x="213" y="304"/>
                  <a:pt x="213" y="304"/>
                </a:cubicBezTo>
                <a:cubicBezTo>
                  <a:pt x="223" y="293"/>
                  <a:pt x="223" y="293"/>
                  <a:pt x="223" y="293"/>
                </a:cubicBezTo>
                <a:cubicBezTo>
                  <a:pt x="204" y="274"/>
                  <a:pt x="204" y="274"/>
                  <a:pt x="204" y="274"/>
                </a:cubicBezTo>
                <a:cubicBezTo>
                  <a:pt x="206" y="271"/>
                  <a:pt x="208" y="267"/>
                  <a:pt x="208" y="263"/>
                </a:cubicBezTo>
                <a:cubicBezTo>
                  <a:pt x="332" y="263"/>
                  <a:pt x="332" y="263"/>
                  <a:pt x="332" y="263"/>
                </a:cubicBezTo>
                <a:cubicBezTo>
                  <a:pt x="332" y="332"/>
                  <a:pt x="332" y="332"/>
                  <a:pt x="332" y="332"/>
                </a:cubicBezTo>
                <a:lnTo>
                  <a:pt x="15" y="332"/>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Tree>
    <p:custDataLst>
      <p:custData r:id="rId2"/>
    </p:custDataLst>
    <p:extLst>
      <p:ext uri="{BB962C8B-B14F-4D97-AF65-F5344CB8AC3E}">
        <p14:creationId xmlns:p14="http://schemas.microsoft.com/office/powerpoint/2010/main" val="35435535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4DA136-1EA4-F7C5-200C-77C4257A5B8E}"/>
              </a:ext>
            </a:extLst>
          </p:cNvPr>
          <p:cNvGraphicFramePr>
            <a:graphicFrameLocks noChangeAspect="1"/>
          </p:cNvGraphicFramePr>
          <p:nvPr>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453" name="think-cell Slide" r:id="rId6" imgW="7772400" imgH="10058400" progId="TCLayout.ActiveDocument.1">
                  <p:embed/>
                </p:oleObj>
              </mc:Choice>
              <mc:Fallback>
                <p:oleObj name="think-cell Slide" r:id="rId6" imgW="7772400" imgH="10058400" progId="TCLayout.ActiveDocument.1">
                  <p:embed/>
                  <p:pic>
                    <p:nvPicPr>
                      <p:cNvPr id="10" name="Object 9" hidden="1">
                        <a:extLst>
                          <a:ext uri="{FF2B5EF4-FFF2-40B4-BE49-F238E27FC236}">
                            <a16:creationId xmlns:a16="http://schemas.microsoft.com/office/drawing/2014/main" id="{2D4DA136-1EA4-F7C5-200C-77C4257A5B8E}"/>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2F8DBAD9-2FB4-3D45-BD3C-AE82E5DD780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169" name="TextBox 168">
            <a:extLst>
              <a:ext uri="{FF2B5EF4-FFF2-40B4-BE49-F238E27FC236}">
                <a16:creationId xmlns:a16="http://schemas.microsoft.com/office/drawing/2014/main" id="{20452E5A-2247-49EF-A923-10AF3F688F10}"/>
              </a:ext>
            </a:extLst>
          </p:cNvPr>
          <p:cNvSpPr txBox="1"/>
          <p:nvPr/>
        </p:nvSpPr>
        <p:spPr>
          <a:xfrm>
            <a:off x="349820" y="318107"/>
            <a:ext cx="11380218" cy="523220"/>
          </a:xfrm>
          <a:prstGeom prst="rect">
            <a:avLst/>
          </a:prstGeom>
          <a:noFill/>
        </p:spPr>
        <p:txBody>
          <a:bodyPr wrap="square">
            <a:spAutoFit/>
          </a:bodyPr>
          <a:lstStyle/>
          <a:p>
            <a:pPr lvl="0">
              <a:defRPr/>
            </a:pPr>
            <a:r>
              <a:rPr lang="en-US" sz="2800" dirty="0">
                <a:solidFill>
                  <a:srgbClr val="000000"/>
                </a:solidFill>
                <a:latin typeface="Georgia"/>
                <a:ea typeface="Georgia"/>
                <a:cs typeface="Georgia"/>
                <a:sym typeface="Georgia"/>
              </a:rPr>
              <a:t>AML and Sanctions Process Flow</a:t>
            </a:r>
          </a:p>
        </p:txBody>
      </p:sp>
      <p:sp>
        <p:nvSpPr>
          <p:cNvPr id="2" name="Rectangle 1">
            <a:extLst>
              <a:ext uri="{FF2B5EF4-FFF2-40B4-BE49-F238E27FC236}">
                <a16:creationId xmlns:a16="http://schemas.microsoft.com/office/drawing/2014/main" id="{D3E82E12-CB3F-8998-950F-A2D45F6DB6BF}"/>
              </a:ext>
            </a:extLst>
          </p:cNvPr>
          <p:cNvSpPr/>
          <p:nvPr/>
        </p:nvSpPr>
        <p:spPr bwMode="gray">
          <a:xfrm>
            <a:off x="0" y="0"/>
            <a:ext cx="12192000" cy="137160"/>
          </a:xfrm>
          <a:prstGeom prst="rect">
            <a:avLst/>
          </a:prstGeom>
          <a:solidFill>
            <a:schemeClr val="accent3"/>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7" name="Rectangle 6">
            <a:extLst>
              <a:ext uri="{FF2B5EF4-FFF2-40B4-BE49-F238E27FC236}">
                <a16:creationId xmlns:a16="http://schemas.microsoft.com/office/drawing/2014/main" id="{7341DA56-65F5-B26D-4933-AD0EBE3E190B}"/>
              </a:ext>
            </a:extLst>
          </p:cNvPr>
          <p:cNvSpPr/>
          <p:nvPr/>
        </p:nvSpPr>
        <p:spPr bwMode="gray">
          <a:xfrm>
            <a:off x="442913" y="1181100"/>
            <a:ext cx="2224087" cy="1120733"/>
          </a:xfrm>
          <a:prstGeom prst="rect">
            <a:avLst/>
          </a:prstGeom>
          <a:solidFill>
            <a:schemeClr val="accent3"/>
          </a:solidFill>
          <a:ln w="3175">
            <a:noFill/>
            <a:round/>
            <a:headEnd/>
            <a:tailEnd/>
          </a:ln>
        </p:spPr>
        <p:txBody>
          <a:bodyPr lIns="0" tIns="0" rIns="0" bIns="0" rtlCol="0" anchor="ctr"/>
          <a:lstStyle/>
          <a:p>
            <a:pPr lvl="0" algn="ctr"/>
            <a:r>
              <a:rPr lang="en-US" sz="1600" b="1" dirty="0">
                <a:solidFill>
                  <a:schemeClr val="bg1"/>
                </a:solidFill>
              </a:rPr>
              <a:t>Customer Due Diligence</a:t>
            </a:r>
          </a:p>
        </p:txBody>
      </p:sp>
      <p:sp>
        <p:nvSpPr>
          <p:cNvPr id="8" name="Right Arrow 7">
            <a:extLst>
              <a:ext uri="{FF2B5EF4-FFF2-40B4-BE49-F238E27FC236}">
                <a16:creationId xmlns:a16="http://schemas.microsoft.com/office/drawing/2014/main" id="{5495E415-F8BA-5A72-D4DC-A85E7F8C67A9}"/>
              </a:ext>
            </a:extLst>
          </p:cNvPr>
          <p:cNvSpPr/>
          <p:nvPr/>
        </p:nvSpPr>
        <p:spPr bwMode="gray">
          <a:xfrm rot="5400000">
            <a:off x="1229582" y="2638793"/>
            <a:ext cx="650748" cy="228600"/>
          </a:xfrm>
          <a:prstGeom prst="rightArrow">
            <a:avLst/>
          </a:prstGeom>
          <a:solidFill>
            <a:schemeClr val="accent6"/>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9" name="Rectangle 8">
            <a:extLst>
              <a:ext uri="{FF2B5EF4-FFF2-40B4-BE49-F238E27FC236}">
                <a16:creationId xmlns:a16="http://schemas.microsoft.com/office/drawing/2014/main" id="{A4AD1616-3CE3-7AF7-F36A-B2E697391BF9}"/>
              </a:ext>
            </a:extLst>
          </p:cNvPr>
          <p:cNvSpPr/>
          <p:nvPr/>
        </p:nvSpPr>
        <p:spPr bwMode="gray">
          <a:xfrm>
            <a:off x="442913" y="3160154"/>
            <a:ext cx="2224087" cy="1120733"/>
          </a:xfrm>
          <a:prstGeom prst="rect">
            <a:avLst/>
          </a:prstGeom>
          <a:solidFill>
            <a:schemeClr val="accent2"/>
          </a:solidFill>
          <a:ln w="3175">
            <a:noFill/>
            <a:round/>
            <a:headEnd/>
            <a:tailEnd/>
          </a:ln>
        </p:spPr>
        <p:txBody>
          <a:bodyPr lIns="0" tIns="0" rIns="0" bIns="0" rtlCol="0" anchor="ctr"/>
          <a:lstStyle/>
          <a:p>
            <a:pPr lvl="0" algn="ctr"/>
            <a:r>
              <a:rPr lang="en-US" sz="1600" b="1" dirty="0"/>
              <a:t>Transaction Monitoring</a:t>
            </a:r>
          </a:p>
        </p:txBody>
      </p:sp>
      <p:sp>
        <p:nvSpPr>
          <p:cNvPr id="11" name="Right Arrow 10">
            <a:extLst>
              <a:ext uri="{FF2B5EF4-FFF2-40B4-BE49-F238E27FC236}">
                <a16:creationId xmlns:a16="http://schemas.microsoft.com/office/drawing/2014/main" id="{C6DDDABA-5979-7167-46C5-CD9A8999456C}"/>
              </a:ext>
            </a:extLst>
          </p:cNvPr>
          <p:cNvSpPr/>
          <p:nvPr/>
        </p:nvSpPr>
        <p:spPr bwMode="gray">
          <a:xfrm rot="5400000">
            <a:off x="1229582" y="4569102"/>
            <a:ext cx="650748" cy="228600"/>
          </a:xfrm>
          <a:prstGeom prst="rightArrow">
            <a:avLst/>
          </a:prstGeom>
          <a:solidFill>
            <a:schemeClr val="accent6"/>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12" name="Rectangle 11">
            <a:extLst>
              <a:ext uri="{FF2B5EF4-FFF2-40B4-BE49-F238E27FC236}">
                <a16:creationId xmlns:a16="http://schemas.microsoft.com/office/drawing/2014/main" id="{9CEB7F4C-FE58-D308-8D0C-A54EFCF86C63}"/>
              </a:ext>
            </a:extLst>
          </p:cNvPr>
          <p:cNvSpPr/>
          <p:nvPr/>
        </p:nvSpPr>
        <p:spPr bwMode="gray">
          <a:xfrm>
            <a:off x="442913" y="5051467"/>
            <a:ext cx="2224087" cy="1120733"/>
          </a:xfrm>
          <a:prstGeom prst="rect">
            <a:avLst/>
          </a:prstGeom>
          <a:solidFill>
            <a:schemeClr val="accent6"/>
          </a:solidFill>
          <a:ln w="3175">
            <a:noFill/>
            <a:round/>
            <a:headEnd/>
            <a:tailEnd/>
          </a:ln>
        </p:spPr>
        <p:txBody>
          <a:bodyPr lIns="0" tIns="0" rIns="0" bIns="0" rtlCol="0" anchor="ctr"/>
          <a:lstStyle/>
          <a:p>
            <a:pPr lvl="0" algn="ctr"/>
            <a:r>
              <a:rPr lang="en-US" sz="1600" b="1" dirty="0">
                <a:solidFill>
                  <a:schemeClr val="bg1"/>
                </a:solidFill>
              </a:rPr>
              <a:t>Reporting</a:t>
            </a:r>
          </a:p>
        </p:txBody>
      </p:sp>
      <p:sp>
        <p:nvSpPr>
          <p:cNvPr id="14" name="Right Arrow 13">
            <a:extLst>
              <a:ext uri="{FF2B5EF4-FFF2-40B4-BE49-F238E27FC236}">
                <a16:creationId xmlns:a16="http://schemas.microsoft.com/office/drawing/2014/main" id="{43FADC60-C94F-3044-2E4E-1A6410CAED22}"/>
              </a:ext>
            </a:extLst>
          </p:cNvPr>
          <p:cNvSpPr/>
          <p:nvPr/>
        </p:nvSpPr>
        <p:spPr bwMode="gray">
          <a:xfrm>
            <a:off x="2819400" y="1627166"/>
            <a:ext cx="457136" cy="228600"/>
          </a:xfrm>
          <a:prstGeom prst="rightArrow">
            <a:avLst/>
          </a:prstGeom>
          <a:solidFill>
            <a:schemeClr val="accent6"/>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18" name="Rectangle 17">
            <a:extLst>
              <a:ext uri="{FF2B5EF4-FFF2-40B4-BE49-F238E27FC236}">
                <a16:creationId xmlns:a16="http://schemas.microsoft.com/office/drawing/2014/main" id="{BF97CAE7-0049-B724-6CFB-282A526FEE58}"/>
              </a:ext>
            </a:extLst>
          </p:cNvPr>
          <p:cNvSpPr/>
          <p:nvPr/>
        </p:nvSpPr>
        <p:spPr bwMode="gray">
          <a:xfrm>
            <a:off x="3400121" y="1181100"/>
            <a:ext cx="1248506" cy="1120733"/>
          </a:xfrm>
          <a:prstGeom prst="rect">
            <a:avLst/>
          </a:prstGeom>
          <a:solidFill>
            <a:schemeClr val="accent3">
              <a:lumMod val="20000"/>
              <a:lumOff val="80000"/>
            </a:schemeClr>
          </a:solidFill>
          <a:ln w="3175">
            <a:noFill/>
            <a:round/>
            <a:headEnd/>
            <a:tailEnd/>
          </a:ln>
        </p:spPr>
        <p:txBody>
          <a:bodyPr lIns="0" tIns="0" rIns="0" bIns="0" rtlCol="0" anchor="ctr"/>
          <a:lstStyle/>
          <a:p>
            <a:pPr lvl="0" algn="ctr"/>
            <a:r>
              <a:rPr lang="en-US" sz="1200" b="1" dirty="0"/>
              <a:t>KYC Documentation</a:t>
            </a:r>
          </a:p>
        </p:txBody>
      </p:sp>
      <p:sp>
        <p:nvSpPr>
          <p:cNvPr id="19" name="Right Arrow 18">
            <a:extLst>
              <a:ext uri="{FF2B5EF4-FFF2-40B4-BE49-F238E27FC236}">
                <a16:creationId xmlns:a16="http://schemas.microsoft.com/office/drawing/2014/main" id="{EE8BF52D-0A51-AA63-97B0-291FB3343C69}"/>
              </a:ext>
            </a:extLst>
          </p:cNvPr>
          <p:cNvSpPr/>
          <p:nvPr/>
        </p:nvSpPr>
        <p:spPr bwMode="gray">
          <a:xfrm>
            <a:off x="4719972" y="1627166"/>
            <a:ext cx="367535" cy="228600"/>
          </a:xfrm>
          <a:prstGeom prst="rightArrow">
            <a:avLst/>
          </a:prstGeom>
          <a:solidFill>
            <a:schemeClr val="accent6"/>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21" name="Rectangle 20">
            <a:extLst>
              <a:ext uri="{FF2B5EF4-FFF2-40B4-BE49-F238E27FC236}">
                <a16:creationId xmlns:a16="http://schemas.microsoft.com/office/drawing/2014/main" id="{39F37927-F16D-023F-602C-68DA374DA3DD}"/>
              </a:ext>
            </a:extLst>
          </p:cNvPr>
          <p:cNvSpPr/>
          <p:nvPr/>
        </p:nvSpPr>
        <p:spPr bwMode="gray">
          <a:xfrm>
            <a:off x="5168257" y="1181100"/>
            <a:ext cx="1248506" cy="1120733"/>
          </a:xfrm>
          <a:prstGeom prst="rect">
            <a:avLst/>
          </a:prstGeom>
          <a:solidFill>
            <a:schemeClr val="accent3">
              <a:lumMod val="20000"/>
              <a:lumOff val="80000"/>
            </a:schemeClr>
          </a:solidFill>
          <a:ln w="3175">
            <a:noFill/>
            <a:round/>
            <a:headEnd/>
            <a:tailEnd/>
          </a:ln>
        </p:spPr>
        <p:txBody>
          <a:bodyPr lIns="0" tIns="0" rIns="0" bIns="0" rtlCol="0" anchor="ctr"/>
          <a:lstStyle/>
          <a:p>
            <a:pPr algn="ctr"/>
            <a:r>
              <a:rPr lang="en-US" sz="1200" b="1" dirty="0"/>
              <a:t>Name </a:t>
            </a:r>
            <a:br>
              <a:rPr lang="en-US" sz="1200" b="1" dirty="0"/>
            </a:br>
            <a:r>
              <a:rPr lang="en-US" sz="1200" b="1" dirty="0"/>
              <a:t>Screening</a:t>
            </a:r>
          </a:p>
        </p:txBody>
      </p:sp>
      <p:sp>
        <p:nvSpPr>
          <p:cNvPr id="22" name="Right Arrow 21">
            <a:extLst>
              <a:ext uri="{FF2B5EF4-FFF2-40B4-BE49-F238E27FC236}">
                <a16:creationId xmlns:a16="http://schemas.microsoft.com/office/drawing/2014/main" id="{DEA52B0D-4D85-9A51-2975-DE3E09FB6F79}"/>
              </a:ext>
            </a:extLst>
          </p:cNvPr>
          <p:cNvSpPr/>
          <p:nvPr/>
        </p:nvSpPr>
        <p:spPr bwMode="gray">
          <a:xfrm>
            <a:off x="6488108" y="1627166"/>
            <a:ext cx="367535" cy="228600"/>
          </a:xfrm>
          <a:prstGeom prst="rightArrow">
            <a:avLst/>
          </a:prstGeom>
          <a:solidFill>
            <a:schemeClr val="accent6"/>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23" name="Rectangle 22">
            <a:extLst>
              <a:ext uri="{FF2B5EF4-FFF2-40B4-BE49-F238E27FC236}">
                <a16:creationId xmlns:a16="http://schemas.microsoft.com/office/drawing/2014/main" id="{1CBB2FAC-2843-A771-CD2B-E34982A99607}"/>
              </a:ext>
            </a:extLst>
          </p:cNvPr>
          <p:cNvSpPr/>
          <p:nvPr/>
        </p:nvSpPr>
        <p:spPr bwMode="gray">
          <a:xfrm>
            <a:off x="6955006" y="1181100"/>
            <a:ext cx="1248506" cy="1120733"/>
          </a:xfrm>
          <a:prstGeom prst="rect">
            <a:avLst/>
          </a:prstGeom>
          <a:solidFill>
            <a:schemeClr val="accent3">
              <a:lumMod val="20000"/>
              <a:lumOff val="80000"/>
            </a:schemeClr>
          </a:solidFill>
          <a:ln w="3175">
            <a:noFill/>
            <a:round/>
            <a:headEnd/>
            <a:tailEnd/>
          </a:ln>
        </p:spPr>
        <p:txBody>
          <a:bodyPr lIns="0" tIns="0" rIns="0" bIns="0" rtlCol="0" anchor="ctr"/>
          <a:lstStyle/>
          <a:p>
            <a:pPr algn="ctr"/>
            <a:r>
              <a:rPr lang="en-US" sz="1200" b="1"/>
              <a:t>Risk Assessment</a:t>
            </a:r>
            <a:endParaRPr lang="en-US" sz="1200" b="1" dirty="0"/>
          </a:p>
        </p:txBody>
      </p:sp>
      <p:sp>
        <p:nvSpPr>
          <p:cNvPr id="25" name="Right Arrow 24">
            <a:extLst>
              <a:ext uri="{FF2B5EF4-FFF2-40B4-BE49-F238E27FC236}">
                <a16:creationId xmlns:a16="http://schemas.microsoft.com/office/drawing/2014/main" id="{AD6DC3D0-C603-308A-7FBB-7B27C912CEC9}"/>
              </a:ext>
            </a:extLst>
          </p:cNvPr>
          <p:cNvSpPr/>
          <p:nvPr/>
        </p:nvSpPr>
        <p:spPr bwMode="gray">
          <a:xfrm>
            <a:off x="8274857" y="1627166"/>
            <a:ext cx="367535" cy="228600"/>
          </a:xfrm>
          <a:prstGeom prst="rightArrow">
            <a:avLst/>
          </a:prstGeom>
          <a:solidFill>
            <a:schemeClr val="accent6"/>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26" name="Rectangle 25">
            <a:extLst>
              <a:ext uri="{FF2B5EF4-FFF2-40B4-BE49-F238E27FC236}">
                <a16:creationId xmlns:a16="http://schemas.microsoft.com/office/drawing/2014/main" id="{3BEE6C09-805F-733D-3397-D2A508FD64F0}"/>
              </a:ext>
            </a:extLst>
          </p:cNvPr>
          <p:cNvSpPr/>
          <p:nvPr/>
        </p:nvSpPr>
        <p:spPr bwMode="gray">
          <a:xfrm>
            <a:off x="8732447" y="1181100"/>
            <a:ext cx="1248506" cy="1120733"/>
          </a:xfrm>
          <a:prstGeom prst="rect">
            <a:avLst/>
          </a:prstGeom>
          <a:solidFill>
            <a:schemeClr val="accent3">
              <a:lumMod val="20000"/>
              <a:lumOff val="80000"/>
            </a:schemeClr>
          </a:solidFill>
          <a:ln w="3175">
            <a:noFill/>
            <a:round/>
            <a:headEnd/>
            <a:tailEnd/>
          </a:ln>
        </p:spPr>
        <p:txBody>
          <a:bodyPr lIns="0" tIns="0" rIns="0" bIns="0" rtlCol="0" anchor="ctr"/>
          <a:lstStyle/>
          <a:p>
            <a:pPr algn="ctr"/>
            <a:r>
              <a:rPr lang="en-US" sz="1200" b="1" dirty="0"/>
              <a:t>Record Storage/</a:t>
            </a:r>
            <a:br>
              <a:rPr lang="en-US" sz="1200" b="1" dirty="0"/>
            </a:br>
            <a:r>
              <a:rPr lang="en-US" sz="1200" b="1" dirty="0"/>
              <a:t>Retention</a:t>
            </a:r>
          </a:p>
        </p:txBody>
      </p:sp>
      <p:sp>
        <p:nvSpPr>
          <p:cNvPr id="30" name="Right Arrow 29">
            <a:extLst>
              <a:ext uri="{FF2B5EF4-FFF2-40B4-BE49-F238E27FC236}">
                <a16:creationId xmlns:a16="http://schemas.microsoft.com/office/drawing/2014/main" id="{A1CAE023-EB27-8D1E-052D-245A5B2F7BE3}"/>
              </a:ext>
            </a:extLst>
          </p:cNvPr>
          <p:cNvSpPr/>
          <p:nvPr/>
        </p:nvSpPr>
        <p:spPr bwMode="gray">
          <a:xfrm>
            <a:off x="2819400" y="3608070"/>
            <a:ext cx="457136" cy="228600"/>
          </a:xfrm>
          <a:prstGeom prst="rightArrow">
            <a:avLst/>
          </a:prstGeom>
          <a:solidFill>
            <a:schemeClr val="accent6"/>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32" name="Rectangle 31">
            <a:extLst>
              <a:ext uri="{FF2B5EF4-FFF2-40B4-BE49-F238E27FC236}">
                <a16:creationId xmlns:a16="http://schemas.microsoft.com/office/drawing/2014/main" id="{2F8FF98C-F0B4-651C-043A-4E780EE1B4E5}"/>
              </a:ext>
            </a:extLst>
          </p:cNvPr>
          <p:cNvSpPr/>
          <p:nvPr/>
        </p:nvSpPr>
        <p:spPr bwMode="gray">
          <a:xfrm>
            <a:off x="3400121" y="3162004"/>
            <a:ext cx="1248506" cy="1120733"/>
          </a:xfrm>
          <a:prstGeom prst="rect">
            <a:avLst/>
          </a:prstGeom>
          <a:solidFill>
            <a:schemeClr val="accent2">
              <a:lumMod val="20000"/>
              <a:lumOff val="80000"/>
            </a:schemeClr>
          </a:solidFill>
          <a:ln w="3175">
            <a:noFill/>
            <a:round/>
            <a:headEnd/>
            <a:tailEnd/>
          </a:ln>
        </p:spPr>
        <p:txBody>
          <a:bodyPr lIns="0" tIns="0" rIns="0" bIns="0" rtlCol="0" anchor="ctr"/>
          <a:lstStyle/>
          <a:p>
            <a:pPr algn="ctr"/>
            <a:r>
              <a:rPr lang="en-US" sz="1200" b="1" dirty="0"/>
              <a:t>Obtain Transaction</a:t>
            </a:r>
            <a:br>
              <a:rPr lang="en-US" sz="1200" b="1" dirty="0"/>
            </a:br>
            <a:r>
              <a:rPr lang="en-US" sz="1200" b="1" dirty="0"/>
              <a:t> Data</a:t>
            </a:r>
          </a:p>
        </p:txBody>
      </p:sp>
      <p:sp>
        <p:nvSpPr>
          <p:cNvPr id="33" name="Right Arrow 32">
            <a:extLst>
              <a:ext uri="{FF2B5EF4-FFF2-40B4-BE49-F238E27FC236}">
                <a16:creationId xmlns:a16="http://schemas.microsoft.com/office/drawing/2014/main" id="{45592F51-622E-AC7D-C4B7-739F49C2A1A0}"/>
              </a:ext>
            </a:extLst>
          </p:cNvPr>
          <p:cNvSpPr/>
          <p:nvPr/>
        </p:nvSpPr>
        <p:spPr bwMode="gray">
          <a:xfrm>
            <a:off x="4719972" y="3608070"/>
            <a:ext cx="367535" cy="228600"/>
          </a:xfrm>
          <a:prstGeom prst="rightArrow">
            <a:avLst/>
          </a:prstGeom>
          <a:solidFill>
            <a:schemeClr val="accent6"/>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34" name="Rectangle 33">
            <a:extLst>
              <a:ext uri="{FF2B5EF4-FFF2-40B4-BE49-F238E27FC236}">
                <a16:creationId xmlns:a16="http://schemas.microsoft.com/office/drawing/2014/main" id="{F3BFC6AE-6C0C-7ED5-F6B9-53BBF20893B5}"/>
              </a:ext>
            </a:extLst>
          </p:cNvPr>
          <p:cNvSpPr/>
          <p:nvPr/>
        </p:nvSpPr>
        <p:spPr bwMode="gray">
          <a:xfrm>
            <a:off x="5168257" y="3162004"/>
            <a:ext cx="1248506" cy="1120733"/>
          </a:xfrm>
          <a:prstGeom prst="rect">
            <a:avLst/>
          </a:prstGeom>
          <a:solidFill>
            <a:schemeClr val="accent2">
              <a:lumMod val="20000"/>
              <a:lumOff val="80000"/>
            </a:schemeClr>
          </a:solidFill>
          <a:ln w="3175">
            <a:noFill/>
            <a:round/>
            <a:headEnd/>
            <a:tailEnd/>
          </a:ln>
        </p:spPr>
        <p:txBody>
          <a:bodyPr lIns="0" tIns="0" rIns="0" bIns="0" rtlCol="0" anchor="ctr"/>
          <a:lstStyle/>
          <a:p>
            <a:pPr algn="ctr"/>
            <a:r>
              <a:rPr lang="en-US" sz="1200" b="1" dirty="0"/>
              <a:t>Identify </a:t>
            </a:r>
            <a:r>
              <a:rPr lang="en-US" sz="1200" b="1"/>
              <a:t>suspicious  transactions</a:t>
            </a:r>
            <a:endParaRPr lang="en-US" sz="1200" b="1" dirty="0"/>
          </a:p>
        </p:txBody>
      </p:sp>
      <p:sp>
        <p:nvSpPr>
          <p:cNvPr id="35" name="Right Arrow 34">
            <a:extLst>
              <a:ext uri="{FF2B5EF4-FFF2-40B4-BE49-F238E27FC236}">
                <a16:creationId xmlns:a16="http://schemas.microsoft.com/office/drawing/2014/main" id="{FFF382C2-3970-EB65-52BD-4DE35455868D}"/>
              </a:ext>
            </a:extLst>
          </p:cNvPr>
          <p:cNvSpPr/>
          <p:nvPr/>
        </p:nvSpPr>
        <p:spPr bwMode="gray">
          <a:xfrm>
            <a:off x="6488108" y="3608070"/>
            <a:ext cx="367535" cy="228600"/>
          </a:xfrm>
          <a:prstGeom prst="rightArrow">
            <a:avLst/>
          </a:prstGeom>
          <a:solidFill>
            <a:schemeClr val="accent6"/>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54" name="Rectangle 53">
            <a:extLst>
              <a:ext uri="{FF2B5EF4-FFF2-40B4-BE49-F238E27FC236}">
                <a16:creationId xmlns:a16="http://schemas.microsoft.com/office/drawing/2014/main" id="{11E39775-F91A-F4AE-9F55-21634B9803DA}"/>
              </a:ext>
            </a:extLst>
          </p:cNvPr>
          <p:cNvSpPr/>
          <p:nvPr/>
        </p:nvSpPr>
        <p:spPr bwMode="gray">
          <a:xfrm>
            <a:off x="6955005" y="3162004"/>
            <a:ext cx="1248506" cy="1120733"/>
          </a:xfrm>
          <a:prstGeom prst="rect">
            <a:avLst/>
          </a:prstGeom>
          <a:solidFill>
            <a:schemeClr val="accent2">
              <a:lumMod val="20000"/>
              <a:lumOff val="80000"/>
            </a:schemeClr>
          </a:solidFill>
          <a:ln w="3175">
            <a:noFill/>
            <a:round/>
            <a:headEnd/>
            <a:tailEnd/>
          </a:ln>
        </p:spPr>
        <p:txBody>
          <a:bodyPr lIns="0" tIns="0" rIns="0" bIns="0" rtlCol="0" anchor="ctr"/>
          <a:lstStyle/>
          <a:p>
            <a:pPr algn="ctr"/>
            <a:r>
              <a:rPr lang="en-US" sz="1200" b="1" dirty="0"/>
              <a:t>Prepare reports for reporting</a:t>
            </a:r>
          </a:p>
        </p:txBody>
      </p:sp>
      <p:sp>
        <p:nvSpPr>
          <p:cNvPr id="60" name="Right Arrow 59">
            <a:extLst>
              <a:ext uri="{FF2B5EF4-FFF2-40B4-BE49-F238E27FC236}">
                <a16:creationId xmlns:a16="http://schemas.microsoft.com/office/drawing/2014/main" id="{13DA2FAB-87C1-ED9E-9D4A-3845EB8498CE}"/>
              </a:ext>
            </a:extLst>
          </p:cNvPr>
          <p:cNvSpPr/>
          <p:nvPr/>
        </p:nvSpPr>
        <p:spPr bwMode="gray">
          <a:xfrm>
            <a:off x="2819400" y="5482913"/>
            <a:ext cx="457136" cy="228600"/>
          </a:xfrm>
          <a:prstGeom prst="rightArrow">
            <a:avLst/>
          </a:prstGeom>
          <a:solidFill>
            <a:schemeClr val="accent6"/>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62" name="Rectangle 61">
            <a:extLst>
              <a:ext uri="{FF2B5EF4-FFF2-40B4-BE49-F238E27FC236}">
                <a16:creationId xmlns:a16="http://schemas.microsoft.com/office/drawing/2014/main" id="{8AC72010-500B-5F67-36D0-D3A5FD993F43}"/>
              </a:ext>
            </a:extLst>
          </p:cNvPr>
          <p:cNvSpPr/>
          <p:nvPr/>
        </p:nvSpPr>
        <p:spPr bwMode="gray">
          <a:xfrm>
            <a:off x="3400121" y="5051466"/>
            <a:ext cx="1248506" cy="1120733"/>
          </a:xfrm>
          <a:prstGeom prst="rect">
            <a:avLst/>
          </a:prstGeom>
          <a:solidFill>
            <a:schemeClr val="accent6">
              <a:lumMod val="20000"/>
              <a:lumOff val="80000"/>
            </a:schemeClr>
          </a:solidFill>
          <a:ln w="3175">
            <a:noFill/>
            <a:round/>
            <a:headEnd/>
            <a:tailEnd/>
          </a:ln>
        </p:spPr>
        <p:txBody>
          <a:bodyPr lIns="0" tIns="0" rIns="0" bIns="0" rtlCol="0" anchor="ctr"/>
          <a:lstStyle/>
          <a:p>
            <a:pPr marL="0" lvl="0" indent="0" algn="ctr" defTabSz="488950">
              <a:lnSpc>
                <a:spcPct val="90000"/>
              </a:lnSpc>
              <a:spcBef>
                <a:spcPct val="0"/>
              </a:spcBef>
              <a:spcAft>
                <a:spcPct val="35000"/>
              </a:spcAft>
              <a:buNone/>
            </a:pPr>
            <a:r>
              <a:rPr lang="en-US" sz="1200" b="1" kern="1200" dirty="0"/>
              <a:t>Report all suspicious transactions to </a:t>
            </a:r>
            <a:br>
              <a:rPr lang="en-US" sz="1200" b="1" kern="1200" dirty="0"/>
            </a:br>
            <a:r>
              <a:rPr lang="en-US" sz="1200" b="1" kern="1200" dirty="0"/>
              <a:t>the FIU</a:t>
            </a:r>
          </a:p>
        </p:txBody>
      </p:sp>
      <p:pic>
        <p:nvPicPr>
          <p:cNvPr id="131" name="Picture 130" descr="Diagram, engineering drawing&#10;&#10;Description automatically generated">
            <a:extLst>
              <a:ext uri="{FF2B5EF4-FFF2-40B4-BE49-F238E27FC236}">
                <a16:creationId xmlns:a16="http://schemas.microsoft.com/office/drawing/2014/main" id="{D295E412-98C3-8D75-0E62-2E006916A0C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251189" y="2514599"/>
            <a:ext cx="3497899" cy="3657599"/>
          </a:xfrm>
          <a:prstGeom prst="rect">
            <a:avLst/>
          </a:prstGeom>
        </p:spPr>
      </p:pic>
    </p:spTree>
    <p:custDataLst>
      <p:custData r:id="rId2"/>
    </p:custDataLst>
    <p:extLst>
      <p:ext uri="{BB962C8B-B14F-4D97-AF65-F5344CB8AC3E}">
        <p14:creationId xmlns:p14="http://schemas.microsoft.com/office/powerpoint/2010/main" val="14134544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4DA136-1EA4-F7C5-200C-77C4257A5B8E}"/>
              </a:ext>
            </a:extLst>
          </p:cNvPr>
          <p:cNvGraphicFramePr>
            <a:graphicFrameLocks noChangeAspect="1"/>
          </p:cNvGraphicFramePr>
          <p:nvPr>
            <p:custDataLst>
              <p:tags r:id="rId3"/>
            </p:custDataLst>
            <p:extLst>
              <p:ext uri="{D42A27DB-BD31-4B8C-83A1-F6EECF244321}">
                <p14:modId xmlns:p14="http://schemas.microsoft.com/office/powerpoint/2010/main" val="35718952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117" name="think-cell Slide" r:id="rId6" imgW="7772400" imgH="10058400" progId="TCLayout.ActiveDocument.1">
                  <p:embed/>
                </p:oleObj>
              </mc:Choice>
              <mc:Fallback>
                <p:oleObj name="think-cell Slide" r:id="rId6" imgW="7772400" imgH="10058400" progId="TCLayout.ActiveDocument.1">
                  <p:embed/>
                  <p:pic>
                    <p:nvPicPr>
                      <p:cNvPr id="10" name="Object 9" hidden="1">
                        <a:extLst>
                          <a:ext uri="{FF2B5EF4-FFF2-40B4-BE49-F238E27FC236}">
                            <a16:creationId xmlns:a16="http://schemas.microsoft.com/office/drawing/2014/main" id="{2D4DA136-1EA4-F7C5-200C-77C4257A5B8E}"/>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pic>
        <p:nvPicPr>
          <p:cNvPr id="2" name="Picture Placeholder 4">
            <a:extLst>
              <a:ext uri="{FF2B5EF4-FFF2-40B4-BE49-F238E27FC236}">
                <a16:creationId xmlns:a16="http://schemas.microsoft.com/office/drawing/2014/main" id="{CF7388C0-BA03-1735-9931-E8C2B862CFB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 y="-1"/>
            <a:ext cx="12192000" cy="6858001"/>
          </a:xfrm>
          <a:prstGeom prst="rect">
            <a:avLst/>
          </a:prstGeom>
        </p:spPr>
      </p:pic>
      <p:sp>
        <p:nvSpPr>
          <p:cNvPr id="4" name="Slide Number Placeholder 3">
            <a:extLst>
              <a:ext uri="{FF2B5EF4-FFF2-40B4-BE49-F238E27FC236}">
                <a16:creationId xmlns:a16="http://schemas.microsoft.com/office/drawing/2014/main" id="{2F8DBAD9-2FB4-3D45-BD3C-AE82E5DD780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750" b="0" i="0" u="none" strike="noStrike" kern="1200" cap="none" spc="0" normalizeH="0" baseline="0" noProof="0" dirty="0">
              <a:ln>
                <a:noFill/>
              </a:ln>
              <a:effectLst/>
              <a:uLnTx/>
              <a:uFillTx/>
              <a:latin typeface="Arial"/>
              <a:ea typeface="+mn-ea"/>
              <a:cs typeface="+mn-cs"/>
            </a:endParaRPr>
          </a:p>
        </p:txBody>
      </p:sp>
      <p:sp>
        <p:nvSpPr>
          <p:cNvPr id="12" name="TextBox 11">
            <a:extLst>
              <a:ext uri="{FF2B5EF4-FFF2-40B4-BE49-F238E27FC236}">
                <a16:creationId xmlns:a16="http://schemas.microsoft.com/office/drawing/2014/main" id="{FAE80C07-5B34-1DA2-ECE5-76BEC9974C7F}"/>
              </a:ext>
            </a:extLst>
          </p:cNvPr>
          <p:cNvSpPr txBox="1"/>
          <p:nvPr/>
        </p:nvSpPr>
        <p:spPr>
          <a:xfrm>
            <a:off x="442913" y="6492240"/>
            <a:ext cx="5473700" cy="137160"/>
          </a:xfrm>
          <a:prstGeom prst="rect">
            <a:avLst/>
          </a:prstGeom>
          <a:noFill/>
        </p:spPr>
        <p:txBody>
          <a:bodyPr wrap="square" lIns="0" tIns="0" rIns="0" bIns="0" rtlCol="0" anchor="b" anchorCtr="0">
            <a:noAutofit/>
          </a:bodyPr>
          <a:lstStyle/>
          <a:p>
            <a:pPr algn="l"/>
            <a:endParaRPr lang="en-US" sz="750" b="0" dirty="0"/>
          </a:p>
        </p:txBody>
      </p:sp>
      <p:sp>
        <p:nvSpPr>
          <p:cNvPr id="14" name="Rectangle 13">
            <a:extLst>
              <a:ext uri="{FF2B5EF4-FFF2-40B4-BE49-F238E27FC236}">
                <a16:creationId xmlns:a16="http://schemas.microsoft.com/office/drawing/2014/main" id="{35AF01FB-5EEA-FDDE-240E-EEECA87BCE8B}"/>
              </a:ext>
            </a:extLst>
          </p:cNvPr>
          <p:cNvSpPr/>
          <p:nvPr/>
        </p:nvSpPr>
        <p:spPr bwMode="gray">
          <a:xfrm>
            <a:off x="0" y="5029200"/>
            <a:ext cx="11749088" cy="1143000"/>
          </a:xfrm>
          <a:prstGeom prst="rect">
            <a:avLst/>
          </a:prstGeom>
          <a:solidFill>
            <a:schemeClr val="accent2"/>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15" name="Title 2">
            <a:extLst>
              <a:ext uri="{FF2B5EF4-FFF2-40B4-BE49-F238E27FC236}">
                <a16:creationId xmlns:a16="http://schemas.microsoft.com/office/drawing/2014/main" id="{E9F4CA30-518B-58DA-F055-E73D23A26BCF}"/>
              </a:ext>
            </a:extLst>
          </p:cNvPr>
          <p:cNvSpPr txBox="1">
            <a:spLocks/>
          </p:cNvSpPr>
          <p:nvPr/>
        </p:nvSpPr>
        <p:spPr>
          <a:xfrm>
            <a:off x="1415577" y="5183445"/>
            <a:ext cx="5043488" cy="805875"/>
          </a:xfrm>
          <a:prstGeom prst="rect">
            <a:avLst/>
          </a:prstGeom>
        </p:spPr>
        <p:txBody>
          <a:bodyPr lIns="0" tIns="0" rIns="0" bIns="0" anchor="ctr" anchorCtr="0">
            <a:noAutofit/>
          </a:bodyPr>
          <a:lstStyle>
            <a:lvl1pPr algn="l" defTabSz="914400" rtl="0" eaLnBrk="1" latinLnBrk="0" hangingPunct="1">
              <a:lnSpc>
                <a:spcPct val="100000"/>
              </a:lnSpc>
              <a:spcBef>
                <a:spcPct val="0"/>
              </a:spcBef>
              <a:buNone/>
              <a:defRPr sz="2800" kern="1200">
                <a:solidFill>
                  <a:schemeClr val="bg1"/>
                </a:solidFill>
                <a:latin typeface="+mj-lt"/>
                <a:ea typeface="+mj-ea"/>
                <a:cs typeface="+mj-cs"/>
              </a:defRPr>
            </a:lvl1pPr>
          </a:lstStyle>
          <a:p>
            <a:r>
              <a:rPr lang="en-US" sz="3600" dirty="0">
                <a:solidFill>
                  <a:schemeClr val="tx1"/>
                </a:solidFill>
              </a:rPr>
              <a:t>Introduction</a:t>
            </a:r>
          </a:p>
        </p:txBody>
      </p:sp>
      <p:sp>
        <p:nvSpPr>
          <p:cNvPr id="3" name="Freeform 2">
            <a:extLst>
              <a:ext uri="{FF2B5EF4-FFF2-40B4-BE49-F238E27FC236}">
                <a16:creationId xmlns:a16="http://schemas.microsoft.com/office/drawing/2014/main" id="{8140C412-6E0B-EC36-664D-6362CE52DA43}"/>
              </a:ext>
            </a:extLst>
          </p:cNvPr>
          <p:cNvSpPr>
            <a:spLocks noChangeAspect="1" noEditPoints="1"/>
          </p:cNvSpPr>
          <p:nvPr/>
        </p:nvSpPr>
        <p:spPr bwMode="auto">
          <a:xfrm>
            <a:off x="442913" y="5238549"/>
            <a:ext cx="726130" cy="724301"/>
          </a:xfrm>
          <a:custGeom>
            <a:avLst/>
            <a:gdLst>
              <a:gd name="T0" fmla="*/ 0 w 347"/>
              <a:gd name="T1" fmla="*/ 0 h 346"/>
              <a:gd name="T2" fmla="*/ 0 w 347"/>
              <a:gd name="T3" fmla="*/ 346 h 346"/>
              <a:gd name="T4" fmla="*/ 347 w 347"/>
              <a:gd name="T5" fmla="*/ 346 h 346"/>
              <a:gd name="T6" fmla="*/ 347 w 347"/>
              <a:gd name="T7" fmla="*/ 0 h 346"/>
              <a:gd name="T8" fmla="*/ 0 w 347"/>
              <a:gd name="T9" fmla="*/ 0 h 346"/>
              <a:gd name="T10" fmla="*/ 332 w 347"/>
              <a:gd name="T11" fmla="*/ 332 h 346"/>
              <a:gd name="T12" fmla="*/ 15 w 347"/>
              <a:gd name="T13" fmla="*/ 332 h 346"/>
              <a:gd name="T14" fmla="*/ 15 w 347"/>
              <a:gd name="T15" fmla="*/ 15 h 346"/>
              <a:gd name="T16" fmla="*/ 332 w 347"/>
              <a:gd name="T17" fmla="*/ 15 h 346"/>
              <a:gd name="T18" fmla="*/ 332 w 347"/>
              <a:gd name="T19" fmla="*/ 332 h 346"/>
              <a:gd name="T20" fmla="*/ 48 w 347"/>
              <a:gd name="T21" fmla="*/ 309 h 346"/>
              <a:gd name="T22" fmla="*/ 133 w 347"/>
              <a:gd name="T23" fmla="*/ 224 h 346"/>
              <a:gd name="T24" fmla="*/ 204 w 347"/>
              <a:gd name="T25" fmla="*/ 250 h 346"/>
              <a:gd name="T26" fmla="*/ 280 w 347"/>
              <a:gd name="T27" fmla="*/ 219 h 346"/>
              <a:gd name="T28" fmla="*/ 280 w 347"/>
              <a:gd name="T29" fmla="*/ 67 h 346"/>
              <a:gd name="T30" fmla="*/ 204 w 347"/>
              <a:gd name="T31" fmla="*/ 35 h 346"/>
              <a:gd name="T32" fmla="*/ 128 w 347"/>
              <a:gd name="T33" fmla="*/ 67 h 346"/>
              <a:gd name="T34" fmla="*/ 123 w 347"/>
              <a:gd name="T35" fmla="*/ 214 h 346"/>
              <a:gd name="T36" fmla="*/ 37 w 347"/>
              <a:gd name="T37" fmla="*/ 299 h 346"/>
              <a:gd name="T38" fmla="*/ 48 w 347"/>
              <a:gd name="T39" fmla="*/ 309 h 346"/>
              <a:gd name="T40" fmla="*/ 270 w 347"/>
              <a:gd name="T41" fmla="*/ 208 h 346"/>
              <a:gd name="T42" fmla="*/ 204 w 347"/>
              <a:gd name="T43" fmla="*/ 236 h 346"/>
              <a:gd name="T44" fmla="*/ 138 w 347"/>
              <a:gd name="T45" fmla="*/ 208 h 346"/>
              <a:gd name="T46" fmla="*/ 126 w 347"/>
              <a:gd name="T47" fmla="*/ 193 h 346"/>
              <a:gd name="T48" fmla="*/ 139 w 347"/>
              <a:gd name="T49" fmla="*/ 193 h 346"/>
              <a:gd name="T50" fmla="*/ 178 w 347"/>
              <a:gd name="T51" fmla="*/ 193 h 346"/>
              <a:gd name="T52" fmla="*/ 193 w 347"/>
              <a:gd name="T53" fmla="*/ 193 h 346"/>
              <a:gd name="T54" fmla="*/ 217 w 347"/>
              <a:gd name="T55" fmla="*/ 193 h 346"/>
              <a:gd name="T56" fmla="*/ 231 w 347"/>
              <a:gd name="T57" fmla="*/ 193 h 346"/>
              <a:gd name="T58" fmla="*/ 270 w 347"/>
              <a:gd name="T59" fmla="*/ 193 h 346"/>
              <a:gd name="T60" fmla="*/ 282 w 347"/>
              <a:gd name="T61" fmla="*/ 193 h 346"/>
              <a:gd name="T62" fmla="*/ 270 w 347"/>
              <a:gd name="T63" fmla="*/ 208 h 346"/>
              <a:gd name="T64" fmla="*/ 193 w 347"/>
              <a:gd name="T65" fmla="*/ 112 h 346"/>
              <a:gd name="T66" fmla="*/ 193 w 347"/>
              <a:gd name="T67" fmla="*/ 97 h 346"/>
              <a:gd name="T68" fmla="*/ 217 w 347"/>
              <a:gd name="T69" fmla="*/ 97 h 346"/>
              <a:gd name="T70" fmla="*/ 217 w 347"/>
              <a:gd name="T71" fmla="*/ 132 h 346"/>
              <a:gd name="T72" fmla="*/ 217 w 347"/>
              <a:gd name="T73" fmla="*/ 179 h 346"/>
              <a:gd name="T74" fmla="*/ 193 w 347"/>
              <a:gd name="T75" fmla="*/ 179 h 346"/>
              <a:gd name="T76" fmla="*/ 193 w 347"/>
              <a:gd name="T77" fmla="*/ 112 h 346"/>
              <a:gd name="T78" fmla="*/ 255 w 347"/>
              <a:gd name="T79" fmla="*/ 179 h 346"/>
              <a:gd name="T80" fmla="*/ 231 w 347"/>
              <a:gd name="T81" fmla="*/ 179 h 346"/>
              <a:gd name="T82" fmla="*/ 231 w 347"/>
              <a:gd name="T83" fmla="*/ 147 h 346"/>
              <a:gd name="T84" fmla="*/ 255 w 347"/>
              <a:gd name="T85" fmla="*/ 147 h 346"/>
              <a:gd name="T86" fmla="*/ 255 w 347"/>
              <a:gd name="T87" fmla="*/ 179 h 346"/>
              <a:gd name="T88" fmla="*/ 178 w 347"/>
              <a:gd name="T89" fmla="*/ 179 h 346"/>
              <a:gd name="T90" fmla="*/ 154 w 347"/>
              <a:gd name="T91" fmla="*/ 179 h 346"/>
              <a:gd name="T92" fmla="*/ 154 w 347"/>
              <a:gd name="T93" fmla="*/ 127 h 346"/>
              <a:gd name="T94" fmla="*/ 178 w 347"/>
              <a:gd name="T95" fmla="*/ 127 h 346"/>
              <a:gd name="T96" fmla="*/ 178 w 347"/>
              <a:gd name="T97" fmla="*/ 179 h 346"/>
              <a:gd name="T98" fmla="*/ 138 w 347"/>
              <a:gd name="T99" fmla="*/ 77 h 346"/>
              <a:gd name="T100" fmla="*/ 204 w 347"/>
              <a:gd name="T101" fmla="*/ 50 h 346"/>
              <a:gd name="T102" fmla="*/ 270 w 347"/>
              <a:gd name="T103" fmla="*/ 77 h 346"/>
              <a:gd name="T104" fmla="*/ 290 w 347"/>
              <a:gd name="T105" fmla="*/ 179 h 346"/>
              <a:gd name="T106" fmla="*/ 270 w 347"/>
              <a:gd name="T107" fmla="*/ 179 h 346"/>
              <a:gd name="T108" fmla="*/ 270 w 347"/>
              <a:gd name="T109" fmla="*/ 132 h 346"/>
              <a:gd name="T110" fmla="*/ 231 w 347"/>
              <a:gd name="T111" fmla="*/ 132 h 346"/>
              <a:gd name="T112" fmla="*/ 231 w 347"/>
              <a:gd name="T113" fmla="*/ 83 h 346"/>
              <a:gd name="T114" fmla="*/ 178 w 347"/>
              <a:gd name="T115" fmla="*/ 83 h 346"/>
              <a:gd name="T116" fmla="*/ 178 w 347"/>
              <a:gd name="T117" fmla="*/ 112 h 346"/>
              <a:gd name="T118" fmla="*/ 139 w 347"/>
              <a:gd name="T119" fmla="*/ 112 h 346"/>
              <a:gd name="T120" fmla="*/ 139 w 347"/>
              <a:gd name="T121" fmla="*/ 179 h 346"/>
              <a:gd name="T122" fmla="*/ 118 w 347"/>
              <a:gd name="T123" fmla="*/ 179 h 346"/>
              <a:gd name="T124" fmla="*/ 138 w 347"/>
              <a:gd name="T125" fmla="*/ 7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7" h="346">
                <a:moveTo>
                  <a:pt x="0" y="0"/>
                </a:moveTo>
                <a:cubicBezTo>
                  <a:pt x="0" y="346"/>
                  <a:pt x="0" y="346"/>
                  <a:pt x="0" y="346"/>
                </a:cubicBezTo>
                <a:cubicBezTo>
                  <a:pt x="347" y="346"/>
                  <a:pt x="347" y="346"/>
                  <a:pt x="347" y="346"/>
                </a:cubicBezTo>
                <a:cubicBezTo>
                  <a:pt x="347" y="0"/>
                  <a:pt x="347" y="0"/>
                  <a:pt x="347" y="0"/>
                </a:cubicBezTo>
                <a:lnTo>
                  <a:pt x="0" y="0"/>
                </a:lnTo>
                <a:close/>
                <a:moveTo>
                  <a:pt x="332" y="332"/>
                </a:moveTo>
                <a:cubicBezTo>
                  <a:pt x="15" y="332"/>
                  <a:pt x="15" y="332"/>
                  <a:pt x="15" y="332"/>
                </a:cubicBezTo>
                <a:cubicBezTo>
                  <a:pt x="15" y="15"/>
                  <a:pt x="15" y="15"/>
                  <a:pt x="15" y="15"/>
                </a:cubicBezTo>
                <a:cubicBezTo>
                  <a:pt x="332" y="15"/>
                  <a:pt x="332" y="15"/>
                  <a:pt x="332" y="15"/>
                </a:cubicBezTo>
                <a:lnTo>
                  <a:pt x="332" y="332"/>
                </a:lnTo>
                <a:close/>
                <a:moveTo>
                  <a:pt x="48" y="309"/>
                </a:moveTo>
                <a:cubicBezTo>
                  <a:pt x="133" y="224"/>
                  <a:pt x="133" y="224"/>
                  <a:pt x="133" y="224"/>
                </a:cubicBezTo>
                <a:cubicBezTo>
                  <a:pt x="153" y="241"/>
                  <a:pt x="178" y="250"/>
                  <a:pt x="204" y="250"/>
                </a:cubicBezTo>
                <a:cubicBezTo>
                  <a:pt x="233" y="250"/>
                  <a:pt x="260" y="239"/>
                  <a:pt x="280" y="219"/>
                </a:cubicBezTo>
                <a:cubicBezTo>
                  <a:pt x="322" y="177"/>
                  <a:pt x="322" y="109"/>
                  <a:pt x="280" y="67"/>
                </a:cubicBezTo>
                <a:cubicBezTo>
                  <a:pt x="260" y="46"/>
                  <a:pt x="233" y="35"/>
                  <a:pt x="204" y="35"/>
                </a:cubicBezTo>
                <a:cubicBezTo>
                  <a:pt x="175" y="35"/>
                  <a:pt x="148" y="46"/>
                  <a:pt x="128" y="67"/>
                </a:cubicBezTo>
                <a:cubicBezTo>
                  <a:pt x="88" y="107"/>
                  <a:pt x="86" y="171"/>
                  <a:pt x="123" y="214"/>
                </a:cubicBezTo>
                <a:cubicBezTo>
                  <a:pt x="37" y="299"/>
                  <a:pt x="37" y="299"/>
                  <a:pt x="37" y="299"/>
                </a:cubicBezTo>
                <a:lnTo>
                  <a:pt x="48" y="309"/>
                </a:lnTo>
                <a:close/>
                <a:moveTo>
                  <a:pt x="270" y="208"/>
                </a:moveTo>
                <a:cubicBezTo>
                  <a:pt x="252" y="226"/>
                  <a:pt x="229" y="236"/>
                  <a:pt x="204" y="236"/>
                </a:cubicBezTo>
                <a:cubicBezTo>
                  <a:pt x="179" y="236"/>
                  <a:pt x="156" y="226"/>
                  <a:pt x="138" y="208"/>
                </a:cubicBezTo>
                <a:cubicBezTo>
                  <a:pt x="134" y="204"/>
                  <a:pt x="129" y="199"/>
                  <a:pt x="126" y="193"/>
                </a:cubicBezTo>
                <a:cubicBezTo>
                  <a:pt x="139" y="193"/>
                  <a:pt x="139" y="193"/>
                  <a:pt x="139" y="193"/>
                </a:cubicBezTo>
                <a:cubicBezTo>
                  <a:pt x="178" y="193"/>
                  <a:pt x="178" y="193"/>
                  <a:pt x="178" y="193"/>
                </a:cubicBezTo>
                <a:cubicBezTo>
                  <a:pt x="193" y="193"/>
                  <a:pt x="193" y="193"/>
                  <a:pt x="193" y="193"/>
                </a:cubicBezTo>
                <a:cubicBezTo>
                  <a:pt x="217" y="193"/>
                  <a:pt x="217" y="193"/>
                  <a:pt x="217" y="193"/>
                </a:cubicBezTo>
                <a:cubicBezTo>
                  <a:pt x="231" y="193"/>
                  <a:pt x="231" y="193"/>
                  <a:pt x="231" y="193"/>
                </a:cubicBezTo>
                <a:cubicBezTo>
                  <a:pt x="270" y="193"/>
                  <a:pt x="270" y="193"/>
                  <a:pt x="270" y="193"/>
                </a:cubicBezTo>
                <a:cubicBezTo>
                  <a:pt x="282" y="193"/>
                  <a:pt x="282" y="193"/>
                  <a:pt x="282" y="193"/>
                </a:cubicBezTo>
                <a:cubicBezTo>
                  <a:pt x="278" y="199"/>
                  <a:pt x="274" y="204"/>
                  <a:pt x="270" y="208"/>
                </a:cubicBezTo>
                <a:close/>
                <a:moveTo>
                  <a:pt x="193" y="112"/>
                </a:moveTo>
                <a:cubicBezTo>
                  <a:pt x="193" y="97"/>
                  <a:pt x="193" y="97"/>
                  <a:pt x="193" y="97"/>
                </a:cubicBezTo>
                <a:cubicBezTo>
                  <a:pt x="217" y="97"/>
                  <a:pt x="217" y="97"/>
                  <a:pt x="217" y="97"/>
                </a:cubicBezTo>
                <a:cubicBezTo>
                  <a:pt x="217" y="132"/>
                  <a:pt x="217" y="132"/>
                  <a:pt x="217" y="132"/>
                </a:cubicBezTo>
                <a:cubicBezTo>
                  <a:pt x="217" y="179"/>
                  <a:pt x="217" y="179"/>
                  <a:pt x="217" y="179"/>
                </a:cubicBezTo>
                <a:cubicBezTo>
                  <a:pt x="193" y="179"/>
                  <a:pt x="193" y="179"/>
                  <a:pt x="193" y="179"/>
                </a:cubicBezTo>
                <a:lnTo>
                  <a:pt x="193" y="112"/>
                </a:lnTo>
                <a:close/>
                <a:moveTo>
                  <a:pt x="255" y="179"/>
                </a:moveTo>
                <a:cubicBezTo>
                  <a:pt x="231" y="179"/>
                  <a:pt x="231" y="179"/>
                  <a:pt x="231" y="179"/>
                </a:cubicBezTo>
                <a:cubicBezTo>
                  <a:pt x="231" y="147"/>
                  <a:pt x="231" y="147"/>
                  <a:pt x="231" y="147"/>
                </a:cubicBezTo>
                <a:cubicBezTo>
                  <a:pt x="255" y="147"/>
                  <a:pt x="255" y="147"/>
                  <a:pt x="255" y="147"/>
                </a:cubicBezTo>
                <a:lnTo>
                  <a:pt x="255" y="179"/>
                </a:lnTo>
                <a:close/>
                <a:moveTo>
                  <a:pt x="178" y="179"/>
                </a:moveTo>
                <a:cubicBezTo>
                  <a:pt x="154" y="179"/>
                  <a:pt x="154" y="179"/>
                  <a:pt x="154" y="179"/>
                </a:cubicBezTo>
                <a:cubicBezTo>
                  <a:pt x="154" y="127"/>
                  <a:pt x="154" y="127"/>
                  <a:pt x="154" y="127"/>
                </a:cubicBezTo>
                <a:cubicBezTo>
                  <a:pt x="178" y="127"/>
                  <a:pt x="178" y="127"/>
                  <a:pt x="178" y="127"/>
                </a:cubicBezTo>
                <a:lnTo>
                  <a:pt x="178" y="179"/>
                </a:lnTo>
                <a:close/>
                <a:moveTo>
                  <a:pt x="138" y="77"/>
                </a:moveTo>
                <a:cubicBezTo>
                  <a:pt x="156" y="59"/>
                  <a:pt x="179" y="50"/>
                  <a:pt x="204" y="50"/>
                </a:cubicBezTo>
                <a:cubicBezTo>
                  <a:pt x="229" y="50"/>
                  <a:pt x="252" y="59"/>
                  <a:pt x="270" y="77"/>
                </a:cubicBezTo>
                <a:cubicBezTo>
                  <a:pt x="297" y="104"/>
                  <a:pt x="304" y="145"/>
                  <a:pt x="290" y="179"/>
                </a:cubicBezTo>
                <a:cubicBezTo>
                  <a:pt x="270" y="179"/>
                  <a:pt x="270" y="179"/>
                  <a:pt x="270" y="179"/>
                </a:cubicBezTo>
                <a:cubicBezTo>
                  <a:pt x="270" y="132"/>
                  <a:pt x="270" y="132"/>
                  <a:pt x="270" y="132"/>
                </a:cubicBezTo>
                <a:cubicBezTo>
                  <a:pt x="231" y="132"/>
                  <a:pt x="231" y="132"/>
                  <a:pt x="231" y="132"/>
                </a:cubicBezTo>
                <a:cubicBezTo>
                  <a:pt x="231" y="83"/>
                  <a:pt x="231" y="83"/>
                  <a:pt x="231" y="83"/>
                </a:cubicBezTo>
                <a:cubicBezTo>
                  <a:pt x="178" y="83"/>
                  <a:pt x="178" y="83"/>
                  <a:pt x="178" y="83"/>
                </a:cubicBezTo>
                <a:cubicBezTo>
                  <a:pt x="178" y="112"/>
                  <a:pt x="178" y="112"/>
                  <a:pt x="178" y="112"/>
                </a:cubicBezTo>
                <a:cubicBezTo>
                  <a:pt x="139" y="112"/>
                  <a:pt x="139" y="112"/>
                  <a:pt x="139" y="112"/>
                </a:cubicBezTo>
                <a:cubicBezTo>
                  <a:pt x="139" y="179"/>
                  <a:pt x="139" y="179"/>
                  <a:pt x="139" y="179"/>
                </a:cubicBezTo>
                <a:cubicBezTo>
                  <a:pt x="118" y="179"/>
                  <a:pt x="118" y="179"/>
                  <a:pt x="118" y="179"/>
                </a:cubicBezTo>
                <a:cubicBezTo>
                  <a:pt x="104" y="145"/>
                  <a:pt x="111" y="104"/>
                  <a:pt x="138" y="77"/>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1350" dirty="0"/>
          </a:p>
        </p:txBody>
      </p:sp>
    </p:spTree>
    <p:custDataLst>
      <p:custData r:id="rId2"/>
    </p:custDataLst>
    <p:extLst>
      <p:ext uri="{BB962C8B-B14F-4D97-AF65-F5344CB8AC3E}">
        <p14:creationId xmlns:p14="http://schemas.microsoft.com/office/powerpoint/2010/main" val="26085197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4DA136-1EA4-F7C5-200C-77C4257A5B8E}"/>
              </a:ext>
            </a:extLst>
          </p:cNvPr>
          <p:cNvGraphicFramePr>
            <a:graphicFrameLocks noChangeAspect="1"/>
          </p:cNvGraphicFramePr>
          <p:nvPr>
            <p:custDataLst>
              <p:tags r:id="rId3"/>
            </p:custDataLst>
            <p:extLst>
              <p:ext uri="{D42A27DB-BD31-4B8C-83A1-F6EECF244321}">
                <p14:modId xmlns:p14="http://schemas.microsoft.com/office/powerpoint/2010/main" val="180772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479" name="think-cell Slide" r:id="rId6" imgW="7772400" imgH="10058400" progId="TCLayout.ActiveDocument.1">
                  <p:embed/>
                </p:oleObj>
              </mc:Choice>
              <mc:Fallback>
                <p:oleObj name="think-cell Slide" r:id="rId6" imgW="7772400" imgH="10058400" progId="TCLayout.ActiveDocument.1">
                  <p:embed/>
                  <p:pic>
                    <p:nvPicPr>
                      <p:cNvPr id="10" name="Object 9" hidden="1">
                        <a:extLst>
                          <a:ext uri="{FF2B5EF4-FFF2-40B4-BE49-F238E27FC236}">
                            <a16:creationId xmlns:a16="http://schemas.microsoft.com/office/drawing/2014/main" id="{2D4DA136-1EA4-F7C5-200C-77C4257A5B8E}"/>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65E62C0-D21A-B4A1-8A85-4051651D6892}"/>
              </a:ext>
            </a:extLst>
          </p:cNvPr>
          <p:cNvSpPr/>
          <p:nvPr/>
        </p:nvSpPr>
        <p:spPr>
          <a:xfrm>
            <a:off x="3779745" y="436784"/>
            <a:ext cx="8412249" cy="1024114"/>
          </a:xfrm>
          <a:prstGeom prst="rect">
            <a:avLst/>
          </a:prstGeom>
          <a:solidFill>
            <a:srgbClr val="26262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13" name="Rectangle 12">
            <a:extLst>
              <a:ext uri="{FF2B5EF4-FFF2-40B4-BE49-F238E27FC236}">
                <a16:creationId xmlns:a16="http://schemas.microsoft.com/office/drawing/2014/main" id="{CD061366-CA2D-7487-5FCA-411D0E9E0BDA}"/>
              </a:ext>
            </a:extLst>
          </p:cNvPr>
          <p:cNvSpPr/>
          <p:nvPr/>
        </p:nvSpPr>
        <p:spPr>
          <a:xfrm>
            <a:off x="1" y="0"/>
            <a:ext cx="3779745" cy="685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solidFill>
                <a:schemeClr val="bg1"/>
              </a:solidFill>
            </a:endParaRPr>
          </a:p>
        </p:txBody>
      </p:sp>
      <p:sp>
        <p:nvSpPr>
          <p:cNvPr id="15" name="Title 11">
            <a:extLst>
              <a:ext uri="{FF2B5EF4-FFF2-40B4-BE49-F238E27FC236}">
                <a16:creationId xmlns:a16="http://schemas.microsoft.com/office/drawing/2014/main" id="{189D81AF-B2C4-B0AC-2856-DB6FCDC7D433}"/>
              </a:ext>
            </a:extLst>
          </p:cNvPr>
          <p:cNvSpPr>
            <a:spLocks noGrp="1"/>
          </p:cNvSpPr>
          <p:nvPr>
            <p:ph type="title"/>
          </p:nvPr>
        </p:nvSpPr>
        <p:spPr>
          <a:xfrm>
            <a:off x="4178799" y="569496"/>
            <a:ext cx="7668060" cy="773516"/>
          </a:xfrm>
        </p:spPr>
        <p:txBody>
          <a:bodyPr vert="horz">
            <a:noAutofit/>
          </a:bodyPr>
          <a:lstStyle/>
          <a:p>
            <a:pPr lvl="0">
              <a:defRPr/>
            </a:pPr>
            <a:r>
              <a:rPr lang="en-US" sz="2800" kern="0" dirty="0">
                <a:solidFill>
                  <a:schemeClr val="bg1"/>
                </a:solidFill>
                <a:ea typeface="Helvetica Neue Light"/>
                <a:cs typeface="Helvetica Neue Light"/>
                <a:sym typeface="Helvetica Neue Light"/>
              </a:rPr>
              <a:t>KYC verification and screening of new customer acceptance</a:t>
            </a:r>
          </a:p>
        </p:txBody>
      </p:sp>
      <p:sp>
        <p:nvSpPr>
          <p:cNvPr id="16" name="Content Placeholder 1">
            <a:extLst>
              <a:ext uri="{FF2B5EF4-FFF2-40B4-BE49-F238E27FC236}">
                <a16:creationId xmlns:a16="http://schemas.microsoft.com/office/drawing/2014/main" id="{EC1FE71F-073E-E187-C610-9ED1E65B1DEA}"/>
              </a:ext>
            </a:extLst>
          </p:cNvPr>
          <p:cNvSpPr txBox="1">
            <a:spLocks/>
          </p:cNvSpPr>
          <p:nvPr/>
        </p:nvSpPr>
        <p:spPr>
          <a:xfrm>
            <a:off x="438563" y="1646864"/>
            <a:ext cx="3013515" cy="313059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2000"/>
              </a:spcAft>
            </a:pPr>
            <a:r>
              <a:rPr lang="en-US" sz="1600" b="0" dirty="0">
                <a:solidFill>
                  <a:schemeClr val="bg1"/>
                </a:solidFill>
                <a:cs typeface="Times New Roman" panose="02020603050405020304" pitchFamily="18" charset="0"/>
              </a:rPr>
              <a:t>Gathering of initial KYC information of the customer or of the third party is a very important aspect. The aim of this exercise is to seek complete visibility on the customers, and third parties; their business operations, jurisdictions in which they operate, and related parties with whom they deal with, and screen them to identify the potential financial crime risks. </a:t>
            </a:r>
            <a:endParaRPr lang="en-US" sz="1600" b="0" dirty="0">
              <a:solidFill>
                <a:schemeClr val="bg1"/>
              </a:solidFill>
            </a:endParaRPr>
          </a:p>
        </p:txBody>
      </p:sp>
      <p:sp>
        <p:nvSpPr>
          <p:cNvPr id="17" name="Freeform 40">
            <a:extLst>
              <a:ext uri="{FF2B5EF4-FFF2-40B4-BE49-F238E27FC236}">
                <a16:creationId xmlns:a16="http://schemas.microsoft.com/office/drawing/2014/main" id="{6ADC1861-B136-F704-88BC-208EFB4DC101}"/>
              </a:ext>
            </a:extLst>
          </p:cNvPr>
          <p:cNvSpPr>
            <a:spLocks noChangeAspect="1" noEditPoints="1"/>
          </p:cNvSpPr>
          <p:nvPr/>
        </p:nvSpPr>
        <p:spPr bwMode="auto">
          <a:xfrm>
            <a:off x="442913" y="436783"/>
            <a:ext cx="888582" cy="891106"/>
          </a:xfrm>
          <a:custGeom>
            <a:avLst/>
            <a:gdLst>
              <a:gd name="T0" fmla="*/ 0 w 704"/>
              <a:gd name="T1" fmla="*/ 0 h 706"/>
              <a:gd name="T2" fmla="*/ 0 w 704"/>
              <a:gd name="T3" fmla="*/ 706 h 706"/>
              <a:gd name="T4" fmla="*/ 98 w 704"/>
              <a:gd name="T5" fmla="*/ 706 h 706"/>
              <a:gd name="T6" fmla="*/ 98 w 704"/>
              <a:gd name="T7" fmla="*/ 608 h 706"/>
              <a:gd name="T8" fmla="*/ 208 w 704"/>
              <a:gd name="T9" fmla="*/ 608 h 706"/>
              <a:gd name="T10" fmla="*/ 208 w 704"/>
              <a:gd name="T11" fmla="*/ 706 h 706"/>
              <a:gd name="T12" fmla="*/ 297 w 704"/>
              <a:gd name="T13" fmla="*/ 706 h 706"/>
              <a:gd name="T14" fmla="*/ 297 w 704"/>
              <a:gd name="T15" fmla="*/ 482 h 706"/>
              <a:gd name="T16" fmla="*/ 407 w 704"/>
              <a:gd name="T17" fmla="*/ 482 h 706"/>
              <a:gd name="T18" fmla="*/ 407 w 704"/>
              <a:gd name="T19" fmla="*/ 706 h 706"/>
              <a:gd name="T20" fmla="*/ 496 w 704"/>
              <a:gd name="T21" fmla="*/ 706 h 706"/>
              <a:gd name="T22" fmla="*/ 496 w 704"/>
              <a:gd name="T23" fmla="*/ 313 h 706"/>
              <a:gd name="T24" fmla="*/ 606 w 704"/>
              <a:gd name="T25" fmla="*/ 313 h 706"/>
              <a:gd name="T26" fmla="*/ 606 w 704"/>
              <a:gd name="T27" fmla="*/ 706 h 706"/>
              <a:gd name="T28" fmla="*/ 704 w 704"/>
              <a:gd name="T29" fmla="*/ 706 h 706"/>
              <a:gd name="T30" fmla="*/ 704 w 704"/>
              <a:gd name="T31" fmla="*/ 0 h 706"/>
              <a:gd name="T32" fmla="*/ 0 w 704"/>
              <a:gd name="T33" fmla="*/ 0 h 706"/>
              <a:gd name="T34" fmla="*/ 673 w 704"/>
              <a:gd name="T35" fmla="*/ 675 h 706"/>
              <a:gd name="T36" fmla="*/ 636 w 704"/>
              <a:gd name="T37" fmla="*/ 675 h 706"/>
              <a:gd name="T38" fmla="*/ 636 w 704"/>
              <a:gd name="T39" fmla="*/ 282 h 706"/>
              <a:gd name="T40" fmla="*/ 467 w 704"/>
              <a:gd name="T41" fmla="*/ 282 h 706"/>
              <a:gd name="T42" fmla="*/ 467 w 704"/>
              <a:gd name="T43" fmla="*/ 675 h 706"/>
              <a:gd name="T44" fmla="*/ 436 w 704"/>
              <a:gd name="T45" fmla="*/ 675 h 706"/>
              <a:gd name="T46" fmla="*/ 436 w 704"/>
              <a:gd name="T47" fmla="*/ 451 h 706"/>
              <a:gd name="T48" fmla="*/ 268 w 704"/>
              <a:gd name="T49" fmla="*/ 451 h 706"/>
              <a:gd name="T50" fmla="*/ 268 w 704"/>
              <a:gd name="T51" fmla="*/ 675 h 706"/>
              <a:gd name="T52" fmla="*/ 237 w 704"/>
              <a:gd name="T53" fmla="*/ 675 h 706"/>
              <a:gd name="T54" fmla="*/ 237 w 704"/>
              <a:gd name="T55" fmla="*/ 577 h 706"/>
              <a:gd name="T56" fmla="*/ 68 w 704"/>
              <a:gd name="T57" fmla="*/ 577 h 706"/>
              <a:gd name="T58" fmla="*/ 68 w 704"/>
              <a:gd name="T59" fmla="*/ 675 h 706"/>
              <a:gd name="T60" fmla="*/ 31 w 704"/>
              <a:gd name="T61" fmla="*/ 675 h 706"/>
              <a:gd name="T62" fmla="*/ 31 w 704"/>
              <a:gd name="T63" fmla="*/ 569 h 706"/>
              <a:gd name="T64" fmla="*/ 259 w 704"/>
              <a:gd name="T65" fmla="*/ 342 h 706"/>
              <a:gd name="T66" fmla="*/ 299 w 704"/>
              <a:gd name="T67" fmla="*/ 381 h 706"/>
              <a:gd name="T68" fmla="*/ 538 w 704"/>
              <a:gd name="T69" fmla="*/ 143 h 706"/>
              <a:gd name="T70" fmla="*/ 538 w 704"/>
              <a:gd name="T71" fmla="*/ 213 h 706"/>
              <a:gd name="T72" fmla="*/ 567 w 704"/>
              <a:gd name="T73" fmla="*/ 213 h 706"/>
              <a:gd name="T74" fmla="*/ 567 w 704"/>
              <a:gd name="T75" fmla="*/ 92 h 706"/>
              <a:gd name="T76" fmla="*/ 446 w 704"/>
              <a:gd name="T77" fmla="*/ 92 h 706"/>
              <a:gd name="T78" fmla="*/ 446 w 704"/>
              <a:gd name="T79" fmla="*/ 123 h 706"/>
              <a:gd name="T80" fmla="*/ 516 w 704"/>
              <a:gd name="T81" fmla="*/ 123 h 706"/>
              <a:gd name="T82" fmla="*/ 299 w 704"/>
              <a:gd name="T83" fmla="*/ 340 h 706"/>
              <a:gd name="T84" fmla="*/ 258 w 704"/>
              <a:gd name="T85" fmla="*/ 299 h 706"/>
              <a:gd name="T86" fmla="*/ 31 w 704"/>
              <a:gd name="T87" fmla="*/ 527 h 706"/>
              <a:gd name="T88" fmla="*/ 31 w 704"/>
              <a:gd name="T89" fmla="*/ 31 h 706"/>
              <a:gd name="T90" fmla="*/ 673 w 704"/>
              <a:gd name="T91" fmla="*/ 31 h 706"/>
              <a:gd name="T92" fmla="*/ 673 w 704"/>
              <a:gd name="T93" fmla="*/ 675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4" h="706">
                <a:moveTo>
                  <a:pt x="0" y="0"/>
                </a:moveTo>
                <a:lnTo>
                  <a:pt x="0" y="706"/>
                </a:lnTo>
                <a:lnTo>
                  <a:pt x="98" y="706"/>
                </a:lnTo>
                <a:lnTo>
                  <a:pt x="98" y="608"/>
                </a:lnTo>
                <a:lnTo>
                  <a:pt x="208" y="608"/>
                </a:lnTo>
                <a:lnTo>
                  <a:pt x="208" y="706"/>
                </a:lnTo>
                <a:lnTo>
                  <a:pt x="297" y="706"/>
                </a:lnTo>
                <a:lnTo>
                  <a:pt x="297" y="482"/>
                </a:lnTo>
                <a:lnTo>
                  <a:pt x="407" y="482"/>
                </a:lnTo>
                <a:lnTo>
                  <a:pt x="407" y="706"/>
                </a:lnTo>
                <a:lnTo>
                  <a:pt x="496" y="706"/>
                </a:lnTo>
                <a:lnTo>
                  <a:pt x="496" y="313"/>
                </a:lnTo>
                <a:lnTo>
                  <a:pt x="606" y="313"/>
                </a:lnTo>
                <a:lnTo>
                  <a:pt x="606" y="706"/>
                </a:lnTo>
                <a:lnTo>
                  <a:pt x="704" y="706"/>
                </a:lnTo>
                <a:lnTo>
                  <a:pt x="704" y="0"/>
                </a:lnTo>
                <a:lnTo>
                  <a:pt x="0" y="0"/>
                </a:lnTo>
                <a:close/>
                <a:moveTo>
                  <a:pt x="673" y="675"/>
                </a:moveTo>
                <a:lnTo>
                  <a:pt x="636" y="675"/>
                </a:lnTo>
                <a:lnTo>
                  <a:pt x="636" y="282"/>
                </a:lnTo>
                <a:lnTo>
                  <a:pt x="467" y="282"/>
                </a:lnTo>
                <a:lnTo>
                  <a:pt x="467" y="675"/>
                </a:lnTo>
                <a:lnTo>
                  <a:pt x="436" y="675"/>
                </a:lnTo>
                <a:lnTo>
                  <a:pt x="436" y="451"/>
                </a:lnTo>
                <a:lnTo>
                  <a:pt x="268" y="451"/>
                </a:lnTo>
                <a:lnTo>
                  <a:pt x="268" y="675"/>
                </a:lnTo>
                <a:lnTo>
                  <a:pt x="237" y="675"/>
                </a:lnTo>
                <a:lnTo>
                  <a:pt x="237" y="577"/>
                </a:lnTo>
                <a:lnTo>
                  <a:pt x="68" y="577"/>
                </a:lnTo>
                <a:lnTo>
                  <a:pt x="68" y="675"/>
                </a:lnTo>
                <a:lnTo>
                  <a:pt x="31" y="675"/>
                </a:lnTo>
                <a:lnTo>
                  <a:pt x="31" y="569"/>
                </a:lnTo>
                <a:lnTo>
                  <a:pt x="259" y="342"/>
                </a:lnTo>
                <a:lnTo>
                  <a:pt x="299" y="381"/>
                </a:lnTo>
                <a:lnTo>
                  <a:pt x="538" y="143"/>
                </a:lnTo>
                <a:lnTo>
                  <a:pt x="538" y="213"/>
                </a:lnTo>
                <a:lnTo>
                  <a:pt x="567" y="213"/>
                </a:lnTo>
                <a:lnTo>
                  <a:pt x="567" y="92"/>
                </a:lnTo>
                <a:lnTo>
                  <a:pt x="446" y="92"/>
                </a:lnTo>
                <a:lnTo>
                  <a:pt x="446" y="123"/>
                </a:lnTo>
                <a:lnTo>
                  <a:pt x="516" y="123"/>
                </a:lnTo>
                <a:lnTo>
                  <a:pt x="299" y="340"/>
                </a:lnTo>
                <a:lnTo>
                  <a:pt x="258" y="299"/>
                </a:lnTo>
                <a:lnTo>
                  <a:pt x="31" y="527"/>
                </a:lnTo>
                <a:lnTo>
                  <a:pt x="31" y="31"/>
                </a:lnTo>
                <a:lnTo>
                  <a:pt x="673" y="31"/>
                </a:lnTo>
                <a:lnTo>
                  <a:pt x="673" y="67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 name="Shape 426">
            <a:extLst>
              <a:ext uri="{FF2B5EF4-FFF2-40B4-BE49-F238E27FC236}">
                <a16:creationId xmlns:a16="http://schemas.microsoft.com/office/drawing/2014/main" id="{E2A8E6DC-A0F5-78F4-BEEC-203F4E7251FC}"/>
              </a:ext>
            </a:extLst>
          </p:cNvPr>
          <p:cNvSpPr/>
          <p:nvPr/>
        </p:nvSpPr>
        <p:spPr>
          <a:xfrm>
            <a:off x="8503897" y="3033884"/>
            <a:ext cx="1807262" cy="1807262"/>
          </a:xfrm>
          <a:prstGeom prst="diamond">
            <a:avLst/>
          </a:prstGeom>
          <a:solidFill>
            <a:schemeClr val="accent2"/>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000000"/>
              </a:solidFill>
              <a:effectLst/>
              <a:uLnTx/>
              <a:uFillTx/>
              <a:ea typeface="Arial"/>
              <a:cs typeface="Arial"/>
              <a:sym typeface="Arial"/>
            </a:endParaRPr>
          </a:p>
        </p:txBody>
      </p:sp>
      <p:sp>
        <p:nvSpPr>
          <p:cNvPr id="31" name="Shape 427">
            <a:extLst>
              <a:ext uri="{FF2B5EF4-FFF2-40B4-BE49-F238E27FC236}">
                <a16:creationId xmlns:a16="http://schemas.microsoft.com/office/drawing/2014/main" id="{7CC5C009-0BBC-FBB7-3334-287B5003A3E1}"/>
              </a:ext>
            </a:extLst>
          </p:cNvPr>
          <p:cNvSpPr/>
          <p:nvPr/>
        </p:nvSpPr>
        <p:spPr>
          <a:xfrm>
            <a:off x="5411329" y="3033884"/>
            <a:ext cx="1807262" cy="1807262"/>
          </a:xfrm>
          <a:prstGeom prst="diamond">
            <a:avLst/>
          </a:prstGeom>
          <a:solidFill>
            <a:schemeClr val="accent2"/>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000000"/>
              </a:solidFill>
              <a:effectLst/>
              <a:uLnTx/>
              <a:uFillTx/>
              <a:ea typeface="Arial"/>
              <a:cs typeface="Arial"/>
              <a:sym typeface="Arial"/>
            </a:endParaRPr>
          </a:p>
        </p:txBody>
      </p:sp>
      <p:sp>
        <p:nvSpPr>
          <p:cNvPr id="36" name="Shape 428">
            <a:extLst>
              <a:ext uri="{FF2B5EF4-FFF2-40B4-BE49-F238E27FC236}">
                <a16:creationId xmlns:a16="http://schemas.microsoft.com/office/drawing/2014/main" id="{FA1B014A-79C1-B2D3-FFAE-B35FAB90F220}"/>
              </a:ext>
            </a:extLst>
          </p:cNvPr>
          <p:cNvSpPr/>
          <p:nvPr/>
        </p:nvSpPr>
        <p:spPr>
          <a:xfrm>
            <a:off x="7861244" y="3234691"/>
            <a:ext cx="1405648" cy="1405648"/>
          </a:xfrm>
          <a:prstGeom prst="diamond">
            <a:avLst/>
          </a:prstGeom>
          <a:solidFill>
            <a:srgbClr val="46464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000000"/>
              </a:solidFill>
              <a:effectLst/>
              <a:uLnTx/>
              <a:uFillTx/>
              <a:ea typeface="Arial"/>
              <a:cs typeface="Arial"/>
              <a:sym typeface="Arial"/>
            </a:endParaRPr>
          </a:p>
        </p:txBody>
      </p:sp>
      <p:sp>
        <p:nvSpPr>
          <p:cNvPr id="37" name="Shape 429">
            <a:extLst>
              <a:ext uri="{FF2B5EF4-FFF2-40B4-BE49-F238E27FC236}">
                <a16:creationId xmlns:a16="http://schemas.microsoft.com/office/drawing/2014/main" id="{B946CA4C-45DC-2C35-5B8F-CF9F7C07A0EE}"/>
              </a:ext>
            </a:extLst>
          </p:cNvPr>
          <p:cNvSpPr/>
          <p:nvPr/>
        </p:nvSpPr>
        <p:spPr>
          <a:xfrm>
            <a:off x="6455596" y="3234691"/>
            <a:ext cx="1405648" cy="1405648"/>
          </a:xfrm>
          <a:prstGeom prst="diamond">
            <a:avLst/>
          </a:prstGeom>
          <a:solidFill>
            <a:srgbClr val="46464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000000"/>
              </a:solidFill>
              <a:effectLst/>
              <a:uLnTx/>
              <a:uFillTx/>
              <a:ea typeface="Arial"/>
              <a:cs typeface="Arial"/>
              <a:sym typeface="Arial"/>
            </a:endParaRPr>
          </a:p>
        </p:txBody>
      </p:sp>
      <p:sp>
        <p:nvSpPr>
          <p:cNvPr id="38" name="Shape 430">
            <a:extLst>
              <a:ext uri="{FF2B5EF4-FFF2-40B4-BE49-F238E27FC236}">
                <a16:creationId xmlns:a16="http://schemas.microsoft.com/office/drawing/2014/main" id="{2E98F958-514D-5165-B188-3A36AE717586}"/>
              </a:ext>
            </a:extLst>
          </p:cNvPr>
          <p:cNvSpPr/>
          <p:nvPr/>
        </p:nvSpPr>
        <p:spPr>
          <a:xfrm>
            <a:off x="7360296" y="3435497"/>
            <a:ext cx="1004034" cy="1004034"/>
          </a:xfrm>
          <a:prstGeom prst="diamond">
            <a:avLst/>
          </a:prstGeom>
          <a:solidFill>
            <a:srgbClr val="E0301E"/>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000000"/>
              </a:solidFill>
              <a:effectLst/>
              <a:uLnTx/>
              <a:uFillTx/>
              <a:ea typeface="Arial"/>
              <a:cs typeface="Arial"/>
              <a:sym typeface="Arial"/>
            </a:endParaRPr>
          </a:p>
        </p:txBody>
      </p:sp>
      <p:sp>
        <p:nvSpPr>
          <p:cNvPr id="39" name="Shape 438">
            <a:extLst>
              <a:ext uri="{FF2B5EF4-FFF2-40B4-BE49-F238E27FC236}">
                <a16:creationId xmlns:a16="http://schemas.microsoft.com/office/drawing/2014/main" id="{45C33891-5AE0-63B5-D874-DC8B134D45A5}"/>
              </a:ext>
            </a:extLst>
          </p:cNvPr>
          <p:cNvSpPr txBox="1"/>
          <p:nvPr/>
        </p:nvSpPr>
        <p:spPr>
          <a:xfrm>
            <a:off x="3971925" y="2133600"/>
            <a:ext cx="1789944" cy="720897"/>
          </a:xfrm>
          <a:prstGeom prst="rect">
            <a:avLst/>
          </a:prstGeom>
          <a:noFill/>
          <a:ln>
            <a:noFill/>
          </a:ln>
        </p:spPr>
        <p:txBody>
          <a:bodyPr spcFirstLastPara="1" wrap="square" lIns="91425" tIns="45700" rIns="91425" bIns="45700" anchor="t" anchorCtr="0">
            <a:noAutofit/>
          </a:bodyPr>
          <a:lstStyle/>
          <a:p>
            <a:pPr>
              <a:lnSpc>
                <a:spcPct val="100000"/>
              </a:lnSpc>
            </a:pPr>
            <a:r>
              <a:rPr lang="en-US" sz="1400" dirty="0"/>
              <a:t>True identity of the customer or the third party you are associated with; </a:t>
            </a:r>
          </a:p>
        </p:txBody>
      </p:sp>
      <p:sp>
        <p:nvSpPr>
          <p:cNvPr id="40" name="Shape 441">
            <a:extLst>
              <a:ext uri="{FF2B5EF4-FFF2-40B4-BE49-F238E27FC236}">
                <a16:creationId xmlns:a16="http://schemas.microsoft.com/office/drawing/2014/main" id="{E5E3B102-46A7-4576-3087-22211C63EE3E}"/>
              </a:ext>
            </a:extLst>
          </p:cNvPr>
          <p:cNvSpPr txBox="1"/>
          <p:nvPr/>
        </p:nvSpPr>
        <p:spPr>
          <a:xfrm>
            <a:off x="3961298" y="4672370"/>
            <a:ext cx="1972103" cy="720897"/>
          </a:xfrm>
          <a:prstGeom prst="rect">
            <a:avLst/>
          </a:prstGeom>
          <a:noFill/>
          <a:ln>
            <a:noFill/>
          </a:ln>
        </p:spPr>
        <p:txBody>
          <a:bodyPr spcFirstLastPara="1" wrap="square" lIns="91425" tIns="45700" rIns="91425" bIns="45700" anchor="t" anchorCtr="0">
            <a:noAutofit/>
          </a:bodyPr>
          <a:lstStyle/>
          <a:p>
            <a:pPr lvl="0" defTabSz="622300">
              <a:lnSpc>
                <a:spcPct val="90000"/>
              </a:lnSpc>
              <a:spcBef>
                <a:spcPct val="0"/>
              </a:spcBef>
              <a:spcAft>
                <a:spcPct val="35000"/>
              </a:spcAft>
            </a:pPr>
            <a:r>
              <a:rPr lang="en-US" sz="1400" dirty="0"/>
              <a:t>True beneficial owners, key personnel e.g. related parties, or the individual/s that are authorized to act on behalf of the customer/ third party.</a:t>
            </a:r>
          </a:p>
        </p:txBody>
      </p:sp>
      <p:sp>
        <p:nvSpPr>
          <p:cNvPr id="41" name="Shape 444">
            <a:extLst>
              <a:ext uri="{FF2B5EF4-FFF2-40B4-BE49-F238E27FC236}">
                <a16:creationId xmlns:a16="http://schemas.microsoft.com/office/drawing/2014/main" id="{C4DDB66E-088C-68A8-830C-0E43C3A58AEA}"/>
              </a:ext>
            </a:extLst>
          </p:cNvPr>
          <p:cNvSpPr txBox="1"/>
          <p:nvPr/>
        </p:nvSpPr>
        <p:spPr>
          <a:xfrm>
            <a:off x="9971356" y="2057400"/>
            <a:ext cx="1774283" cy="1439781"/>
          </a:xfrm>
          <a:prstGeom prst="rect">
            <a:avLst/>
          </a:prstGeom>
          <a:noFill/>
          <a:ln>
            <a:noFill/>
          </a:ln>
        </p:spPr>
        <p:txBody>
          <a:bodyPr spcFirstLastPara="1" wrap="square" lIns="91425" tIns="45700" rIns="91425" bIns="45700" anchor="t" anchorCtr="0">
            <a:noAutofit/>
          </a:bodyPr>
          <a:lstStyle/>
          <a:p>
            <a:pPr lvl="0" defTabSz="622300">
              <a:lnSpc>
                <a:spcPct val="90000"/>
              </a:lnSpc>
              <a:spcBef>
                <a:spcPct val="0"/>
              </a:spcBef>
              <a:spcAft>
                <a:spcPct val="35000"/>
              </a:spcAft>
            </a:pPr>
            <a:r>
              <a:rPr lang="en-US" sz="1400" dirty="0"/>
              <a:t>Screening of names and aliases of individuals, entities, and groups against published sanctions lists in relevant jurisdictions</a:t>
            </a:r>
          </a:p>
        </p:txBody>
      </p:sp>
      <p:sp>
        <p:nvSpPr>
          <p:cNvPr id="42" name="Shape 447">
            <a:extLst>
              <a:ext uri="{FF2B5EF4-FFF2-40B4-BE49-F238E27FC236}">
                <a16:creationId xmlns:a16="http://schemas.microsoft.com/office/drawing/2014/main" id="{790C49B6-270C-37FD-7ECC-65CFB2C54319}"/>
              </a:ext>
            </a:extLst>
          </p:cNvPr>
          <p:cNvSpPr txBox="1"/>
          <p:nvPr/>
        </p:nvSpPr>
        <p:spPr>
          <a:xfrm>
            <a:off x="9938377" y="4962075"/>
            <a:ext cx="1807262" cy="881703"/>
          </a:xfrm>
          <a:prstGeom prst="rect">
            <a:avLst/>
          </a:prstGeom>
          <a:noFill/>
          <a:ln>
            <a:noFill/>
          </a:ln>
        </p:spPr>
        <p:txBody>
          <a:bodyPr spcFirstLastPara="1" wrap="square" lIns="91425" tIns="45700" rIns="91425" bIns="45700" anchor="t" anchorCtr="0">
            <a:noAutofit/>
          </a:bodyPr>
          <a:lstStyle/>
          <a:p>
            <a:pPr lvl="0" defTabSz="622300">
              <a:lnSpc>
                <a:spcPct val="90000"/>
              </a:lnSpc>
              <a:spcBef>
                <a:spcPct val="0"/>
              </a:spcBef>
              <a:spcAft>
                <a:spcPct val="35000"/>
              </a:spcAft>
            </a:pPr>
            <a:r>
              <a:rPr lang="en-US" sz="1400" dirty="0"/>
              <a:t>Conducting Negative News/ Adverse Media screening</a:t>
            </a:r>
          </a:p>
        </p:txBody>
      </p:sp>
      <p:sp>
        <p:nvSpPr>
          <p:cNvPr id="43" name="Shape 450">
            <a:extLst>
              <a:ext uri="{FF2B5EF4-FFF2-40B4-BE49-F238E27FC236}">
                <a16:creationId xmlns:a16="http://schemas.microsoft.com/office/drawing/2014/main" id="{C3AC4697-ADAA-ADBF-43E3-84C577D7755D}"/>
              </a:ext>
            </a:extLst>
          </p:cNvPr>
          <p:cNvSpPr txBox="1"/>
          <p:nvPr/>
        </p:nvSpPr>
        <p:spPr>
          <a:xfrm>
            <a:off x="6778097" y="4992785"/>
            <a:ext cx="2129267" cy="591026"/>
          </a:xfrm>
          <a:prstGeom prst="rect">
            <a:avLst/>
          </a:prstGeom>
          <a:noFill/>
          <a:ln>
            <a:noFill/>
          </a:ln>
        </p:spPr>
        <p:txBody>
          <a:bodyPr spcFirstLastPara="1" wrap="square" lIns="91425" tIns="45700" rIns="91425" bIns="45700" anchor="t" anchorCtr="0">
            <a:noAutofit/>
          </a:bodyPr>
          <a:lstStyle/>
          <a:p>
            <a:pPr lvl="0" defTabSz="622300">
              <a:lnSpc>
                <a:spcPct val="90000"/>
              </a:lnSpc>
              <a:spcBef>
                <a:spcPct val="0"/>
              </a:spcBef>
              <a:spcAft>
                <a:spcPct val="35000"/>
              </a:spcAft>
            </a:pPr>
            <a:r>
              <a:rPr lang="en-US" sz="1400" dirty="0"/>
              <a:t>Customer’s/ third party’s locations of operations</a:t>
            </a:r>
          </a:p>
        </p:txBody>
      </p:sp>
      <p:cxnSp>
        <p:nvCxnSpPr>
          <p:cNvPr id="44" name="Shape 452">
            <a:extLst>
              <a:ext uri="{FF2B5EF4-FFF2-40B4-BE49-F238E27FC236}">
                <a16:creationId xmlns:a16="http://schemas.microsoft.com/office/drawing/2014/main" id="{DEB2F44E-A195-516C-E922-E6BD3A99960C}"/>
              </a:ext>
            </a:extLst>
          </p:cNvPr>
          <p:cNvCxnSpPr>
            <a:stCxn id="31" idx="0"/>
          </p:cNvCxnSpPr>
          <p:nvPr/>
        </p:nvCxnSpPr>
        <p:spPr>
          <a:xfrm rot="5400000" flipH="1">
            <a:off x="5904979" y="2623904"/>
            <a:ext cx="233940" cy="586022"/>
          </a:xfrm>
          <a:prstGeom prst="bentConnector2">
            <a:avLst/>
          </a:prstGeom>
          <a:noFill/>
          <a:ln w="12700" cap="flat" cmpd="sng">
            <a:solidFill>
              <a:srgbClr val="FFFFFF">
                <a:lumMod val="50000"/>
              </a:srgbClr>
            </a:solidFill>
            <a:prstDash val="dot"/>
            <a:round/>
            <a:headEnd type="none" w="sm" len="sm"/>
            <a:tailEnd type="triangle" w="med" len="med"/>
          </a:ln>
        </p:spPr>
      </p:cxnSp>
      <p:cxnSp>
        <p:nvCxnSpPr>
          <p:cNvPr id="45" name="Shape 453">
            <a:extLst>
              <a:ext uri="{FF2B5EF4-FFF2-40B4-BE49-F238E27FC236}">
                <a16:creationId xmlns:a16="http://schemas.microsoft.com/office/drawing/2014/main" id="{5B3539E5-CA5F-C500-9B0C-F1402EE05907}"/>
              </a:ext>
            </a:extLst>
          </p:cNvPr>
          <p:cNvCxnSpPr>
            <a:stCxn id="29" idx="0"/>
          </p:cNvCxnSpPr>
          <p:nvPr/>
        </p:nvCxnSpPr>
        <p:spPr>
          <a:xfrm rot="16200000">
            <a:off x="9570851" y="2655028"/>
            <a:ext cx="215533" cy="542178"/>
          </a:xfrm>
          <a:prstGeom prst="bentConnector2">
            <a:avLst/>
          </a:prstGeom>
          <a:noFill/>
          <a:ln w="12700" cap="flat" cmpd="sng">
            <a:solidFill>
              <a:srgbClr val="FFFFFF">
                <a:lumMod val="50000"/>
              </a:srgbClr>
            </a:solidFill>
            <a:prstDash val="dot"/>
            <a:round/>
            <a:headEnd type="none" w="sm" len="sm"/>
            <a:tailEnd type="triangle" w="med" len="med"/>
          </a:ln>
        </p:spPr>
      </p:cxnSp>
      <p:cxnSp>
        <p:nvCxnSpPr>
          <p:cNvPr id="46" name="Shape 454">
            <a:extLst>
              <a:ext uri="{FF2B5EF4-FFF2-40B4-BE49-F238E27FC236}">
                <a16:creationId xmlns:a16="http://schemas.microsoft.com/office/drawing/2014/main" id="{201D0685-D998-A879-DE73-1A82A12ACB07}"/>
              </a:ext>
            </a:extLst>
          </p:cNvPr>
          <p:cNvCxnSpPr/>
          <p:nvPr/>
        </p:nvCxnSpPr>
        <p:spPr>
          <a:xfrm>
            <a:off x="7851809" y="4512076"/>
            <a:ext cx="1674" cy="171690"/>
          </a:xfrm>
          <a:prstGeom prst="straightConnector1">
            <a:avLst/>
          </a:prstGeom>
          <a:noFill/>
          <a:ln w="12700" cap="flat" cmpd="sng">
            <a:solidFill>
              <a:srgbClr val="FFFFFF">
                <a:lumMod val="50000"/>
              </a:srgbClr>
            </a:solidFill>
            <a:prstDash val="dot"/>
            <a:round/>
            <a:headEnd type="none" w="sm" len="sm"/>
            <a:tailEnd type="triangle" w="med" len="med"/>
          </a:ln>
        </p:spPr>
      </p:cxnSp>
      <p:cxnSp>
        <p:nvCxnSpPr>
          <p:cNvPr id="47" name="Shape 455">
            <a:extLst>
              <a:ext uri="{FF2B5EF4-FFF2-40B4-BE49-F238E27FC236}">
                <a16:creationId xmlns:a16="http://schemas.microsoft.com/office/drawing/2014/main" id="{71FFED32-2190-2DC4-0094-CD7C1E7F66F5}"/>
              </a:ext>
            </a:extLst>
          </p:cNvPr>
          <p:cNvCxnSpPr/>
          <p:nvPr/>
        </p:nvCxnSpPr>
        <p:spPr>
          <a:xfrm flipH="1">
            <a:off x="5933402" y="4611442"/>
            <a:ext cx="1233289" cy="521763"/>
          </a:xfrm>
          <a:prstGeom prst="bentConnector3">
            <a:avLst>
              <a:gd name="adj1" fmla="val 40527"/>
            </a:avLst>
          </a:prstGeom>
          <a:noFill/>
          <a:ln w="12700" cap="flat" cmpd="sng">
            <a:solidFill>
              <a:srgbClr val="FFFFFF">
                <a:lumMod val="50000"/>
              </a:srgbClr>
            </a:solidFill>
            <a:prstDash val="dot"/>
            <a:round/>
            <a:headEnd type="none" w="sm" len="sm"/>
            <a:tailEnd type="triangle" w="med" len="med"/>
          </a:ln>
        </p:spPr>
      </p:cxnSp>
      <p:cxnSp>
        <p:nvCxnSpPr>
          <p:cNvPr id="48" name="Shape 456">
            <a:extLst>
              <a:ext uri="{FF2B5EF4-FFF2-40B4-BE49-F238E27FC236}">
                <a16:creationId xmlns:a16="http://schemas.microsoft.com/office/drawing/2014/main" id="{030AF364-FE42-7445-E8C1-0FC1140353B3}"/>
              </a:ext>
            </a:extLst>
          </p:cNvPr>
          <p:cNvCxnSpPr/>
          <p:nvPr/>
        </p:nvCxnSpPr>
        <p:spPr>
          <a:xfrm>
            <a:off x="8571278" y="4611444"/>
            <a:ext cx="1233289" cy="521763"/>
          </a:xfrm>
          <a:prstGeom prst="bentConnector3">
            <a:avLst>
              <a:gd name="adj1" fmla="val 40527"/>
            </a:avLst>
          </a:prstGeom>
          <a:noFill/>
          <a:ln w="12700" cap="flat" cmpd="sng">
            <a:solidFill>
              <a:srgbClr val="FFFFFF">
                <a:lumMod val="50000"/>
              </a:srgbClr>
            </a:solidFill>
            <a:prstDash val="dot"/>
            <a:round/>
            <a:headEnd type="none" w="sm" len="sm"/>
            <a:tailEnd type="triangle" w="med" len="med"/>
          </a:ln>
        </p:spPr>
      </p:cxnSp>
      <p:grpSp>
        <p:nvGrpSpPr>
          <p:cNvPr id="49" name="Group 48">
            <a:extLst>
              <a:ext uri="{FF2B5EF4-FFF2-40B4-BE49-F238E27FC236}">
                <a16:creationId xmlns:a16="http://schemas.microsoft.com/office/drawing/2014/main" id="{0DEE8532-CB45-702E-2BEF-6B664A8FC675}"/>
              </a:ext>
            </a:extLst>
          </p:cNvPr>
          <p:cNvGrpSpPr>
            <a:grpSpLocks noChangeAspect="1"/>
          </p:cNvGrpSpPr>
          <p:nvPr/>
        </p:nvGrpSpPr>
        <p:grpSpPr>
          <a:xfrm>
            <a:off x="5924905" y="3744533"/>
            <a:ext cx="410968" cy="416304"/>
            <a:chOff x="5380038" y="1219200"/>
            <a:chExt cx="122238" cy="123825"/>
          </a:xfrm>
          <a:solidFill>
            <a:schemeClr val="tx1"/>
          </a:solidFill>
        </p:grpSpPr>
        <p:sp>
          <p:nvSpPr>
            <p:cNvPr id="50" name="Freeform 63">
              <a:extLst>
                <a:ext uri="{FF2B5EF4-FFF2-40B4-BE49-F238E27FC236}">
                  <a16:creationId xmlns:a16="http://schemas.microsoft.com/office/drawing/2014/main" id="{4333C928-B742-2F4E-A26E-CDAFD3B222CC}"/>
                </a:ext>
              </a:extLst>
            </p:cNvPr>
            <p:cNvSpPr>
              <a:spLocks noEditPoints="1"/>
            </p:cNvSpPr>
            <p:nvPr/>
          </p:nvSpPr>
          <p:spPr bwMode="auto">
            <a:xfrm>
              <a:off x="5472113" y="1257300"/>
              <a:ext cx="17463" cy="23813"/>
            </a:xfrm>
            <a:custGeom>
              <a:avLst/>
              <a:gdLst>
                <a:gd name="T0" fmla="*/ 41 w 82"/>
                <a:gd name="T1" fmla="*/ 109 h 109"/>
                <a:gd name="T2" fmla="*/ 69 w 82"/>
                <a:gd name="T3" fmla="*/ 94 h 109"/>
                <a:gd name="T4" fmla="*/ 82 w 82"/>
                <a:gd name="T5" fmla="*/ 45 h 109"/>
                <a:gd name="T6" fmla="*/ 41 w 82"/>
                <a:gd name="T7" fmla="*/ 0 h 109"/>
                <a:gd name="T8" fmla="*/ 0 w 82"/>
                <a:gd name="T9" fmla="*/ 45 h 109"/>
                <a:gd name="T10" fmla="*/ 13 w 82"/>
                <a:gd name="T11" fmla="*/ 94 h 109"/>
                <a:gd name="T12" fmla="*/ 41 w 82"/>
                <a:gd name="T13" fmla="*/ 109 h 109"/>
                <a:gd name="T14" fmla="*/ 41 w 82"/>
                <a:gd name="T15" fmla="*/ 23 h 109"/>
                <a:gd name="T16" fmla="*/ 59 w 82"/>
                <a:gd name="T17" fmla="*/ 45 h 109"/>
                <a:gd name="T18" fmla="*/ 41 w 82"/>
                <a:gd name="T19" fmla="*/ 86 h 109"/>
                <a:gd name="T20" fmla="*/ 23 w 82"/>
                <a:gd name="T21" fmla="*/ 45 h 109"/>
                <a:gd name="T22" fmla="*/ 41 w 82"/>
                <a:gd name="T23"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109">
                  <a:moveTo>
                    <a:pt x="41" y="109"/>
                  </a:moveTo>
                  <a:cubicBezTo>
                    <a:pt x="54" y="109"/>
                    <a:pt x="62" y="101"/>
                    <a:pt x="69" y="94"/>
                  </a:cubicBezTo>
                  <a:cubicBezTo>
                    <a:pt x="77" y="84"/>
                    <a:pt x="82" y="67"/>
                    <a:pt x="82" y="45"/>
                  </a:cubicBezTo>
                  <a:cubicBezTo>
                    <a:pt x="82" y="20"/>
                    <a:pt x="63" y="0"/>
                    <a:pt x="41" y="0"/>
                  </a:cubicBezTo>
                  <a:cubicBezTo>
                    <a:pt x="18" y="0"/>
                    <a:pt x="0" y="20"/>
                    <a:pt x="0" y="45"/>
                  </a:cubicBezTo>
                  <a:cubicBezTo>
                    <a:pt x="0" y="67"/>
                    <a:pt x="4" y="84"/>
                    <a:pt x="13" y="94"/>
                  </a:cubicBezTo>
                  <a:cubicBezTo>
                    <a:pt x="20" y="101"/>
                    <a:pt x="27" y="109"/>
                    <a:pt x="41" y="109"/>
                  </a:cubicBezTo>
                  <a:close/>
                  <a:moveTo>
                    <a:pt x="41" y="23"/>
                  </a:moveTo>
                  <a:cubicBezTo>
                    <a:pt x="51" y="23"/>
                    <a:pt x="59" y="33"/>
                    <a:pt x="59" y="45"/>
                  </a:cubicBezTo>
                  <a:cubicBezTo>
                    <a:pt x="59" y="61"/>
                    <a:pt x="54" y="86"/>
                    <a:pt x="41" y="86"/>
                  </a:cubicBezTo>
                  <a:cubicBezTo>
                    <a:pt x="28" y="86"/>
                    <a:pt x="23" y="61"/>
                    <a:pt x="23" y="45"/>
                  </a:cubicBezTo>
                  <a:cubicBezTo>
                    <a:pt x="23" y="33"/>
                    <a:pt x="31" y="23"/>
                    <a:pt x="4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sp>
          <p:nvSpPr>
            <p:cNvPr id="51" name="Freeform 64">
              <a:extLst>
                <a:ext uri="{FF2B5EF4-FFF2-40B4-BE49-F238E27FC236}">
                  <a16:creationId xmlns:a16="http://schemas.microsoft.com/office/drawing/2014/main" id="{BCE15029-D1A3-13E5-DDEC-BB22CEEB72AE}"/>
                </a:ext>
              </a:extLst>
            </p:cNvPr>
            <p:cNvSpPr>
              <a:spLocks noEditPoints="1"/>
            </p:cNvSpPr>
            <p:nvPr/>
          </p:nvSpPr>
          <p:spPr bwMode="auto">
            <a:xfrm>
              <a:off x="5392738" y="1257300"/>
              <a:ext cx="17463" cy="23813"/>
            </a:xfrm>
            <a:custGeom>
              <a:avLst/>
              <a:gdLst>
                <a:gd name="T0" fmla="*/ 41 w 82"/>
                <a:gd name="T1" fmla="*/ 109 h 109"/>
                <a:gd name="T2" fmla="*/ 69 w 82"/>
                <a:gd name="T3" fmla="*/ 94 h 109"/>
                <a:gd name="T4" fmla="*/ 82 w 82"/>
                <a:gd name="T5" fmla="*/ 45 h 109"/>
                <a:gd name="T6" fmla="*/ 41 w 82"/>
                <a:gd name="T7" fmla="*/ 0 h 109"/>
                <a:gd name="T8" fmla="*/ 0 w 82"/>
                <a:gd name="T9" fmla="*/ 45 h 109"/>
                <a:gd name="T10" fmla="*/ 13 w 82"/>
                <a:gd name="T11" fmla="*/ 94 h 109"/>
                <a:gd name="T12" fmla="*/ 41 w 82"/>
                <a:gd name="T13" fmla="*/ 109 h 109"/>
                <a:gd name="T14" fmla="*/ 41 w 82"/>
                <a:gd name="T15" fmla="*/ 86 h 109"/>
                <a:gd name="T16" fmla="*/ 23 w 82"/>
                <a:gd name="T17" fmla="*/ 45 h 109"/>
                <a:gd name="T18" fmla="*/ 41 w 82"/>
                <a:gd name="T19" fmla="*/ 23 h 109"/>
                <a:gd name="T20" fmla="*/ 59 w 82"/>
                <a:gd name="T21" fmla="*/ 45 h 109"/>
                <a:gd name="T22" fmla="*/ 41 w 82"/>
                <a:gd name="T23" fmla="*/ 8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109">
                  <a:moveTo>
                    <a:pt x="41" y="109"/>
                  </a:moveTo>
                  <a:cubicBezTo>
                    <a:pt x="55" y="109"/>
                    <a:pt x="62" y="101"/>
                    <a:pt x="69" y="94"/>
                  </a:cubicBezTo>
                  <a:cubicBezTo>
                    <a:pt x="78" y="84"/>
                    <a:pt x="82" y="67"/>
                    <a:pt x="82" y="45"/>
                  </a:cubicBezTo>
                  <a:cubicBezTo>
                    <a:pt x="82" y="20"/>
                    <a:pt x="64" y="0"/>
                    <a:pt x="41" y="0"/>
                  </a:cubicBezTo>
                  <a:cubicBezTo>
                    <a:pt x="19" y="0"/>
                    <a:pt x="0" y="20"/>
                    <a:pt x="0" y="45"/>
                  </a:cubicBezTo>
                  <a:cubicBezTo>
                    <a:pt x="0" y="67"/>
                    <a:pt x="5" y="84"/>
                    <a:pt x="13" y="94"/>
                  </a:cubicBezTo>
                  <a:cubicBezTo>
                    <a:pt x="20" y="101"/>
                    <a:pt x="28" y="109"/>
                    <a:pt x="41" y="109"/>
                  </a:cubicBezTo>
                  <a:close/>
                  <a:moveTo>
                    <a:pt x="41" y="86"/>
                  </a:moveTo>
                  <a:cubicBezTo>
                    <a:pt x="28" y="86"/>
                    <a:pt x="23" y="61"/>
                    <a:pt x="23" y="45"/>
                  </a:cubicBezTo>
                  <a:cubicBezTo>
                    <a:pt x="23" y="33"/>
                    <a:pt x="31" y="23"/>
                    <a:pt x="41" y="23"/>
                  </a:cubicBezTo>
                  <a:cubicBezTo>
                    <a:pt x="51" y="23"/>
                    <a:pt x="59" y="33"/>
                    <a:pt x="59" y="45"/>
                  </a:cubicBezTo>
                  <a:cubicBezTo>
                    <a:pt x="59" y="61"/>
                    <a:pt x="54" y="86"/>
                    <a:pt x="41"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sp>
          <p:nvSpPr>
            <p:cNvPr id="52" name="Freeform 65">
              <a:extLst>
                <a:ext uri="{FF2B5EF4-FFF2-40B4-BE49-F238E27FC236}">
                  <a16:creationId xmlns:a16="http://schemas.microsoft.com/office/drawing/2014/main" id="{124C9982-45BF-92EC-CCB8-E7BE6D632A5B}"/>
                </a:ext>
              </a:extLst>
            </p:cNvPr>
            <p:cNvSpPr>
              <a:spLocks noEditPoints="1"/>
            </p:cNvSpPr>
            <p:nvPr/>
          </p:nvSpPr>
          <p:spPr bwMode="auto">
            <a:xfrm>
              <a:off x="5380038" y="1219200"/>
              <a:ext cx="122238" cy="123825"/>
            </a:xfrm>
            <a:custGeom>
              <a:avLst/>
              <a:gdLst>
                <a:gd name="T0" fmla="*/ 0 w 576"/>
                <a:gd name="T1" fmla="*/ 576 h 576"/>
                <a:gd name="T2" fmla="*/ 106 w 576"/>
                <a:gd name="T3" fmla="*/ 419 h 576"/>
                <a:gd name="T4" fmla="*/ 238 w 576"/>
                <a:gd name="T5" fmla="*/ 344 h 576"/>
                <a:gd name="T6" fmla="*/ 248 w 576"/>
                <a:gd name="T7" fmla="*/ 351 h 576"/>
                <a:gd name="T8" fmla="*/ 328 w 576"/>
                <a:gd name="T9" fmla="*/ 351 h 576"/>
                <a:gd name="T10" fmla="*/ 338 w 576"/>
                <a:gd name="T11" fmla="*/ 344 h 576"/>
                <a:gd name="T12" fmla="*/ 470 w 576"/>
                <a:gd name="T13" fmla="*/ 419 h 576"/>
                <a:gd name="T14" fmla="*/ 576 w 576"/>
                <a:gd name="T15" fmla="*/ 576 h 576"/>
                <a:gd name="T16" fmla="*/ 0 w 576"/>
                <a:gd name="T17" fmla="*/ 0 h 576"/>
                <a:gd name="T18" fmla="*/ 83 w 576"/>
                <a:gd name="T19" fmla="*/ 412 h 576"/>
                <a:gd name="T20" fmla="*/ 25 w 576"/>
                <a:gd name="T21" fmla="*/ 551 h 576"/>
                <a:gd name="T22" fmla="*/ 27 w 576"/>
                <a:gd name="T23" fmla="*/ 350 h 576"/>
                <a:gd name="T24" fmla="*/ 80 w 576"/>
                <a:gd name="T25" fmla="*/ 321 h 576"/>
                <a:gd name="T26" fmla="*/ 103 w 576"/>
                <a:gd name="T27" fmla="*/ 331 h 576"/>
                <a:gd name="T28" fmla="*/ 127 w 576"/>
                <a:gd name="T29" fmla="*/ 321 h 576"/>
                <a:gd name="T30" fmla="*/ 173 w 576"/>
                <a:gd name="T31" fmla="*/ 340 h 576"/>
                <a:gd name="T32" fmla="*/ 317 w 576"/>
                <a:gd name="T33" fmla="*/ 327 h 576"/>
                <a:gd name="T34" fmla="*/ 288 w 576"/>
                <a:gd name="T35" fmla="*/ 344 h 576"/>
                <a:gd name="T36" fmla="*/ 259 w 576"/>
                <a:gd name="T37" fmla="*/ 327 h 576"/>
                <a:gd name="T38" fmla="*/ 196 w 576"/>
                <a:gd name="T39" fmla="*/ 332 h 576"/>
                <a:gd name="T40" fmla="*/ 131 w 576"/>
                <a:gd name="T41" fmla="*/ 298 h 576"/>
                <a:gd name="T42" fmla="*/ 109 w 576"/>
                <a:gd name="T43" fmla="*/ 306 h 576"/>
                <a:gd name="T44" fmla="*/ 94 w 576"/>
                <a:gd name="T45" fmla="*/ 303 h 576"/>
                <a:gd name="T46" fmla="*/ 36 w 576"/>
                <a:gd name="T47" fmla="*/ 311 h 576"/>
                <a:gd name="T48" fmla="*/ 25 w 576"/>
                <a:gd name="T49" fmla="*/ 25 h 576"/>
                <a:gd name="T50" fmla="*/ 551 w 576"/>
                <a:gd name="T51" fmla="*/ 317 h 576"/>
                <a:gd name="T52" fmla="*/ 501 w 576"/>
                <a:gd name="T53" fmla="*/ 298 h 576"/>
                <a:gd name="T54" fmla="*/ 479 w 576"/>
                <a:gd name="T55" fmla="*/ 306 h 576"/>
                <a:gd name="T56" fmla="*/ 464 w 576"/>
                <a:gd name="T57" fmla="*/ 303 h 576"/>
                <a:gd name="T58" fmla="*/ 406 w 576"/>
                <a:gd name="T59" fmla="*/ 311 h 576"/>
                <a:gd name="T60" fmla="*/ 346 w 576"/>
                <a:gd name="T61" fmla="*/ 320 h 576"/>
                <a:gd name="T62" fmla="*/ 508 w 576"/>
                <a:gd name="T63" fmla="*/ 551 h 576"/>
                <a:gd name="T64" fmla="*/ 493 w 576"/>
                <a:gd name="T65" fmla="*/ 412 h 576"/>
                <a:gd name="T66" fmla="*/ 403 w 576"/>
                <a:gd name="T67" fmla="*/ 340 h 576"/>
                <a:gd name="T68" fmla="*/ 449 w 576"/>
                <a:gd name="T69" fmla="*/ 321 h 576"/>
                <a:gd name="T70" fmla="*/ 473 w 576"/>
                <a:gd name="T71" fmla="*/ 331 h 576"/>
                <a:gd name="T72" fmla="*/ 496 w 576"/>
                <a:gd name="T73" fmla="*/ 321 h 576"/>
                <a:gd name="T74" fmla="*/ 549 w 576"/>
                <a:gd name="T75" fmla="*/ 350 h 576"/>
                <a:gd name="T76" fmla="*/ 551 w 576"/>
                <a:gd name="T77"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6" h="576">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sp>
          <p:nvSpPr>
            <p:cNvPr id="53" name="Freeform 66">
              <a:extLst>
                <a:ext uri="{FF2B5EF4-FFF2-40B4-BE49-F238E27FC236}">
                  <a16:creationId xmlns:a16="http://schemas.microsoft.com/office/drawing/2014/main" id="{2790AF97-6C45-1FF6-0E0A-B0C2103BB309}"/>
                </a:ext>
              </a:extLst>
            </p:cNvPr>
            <p:cNvSpPr>
              <a:spLocks noEditPoints="1"/>
            </p:cNvSpPr>
            <p:nvPr/>
          </p:nvSpPr>
          <p:spPr bwMode="auto">
            <a:xfrm>
              <a:off x="5424488" y="1239838"/>
              <a:ext cx="33338" cy="44450"/>
            </a:xfrm>
            <a:custGeom>
              <a:avLst/>
              <a:gdLst>
                <a:gd name="T0" fmla="*/ 78 w 156"/>
                <a:gd name="T1" fmla="*/ 0 h 213"/>
                <a:gd name="T2" fmla="*/ 0 w 156"/>
                <a:gd name="T3" fmla="*/ 86 h 213"/>
                <a:gd name="T4" fmla="*/ 26 w 156"/>
                <a:gd name="T5" fmla="*/ 184 h 213"/>
                <a:gd name="T6" fmla="*/ 78 w 156"/>
                <a:gd name="T7" fmla="*/ 213 h 213"/>
                <a:gd name="T8" fmla="*/ 130 w 156"/>
                <a:gd name="T9" fmla="*/ 184 h 213"/>
                <a:gd name="T10" fmla="*/ 156 w 156"/>
                <a:gd name="T11" fmla="*/ 86 h 213"/>
                <a:gd name="T12" fmla="*/ 78 w 156"/>
                <a:gd name="T13" fmla="*/ 0 h 213"/>
                <a:gd name="T14" fmla="*/ 112 w 156"/>
                <a:gd name="T15" fmla="*/ 168 h 213"/>
                <a:gd name="T16" fmla="*/ 78 w 156"/>
                <a:gd name="T17" fmla="*/ 189 h 213"/>
                <a:gd name="T18" fmla="*/ 44 w 156"/>
                <a:gd name="T19" fmla="*/ 168 h 213"/>
                <a:gd name="T20" fmla="*/ 25 w 156"/>
                <a:gd name="T21" fmla="*/ 86 h 213"/>
                <a:gd name="T22" fmla="*/ 78 w 156"/>
                <a:gd name="T23" fmla="*/ 24 h 213"/>
                <a:gd name="T24" fmla="*/ 131 w 156"/>
                <a:gd name="T25" fmla="*/ 86 h 213"/>
                <a:gd name="T26" fmla="*/ 112 w 156"/>
                <a:gd name="T27" fmla="*/ 16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213">
                  <a:moveTo>
                    <a:pt x="78" y="0"/>
                  </a:moveTo>
                  <a:cubicBezTo>
                    <a:pt x="35" y="0"/>
                    <a:pt x="0" y="38"/>
                    <a:pt x="0" y="86"/>
                  </a:cubicBezTo>
                  <a:cubicBezTo>
                    <a:pt x="0" y="132"/>
                    <a:pt x="9" y="165"/>
                    <a:pt x="26" y="184"/>
                  </a:cubicBezTo>
                  <a:cubicBezTo>
                    <a:pt x="40" y="200"/>
                    <a:pt x="54" y="213"/>
                    <a:pt x="78" y="213"/>
                  </a:cubicBezTo>
                  <a:cubicBezTo>
                    <a:pt x="102" y="213"/>
                    <a:pt x="116" y="200"/>
                    <a:pt x="130" y="184"/>
                  </a:cubicBezTo>
                  <a:cubicBezTo>
                    <a:pt x="147" y="165"/>
                    <a:pt x="156" y="132"/>
                    <a:pt x="156" y="86"/>
                  </a:cubicBezTo>
                  <a:cubicBezTo>
                    <a:pt x="156" y="38"/>
                    <a:pt x="121" y="0"/>
                    <a:pt x="78" y="0"/>
                  </a:cubicBezTo>
                  <a:close/>
                  <a:moveTo>
                    <a:pt x="112" y="168"/>
                  </a:moveTo>
                  <a:cubicBezTo>
                    <a:pt x="97" y="184"/>
                    <a:pt x="90" y="189"/>
                    <a:pt x="78" y="189"/>
                  </a:cubicBezTo>
                  <a:cubicBezTo>
                    <a:pt x="66" y="189"/>
                    <a:pt x="59" y="184"/>
                    <a:pt x="44" y="168"/>
                  </a:cubicBezTo>
                  <a:cubicBezTo>
                    <a:pt x="32" y="154"/>
                    <a:pt x="25" y="124"/>
                    <a:pt x="25" y="86"/>
                  </a:cubicBezTo>
                  <a:cubicBezTo>
                    <a:pt x="25" y="52"/>
                    <a:pt x="49" y="24"/>
                    <a:pt x="78" y="24"/>
                  </a:cubicBezTo>
                  <a:cubicBezTo>
                    <a:pt x="107" y="24"/>
                    <a:pt x="131" y="52"/>
                    <a:pt x="131" y="86"/>
                  </a:cubicBezTo>
                  <a:cubicBezTo>
                    <a:pt x="131" y="124"/>
                    <a:pt x="124" y="154"/>
                    <a:pt x="112"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grpSp>
      <p:sp>
        <p:nvSpPr>
          <p:cNvPr id="55" name="Freeform 8">
            <a:extLst>
              <a:ext uri="{FF2B5EF4-FFF2-40B4-BE49-F238E27FC236}">
                <a16:creationId xmlns:a16="http://schemas.microsoft.com/office/drawing/2014/main" id="{1662BB48-B986-9A1D-A78B-903D38DA095B}"/>
              </a:ext>
            </a:extLst>
          </p:cNvPr>
          <p:cNvSpPr>
            <a:spLocks noChangeAspect="1" noEditPoints="1"/>
          </p:cNvSpPr>
          <p:nvPr/>
        </p:nvSpPr>
        <p:spPr bwMode="auto">
          <a:xfrm>
            <a:off x="6841981" y="3749503"/>
            <a:ext cx="416304" cy="416304"/>
          </a:xfrm>
          <a:custGeom>
            <a:avLst/>
            <a:gdLst>
              <a:gd name="T0" fmla="*/ 0 w 346"/>
              <a:gd name="T1" fmla="*/ 0 h 346"/>
              <a:gd name="T2" fmla="*/ 0 w 346"/>
              <a:gd name="T3" fmla="*/ 346 h 346"/>
              <a:gd name="T4" fmla="*/ 54 w 346"/>
              <a:gd name="T5" fmla="*/ 346 h 346"/>
              <a:gd name="T6" fmla="*/ 64 w 346"/>
              <a:gd name="T7" fmla="*/ 268 h 346"/>
              <a:gd name="T8" fmla="*/ 91 w 346"/>
              <a:gd name="T9" fmla="*/ 241 h 346"/>
              <a:gd name="T10" fmla="*/ 143 w 346"/>
              <a:gd name="T11" fmla="*/ 223 h 346"/>
              <a:gd name="T12" fmla="*/ 145 w 346"/>
              <a:gd name="T13" fmla="*/ 224 h 346"/>
              <a:gd name="T14" fmla="*/ 149 w 346"/>
              <a:gd name="T15" fmla="*/ 228 h 346"/>
              <a:gd name="T16" fmla="*/ 173 w 346"/>
              <a:gd name="T17" fmla="*/ 238 h 346"/>
              <a:gd name="T18" fmla="*/ 197 w 346"/>
              <a:gd name="T19" fmla="*/ 228 h 346"/>
              <a:gd name="T20" fmla="*/ 201 w 346"/>
              <a:gd name="T21" fmla="*/ 224 h 346"/>
              <a:gd name="T22" fmla="*/ 203 w 346"/>
              <a:gd name="T23" fmla="*/ 223 h 346"/>
              <a:gd name="T24" fmla="*/ 255 w 346"/>
              <a:gd name="T25" fmla="*/ 241 h 346"/>
              <a:gd name="T26" fmla="*/ 282 w 346"/>
              <a:gd name="T27" fmla="*/ 268 h 346"/>
              <a:gd name="T28" fmla="*/ 292 w 346"/>
              <a:gd name="T29" fmla="*/ 346 h 346"/>
              <a:gd name="T30" fmla="*/ 346 w 346"/>
              <a:gd name="T31" fmla="*/ 346 h 346"/>
              <a:gd name="T32" fmla="*/ 346 w 346"/>
              <a:gd name="T33" fmla="*/ 0 h 346"/>
              <a:gd name="T34" fmla="*/ 0 w 346"/>
              <a:gd name="T35" fmla="*/ 0 h 346"/>
              <a:gd name="T36" fmla="*/ 331 w 346"/>
              <a:gd name="T37" fmla="*/ 331 h 346"/>
              <a:gd name="T38" fmla="*/ 305 w 346"/>
              <a:gd name="T39" fmla="*/ 331 h 346"/>
              <a:gd name="T40" fmla="*/ 296 w 346"/>
              <a:gd name="T41" fmla="*/ 266 h 346"/>
              <a:gd name="T42" fmla="*/ 296 w 346"/>
              <a:gd name="T43" fmla="*/ 264 h 346"/>
              <a:gd name="T44" fmla="*/ 259 w 346"/>
              <a:gd name="T45" fmla="*/ 227 h 346"/>
              <a:gd name="T46" fmla="*/ 208 w 346"/>
              <a:gd name="T47" fmla="*/ 209 h 346"/>
              <a:gd name="T48" fmla="*/ 190 w 346"/>
              <a:gd name="T49" fmla="*/ 213 h 346"/>
              <a:gd name="T50" fmla="*/ 186 w 346"/>
              <a:gd name="T51" fmla="*/ 217 h 346"/>
              <a:gd name="T52" fmla="*/ 173 w 346"/>
              <a:gd name="T53" fmla="*/ 223 h 346"/>
              <a:gd name="T54" fmla="*/ 159 w 346"/>
              <a:gd name="T55" fmla="*/ 217 h 346"/>
              <a:gd name="T56" fmla="*/ 155 w 346"/>
              <a:gd name="T57" fmla="*/ 213 h 346"/>
              <a:gd name="T58" fmla="*/ 138 w 346"/>
              <a:gd name="T59" fmla="*/ 209 h 346"/>
              <a:gd name="T60" fmla="*/ 86 w 346"/>
              <a:gd name="T61" fmla="*/ 227 h 346"/>
              <a:gd name="T62" fmla="*/ 49 w 346"/>
              <a:gd name="T63" fmla="*/ 264 h 346"/>
              <a:gd name="T64" fmla="*/ 41 w 346"/>
              <a:gd name="T65" fmla="*/ 331 h 346"/>
              <a:gd name="T66" fmla="*/ 14 w 346"/>
              <a:gd name="T67" fmla="*/ 331 h 346"/>
              <a:gd name="T68" fmla="*/ 14 w 346"/>
              <a:gd name="T69" fmla="*/ 14 h 346"/>
              <a:gd name="T70" fmla="*/ 331 w 346"/>
              <a:gd name="T71" fmla="*/ 14 h 346"/>
              <a:gd name="T72" fmla="*/ 331 w 346"/>
              <a:gd name="T73" fmla="*/ 331 h 346"/>
              <a:gd name="T74" fmla="*/ 173 w 346"/>
              <a:gd name="T75" fmla="*/ 201 h 346"/>
              <a:gd name="T76" fmla="*/ 204 w 346"/>
              <a:gd name="T77" fmla="*/ 184 h 346"/>
              <a:gd name="T78" fmla="*/ 220 w 346"/>
              <a:gd name="T79" fmla="*/ 124 h 346"/>
              <a:gd name="T80" fmla="*/ 173 w 346"/>
              <a:gd name="T81" fmla="*/ 73 h 346"/>
              <a:gd name="T82" fmla="*/ 126 w 346"/>
              <a:gd name="T83" fmla="*/ 124 h 346"/>
              <a:gd name="T84" fmla="*/ 142 w 346"/>
              <a:gd name="T85" fmla="*/ 184 h 346"/>
              <a:gd name="T86" fmla="*/ 173 w 346"/>
              <a:gd name="T87" fmla="*/ 201 h 346"/>
              <a:gd name="T88" fmla="*/ 173 w 346"/>
              <a:gd name="T89" fmla="*/ 88 h 346"/>
              <a:gd name="T90" fmla="*/ 205 w 346"/>
              <a:gd name="T91" fmla="*/ 124 h 346"/>
              <a:gd name="T92" fmla="*/ 193 w 346"/>
              <a:gd name="T93" fmla="*/ 174 h 346"/>
              <a:gd name="T94" fmla="*/ 173 w 346"/>
              <a:gd name="T95" fmla="*/ 187 h 346"/>
              <a:gd name="T96" fmla="*/ 153 w 346"/>
              <a:gd name="T97" fmla="*/ 174 h 346"/>
              <a:gd name="T98" fmla="*/ 141 w 346"/>
              <a:gd name="T99" fmla="*/ 124 h 346"/>
              <a:gd name="T100" fmla="*/ 173 w 346"/>
              <a:gd name="T101" fmla="*/ 8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6" h="346">
                <a:moveTo>
                  <a:pt x="0" y="0"/>
                </a:moveTo>
                <a:cubicBezTo>
                  <a:pt x="0" y="346"/>
                  <a:pt x="0" y="346"/>
                  <a:pt x="0" y="346"/>
                </a:cubicBezTo>
                <a:cubicBezTo>
                  <a:pt x="54" y="346"/>
                  <a:pt x="54" y="346"/>
                  <a:pt x="54" y="346"/>
                </a:cubicBezTo>
                <a:cubicBezTo>
                  <a:pt x="64" y="268"/>
                  <a:pt x="64" y="268"/>
                  <a:pt x="64" y="268"/>
                </a:cubicBezTo>
                <a:cubicBezTo>
                  <a:pt x="68" y="255"/>
                  <a:pt x="78" y="245"/>
                  <a:pt x="91" y="241"/>
                </a:cubicBezTo>
                <a:cubicBezTo>
                  <a:pt x="143" y="223"/>
                  <a:pt x="143" y="223"/>
                  <a:pt x="143" y="223"/>
                </a:cubicBezTo>
                <a:cubicBezTo>
                  <a:pt x="143" y="223"/>
                  <a:pt x="144" y="223"/>
                  <a:pt x="145" y="224"/>
                </a:cubicBezTo>
                <a:cubicBezTo>
                  <a:pt x="149" y="228"/>
                  <a:pt x="149" y="228"/>
                  <a:pt x="149" y="228"/>
                </a:cubicBezTo>
                <a:cubicBezTo>
                  <a:pt x="155" y="234"/>
                  <a:pt x="164" y="238"/>
                  <a:pt x="173" y="238"/>
                </a:cubicBezTo>
                <a:cubicBezTo>
                  <a:pt x="182" y="238"/>
                  <a:pt x="191" y="234"/>
                  <a:pt x="197" y="228"/>
                </a:cubicBezTo>
                <a:cubicBezTo>
                  <a:pt x="201" y="224"/>
                  <a:pt x="201" y="224"/>
                  <a:pt x="201" y="224"/>
                </a:cubicBezTo>
                <a:cubicBezTo>
                  <a:pt x="202" y="223"/>
                  <a:pt x="202" y="223"/>
                  <a:pt x="203" y="223"/>
                </a:cubicBezTo>
                <a:cubicBezTo>
                  <a:pt x="255" y="241"/>
                  <a:pt x="255" y="241"/>
                  <a:pt x="255" y="241"/>
                </a:cubicBezTo>
                <a:cubicBezTo>
                  <a:pt x="267" y="245"/>
                  <a:pt x="278" y="255"/>
                  <a:pt x="282" y="268"/>
                </a:cubicBezTo>
                <a:cubicBezTo>
                  <a:pt x="292" y="346"/>
                  <a:pt x="292" y="346"/>
                  <a:pt x="292" y="346"/>
                </a:cubicBezTo>
                <a:cubicBezTo>
                  <a:pt x="346" y="346"/>
                  <a:pt x="346" y="346"/>
                  <a:pt x="346" y="346"/>
                </a:cubicBezTo>
                <a:cubicBezTo>
                  <a:pt x="346" y="0"/>
                  <a:pt x="346" y="0"/>
                  <a:pt x="346" y="0"/>
                </a:cubicBezTo>
                <a:lnTo>
                  <a:pt x="0" y="0"/>
                </a:lnTo>
                <a:close/>
                <a:moveTo>
                  <a:pt x="331" y="331"/>
                </a:moveTo>
                <a:cubicBezTo>
                  <a:pt x="305" y="331"/>
                  <a:pt x="305" y="331"/>
                  <a:pt x="305" y="331"/>
                </a:cubicBezTo>
                <a:cubicBezTo>
                  <a:pt x="296" y="266"/>
                  <a:pt x="296" y="266"/>
                  <a:pt x="296" y="266"/>
                </a:cubicBezTo>
                <a:cubicBezTo>
                  <a:pt x="296" y="264"/>
                  <a:pt x="296" y="264"/>
                  <a:pt x="296" y="264"/>
                </a:cubicBezTo>
                <a:cubicBezTo>
                  <a:pt x="291" y="247"/>
                  <a:pt x="277" y="233"/>
                  <a:pt x="259" y="227"/>
                </a:cubicBezTo>
                <a:cubicBezTo>
                  <a:pt x="208" y="209"/>
                  <a:pt x="208" y="209"/>
                  <a:pt x="208" y="209"/>
                </a:cubicBezTo>
                <a:cubicBezTo>
                  <a:pt x="202" y="207"/>
                  <a:pt x="195" y="209"/>
                  <a:pt x="190" y="213"/>
                </a:cubicBezTo>
                <a:cubicBezTo>
                  <a:pt x="186" y="217"/>
                  <a:pt x="186" y="217"/>
                  <a:pt x="186" y="217"/>
                </a:cubicBezTo>
                <a:cubicBezTo>
                  <a:pt x="183" y="221"/>
                  <a:pt x="178" y="223"/>
                  <a:pt x="173" y="223"/>
                </a:cubicBezTo>
                <a:cubicBezTo>
                  <a:pt x="168" y="223"/>
                  <a:pt x="163" y="221"/>
                  <a:pt x="159" y="217"/>
                </a:cubicBezTo>
                <a:cubicBezTo>
                  <a:pt x="155" y="213"/>
                  <a:pt x="155" y="213"/>
                  <a:pt x="155" y="213"/>
                </a:cubicBezTo>
                <a:cubicBezTo>
                  <a:pt x="151" y="209"/>
                  <a:pt x="144" y="207"/>
                  <a:pt x="138" y="209"/>
                </a:cubicBezTo>
                <a:cubicBezTo>
                  <a:pt x="86" y="227"/>
                  <a:pt x="86" y="227"/>
                  <a:pt x="86" y="227"/>
                </a:cubicBezTo>
                <a:cubicBezTo>
                  <a:pt x="69" y="233"/>
                  <a:pt x="55" y="247"/>
                  <a:pt x="49" y="264"/>
                </a:cubicBezTo>
                <a:cubicBezTo>
                  <a:pt x="41" y="331"/>
                  <a:pt x="41" y="331"/>
                  <a:pt x="41" y="331"/>
                </a:cubicBezTo>
                <a:cubicBezTo>
                  <a:pt x="14" y="331"/>
                  <a:pt x="14" y="331"/>
                  <a:pt x="14" y="331"/>
                </a:cubicBezTo>
                <a:cubicBezTo>
                  <a:pt x="14" y="14"/>
                  <a:pt x="14" y="14"/>
                  <a:pt x="14" y="14"/>
                </a:cubicBezTo>
                <a:cubicBezTo>
                  <a:pt x="331" y="14"/>
                  <a:pt x="331" y="14"/>
                  <a:pt x="331" y="14"/>
                </a:cubicBezTo>
                <a:lnTo>
                  <a:pt x="331" y="331"/>
                </a:lnTo>
                <a:close/>
                <a:moveTo>
                  <a:pt x="173" y="201"/>
                </a:moveTo>
                <a:cubicBezTo>
                  <a:pt x="187" y="201"/>
                  <a:pt x="195" y="193"/>
                  <a:pt x="204" y="184"/>
                </a:cubicBezTo>
                <a:cubicBezTo>
                  <a:pt x="214" y="172"/>
                  <a:pt x="220" y="152"/>
                  <a:pt x="220" y="124"/>
                </a:cubicBezTo>
                <a:cubicBezTo>
                  <a:pt x="220" y="96"/>
                  <a:pt x="199" y="73"/>
                  <a:pt x="173" y="73"/>
                </a:cubicBezTo>
                <a:cubicBezTo>
                  <a:pt x="147" y="73"/>
                  <a:pt x="126" y="96"/>
                  <a:pt x="126" y="124"/>
                </a:cubicBezTo>
                <a:cubicBezTo>
                  <a:pt x="126" y="152"/>
                  <a:pt x="131" y="172"/>
                  <a:pt x="142" y="184"/>
                </a:cubicBezTo>
                <a:cubicBezTo>
                  <a:pt x="150" y="193"/>
                  <a:pt x="158" y="201"/>
                  <a:pt x="173" y="201"/>
                </a:cubicBezTo>
                <a:close/>
                <a:moveTo>
                  <a:pt x="173" y="88"/>
                </a:moveTo>
                <a:cubicBezTo>
                  <a:pt x="190" y="88"/>
                  <a:pt x="205" y="104"/>
                  <a:pt x="205" y="124"/>
                </a:cubicBezTo>
                <a:cubicBezTo>
                  <a:pt x="205" y="148"/>
                  <a:pt x="201" y="165"/>
                  <a:pt x="193" y="174"/>
                </a:cubicBezTo>
                <a:cubicBezTo>
                  <a:pt x="184" y="184"/>
                  <a:pt x="180" y="187"/>
                  <a:pt x="173" y="187"/>
                </a:cubicBezTo>
                <a:cubicBezTo>
                  <a:pt x="166" y="187"/>
                  <a:pt x="161" y="184"/>
                  <a:pt x="153" y="174"/>
                </a:cubicBezTo>
                <a:cubicBezTo>
                  <a:pt x="145" y="165"/>
                  <a:pt x="141" y="148"/>
                  <a:pt x="141" y="124"/>
                </a:cubicBezTo>
                <a:cubicBezTo>
                  <a:pt x="141" y="104"/>
                  <a:pt x="155" y="88"/>
                  <a:pt x="173" y="88"/>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800" b="1" dirty="0">
              <a:solidFill>
                <a:schemeClr val="accent1"/>
              </a:solidFill>
            </a:endParaRPr>
          </a:p>
        </p:txBody>
      </p:sp>
      <p:grpSp>
        <p:nvGrpSpPr>
          <p:cNvPr id="56" name="Group 55">
            <a:extLst>
              <a:ext uri="{FF2B5EF4-FFF2-40B4-BE49-F238E27FC236}">
                <a16:creationId xmlns:a16="http://schemas.microsoft.com/office/drawing/2014/main" id="{7FF88AC4-6D0D-026D-A0DF-B4980FAF53F1}"/>
              </a:ext>
            </a:extLst>
          </p:cNvPr>
          <p:cNvGrpSpPr>
            <a:grpSpLocks noChangeAspect="1"/>
          </p:cNvGrpSpPr>
          <p:nvPr/>
        </p:nvGrpSpPr>
        <p:grpSpPr>
          <a:xfrm>
            <a:off x="7653091" y="3743723"/>
            <a:ext cx="416305" cy="416305"/>
            <a:chOff x="4175125" y="284163"/>
            <a:chExt cx="938213" cy="939800"/>
          </a:xfrm>
          <a:solidFill>
            <a:schemeClr val="bg1"/>
          </a:solidFill>
        </p:grpSpPr>
        <p:sp>
          <p:nvSpPr>
            <p:cNvPr id="57" name="Freeform 195">
              <a:extLst>
                <a:ext uri="{FF2B5EF4-FFF2-40B4-BE49-F238E27FC236}">
                  <a16:creationId xmlns:a16="http://schemas.microsoft.com/office/drawing/2014/main" id="{8855B5B5-75DB-5436-CFF5-EA18531FBAB6}"/>
                </a:ext>
              </a:extLst>
            </p:cNvPr>
            <p:cNvSpPr>
              <a:spLocks noEditPoints="1"/>
            </p:cNvSpPr>
            <p:nvPr/>
          </p:nvSpPr>
          <p:spPr bwMode="auto">
            <a:xfrm>
              <a:off x="4175125" y="284163"/>
              <a:ext cx="938213" cy="939800"/>
            </a:xfrm>
            <a:custGeom>
              <a:avLst/>
              <a:gdLst>
                <a:gd name="T0" fmla="*/ 0 w 576"/>
                <a:gd name="T1" fmla="*/ 576 h 576"/>
                <a:gd name="T2" fmla="*/ 576 w 576"/>
                <a:gd name="T3" fmla="*/ 0 h 576"/>
                <a:gd name="T4" fmla="*/ 551 w 576"/>
                <a:gd name="T5" fmla="*/ 25 h 576"/>
                <a:gd name="T6" fmla="*/ 540 w 576"/>
                <a:gd name="T7" fmla="*/ 401 h 576"/>
                <a:gd name="T8" fmla="*/ 503 w 576"/>
                <a:gd name="T9" fmla="*/ 388 h 576"/>
                <a:gd name="T10" fmla="*/ 472 w 576"/>
                <a:gd name="T11" fmla="*/ 398 h 576"/>
                <a:gd name="T12" fmla="*/ 440 w 576"/>
                <a:gd name="T13" fmla="*/ 388 h 576"/>
                <a:gd name="T14" fmla="*/ 404 w 576"/>
                <a:gd name="T15" fmla="*/ 401 h 576"/>
                <a:gd name="T16" fmla="*/ 356 w 576"/>
                <a:gd name="T17" fmla="*/ 401 h 576"/>
                <a:gd name="T18" fmla="*/ 319 w 576"/>
                <a:gd name="T19" fmla="*/ 388 h 576"/>
                <a:gd name="T20" fmla="*/ 288 w 576"/>
                <a:gd name="T21" fmla="*/ 398 h 576"/>
                <a:gd name="T22" fmla="*/ 257 w 576"/>
                <a:gd name="T23" fmla="*/ 388 h 576"/>
                <a:gd name="T24" fmla="*/ 220 w 576"/>
                <a:gd name="T25" fmla="*/ 401 h 576"/>
                <a:gd name="T26" fmla="*/ 172 w 576"/>
                <a:gd name="T27" fmla="*/ 401 h 576"/>
                <a:gd name="T28" fmla="*/ 136 w 576"/>
                <a:gd name="T29" fmla="*/ 388 h 576"/>
                <a:gd name="T30" fmla="*/ 104 w 576"/>
                <a:gd name="T31" fmla="*/ 398 h 576"/>
                <a:gd name="T32" fmla="*/ 73 w 576"/>
                <a:gd name="T33" fmla="*/ 388 h 576"/>
                <a:gd name="T34" fmla="*/ 36 w 576"/>
                <a:gd name="T35" fmla="*/ 401 h 576"/>
                <a:gd name="T36" fmla="*/ 25 w 576"/>
                <a:gd name="T37" fmla="*/ 25 h 576"/>
                <a:gd name="T38" fmla="*/ 208 w 576"/>
                <a:gd name="T39" fmla="*/ 471 h 576"/>
                <a:gd name="T40" fmla="*/ 228 w 576"/>
                <a:gd name="T41" fmla="*/ 424 h 576"/>
                <a:gd name="T42" fmla="*/ 264 w 576"/>
                <a:gd name="T43" fmla="*/ 411 h 576"/>
                <a:gd name="T44" fmla="*/ 312 w 576"/>
                <a:gd name="T45" fmla="*/ 411 h 576"/>
                <a:gd name="T46" fmla="*/ 348 w 576"/>
                <a:gd name="T47" fmla="*/ 424 h 576"/>
                <a:gd name="T48" fmla="*/ 368 w 576"/>
                <a:gd name="T49" fmla="*/ 471 h 576"/>
                <a:gd name="T50" fmla="*/ 208 w 576"/>
                <a:gd name="T51" fmla="*/ 552 h 576"/>
                <a:gd name="T52" fmla="*/ 25 w 576"/>
                <a:gd name="T53" fmla="*/ 471 h 576"/>
                <a:gd name="T54" fmla="*/ 44 w 576"/>
                <a:gd name="T55" fmla="*/ 424 h 576"/>
                <a:gd name="T56" fmla="*/ 80 w 576"/>
                <a:gd name="T57" fmla="*/ 411 h 576"/>
                <a:gd name="T58" fmla="*/ 128 w 576"/>
                <a:gd name="T59" fmla="*/ 411 h 576"/>
                <a:gd name="T60" fmla="*/ 164 w 576"/>
                <a:gd name="T61" fmla="*/ 424 h 576"/>
                <a:gd name="T62" fmla="*/ 184 w 576"/>
                <a:gd name="T63" fmla="*/ 471 h 576"/>
                <a:gd name="T64" fmla="*/ 25 w 576"/>
                <a:gd name="T65" fmla="*/ 552 h 576"/>
                <a:gd name="T66" fmla="*/ 392 w 576"/>
                <a:gd name="T67" fmla="*/ 552 h 576"/>
                <a:gd name="T68" fmla="*/ 396 w 576"/>
                <a:gd name="T69" fmla="*/ 440 h 576"/>
                <a:gd name="T70" fmla="*/ 447 w 576"/>
                <a:gd name="T71" fmla="*/ 412 h 576"/>
                <a:gd name="T72" fmla="*/ 472 w 576"/>
                <a:gd name="T73" fmla="*/ 422 h 576"/>
                <a:gd name="T74" fmla="*/ 496 w 576"/>
                <a:gd name="T75" fmla="*/ 412 h 576"/>
                <a:gd name="T76" fmla="*/ 547 w 576"/>
                <a:gd name="T77" fmla="*/ 440 h 576"/>
                <a:gd name="T78" fmla="*/ 551 w 576"/>
                <a:gd name="T79" fmla="*/ 55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25"/>
                  </a:moveTo>
                  <a:cubicBezTo>
                    <a:pt x="551" y="406"/>
                    <a:pt x="551" y="406"/>
                    <a:pt x="551" y="406"/>
                  </a:cubicBezTo>
                  <a:cubicBezTo>
                    <a:pt x="548" y="404"/>
                    <a:pt x="544" y="402"/>
                    <a:pt x="540" y="401"/>
                  </a:cubicBezTo>
                  <a:cubicBezTo>
                    <a:pt x="531" y="397"/>
                    <a:pt x="519" y="393"/>
                    <a:pt x="504" y="388"/>
                  </a:cubicBezTo>
                  <a:cubicBezTo>
                    <a:pt x="503" y="388"/>
                    <a:pt x="503" y="388"/>
                    <a:pt x="503" y="388"/>
                  </a:cubicBezTo>
                  <a:cubicBezTo>
                    <a:pt x="489" y="383"/>
                    <a:pt x="481" y="390"/>
                    <a:pt x="477" y="396"/>
                  </a:cubicBezTo>
                  <a:cubicBezTo>
                    <a:pt x="476" y="397"/>
                    <a:pt x="475" y="398"/>
                    <a:pt x="472" y="398"/>
                  </a:cubicBezTo>
                  <a:cubicBezTo>
                    <a:pt x="469" y="398"/>
                    <a:pt x="468" y="397"/>
                    <a:pt x="467" y="396"/>
                  </a:cubicBezTo>
                  <a:cubicBezTo>
                    <a:pt x="463" y="390"/>
                    <a:pt x="455" y="383"/>
                    <a:pt x="440" y="388"/>
                  </a:cubicBezTo>
                  <a:cubicBezTo>
                    <a:pt x="439" y="388"/>
                    <a:pt x="439" y="388"/>
                    <a:pt x="439" y="388"/>
                  </a:cubicBezTo>
                  <a:cubicBezTo>
                    <a:pt x="425" y="393"/>
                    <a:pt x="413" y="397"/>
                    <a:pt x="404" y="401"/>
                  </a:cubicBezTo>
                  <a:cubicBezTo>
                    <a:pt x="394" y="404"/>
                    <a:pt x="386" y="410"/>
                    <a:pt x="380" y="418"/>
                  </a:cubicBezTo>
                  <a:cubicBezTo>
                    <a:pt x="374" y="410"/>
                    <a:pt x="366" y="404"/>
                    <a:pt x="356" y="401"/>
                  </a:cubicBezTo>
                  <a:cubicBezTo>
                    <a:pt x="347" y="397"/>
                    <a:pt x="335" y="393"/>
                    <a:pt x="320" y="388"/>
                  </a:cubicBezTo>
                  <a:cubicBezTo>
                    <a:pt x="319" y="388"/>
                    <a:pt x="319" y="388"/>
                    <a:pt x="319" y="388"/>
                  </a:cubicBezTo>
                  <a:cubicBezTo>
                    <a:pt x="305" y="383"/>
                    <a:pt x="297" y="390"/>
                    <a:pt x="293" y="396"/>
                  </a:cubicBezTo>
                  <a:cubicBezTo>
                    <a:pt x="292" y="397"/>
                    <a:pt x="291" y="398"/>
                    <a:pt x="288" y="398"/>
                  </a:cubicBezTo>
                  <a:cubicBezTo>
                    <a:pt x="285" y="398"/>
                    <a:pt x="284" y="397"/>
                    <a:pt x="283" y="396"/>
                  </a:cubicBezTo>
                  <a:cubicBezTo>
                    <a:pt x="279" y="390"/>
                    <a:pt x="271" y="383"/>
                    <a:pt x="257" y="388"/>
                  </a:cubicBezTo>
                  <a:cubicBezTo>
                    <a:pt x="256" y="388"/>
                    <a:pt x="256" y="388"/>
                    <a:pt x="256" y="388"/>
                  </a:cubicBezTo>
                  <a:cubicBezTo>
                    <a:pt x="241" y="393"/>
                    <a:pt x="229" y="397"/>
                    <a:pt x="220" y="401"/>
                  </a:cubicBezTo>
                  <a:cubicBezTo>
                    <a:pt x="210" y="404"/>
                    <a:pt x="202" y="410"/>
                    <a:pt x="196" y="418"/>
                  </a:cubicBezTo>
                  <a:cubicBezTo>
                    <a:pt x="190" y="410"/>
                    <a:pt x="182" y="404"/>
                    <a:pt x="172" y="401"/>
                  </a:cubicBezTo>
                  <a:cubicBezTo>
                    <a:pt x="163" y="397"/>
                    <a:pt x="151" y="393"/>
                    <a:pt x="136" y="388"/>
                  </a:cubicBezTo>
                  <a:cubicBezTo>
                    <a:pt x="136" y="388"/>
                    <a:pt x="136" y="388"/>
                    <a:pt x="136" y="388"/>
                  </a:cubicBezTo>
                  <a:cubicBezTo>
                    <a:pt x="121" y="383"/>
                    <a:pt x="113" y="390"/>
                    <a:pt x="109" y="396"/>
                  </a:cubicBezTo>
                  <a:cubicBezTo>
                    <a:pt x="108" y="397"/>
                    <a:pt x="107" y="398"/>
                    <a:pt x="104" y="398"/>
                  </a:cubicBezTo>
                  <a:cubicBezTo>
                    <a:pt x="101" y="398"/>
                    <a:pt x="100" y="397"/>
                    <a:pt x="100" y="396"/>
                  </a:cubicBezTo>
                  <a:cubicBezTo>
                    <a:pt x="95" y="390"/>
                    <a:pt x="87" y="383"/>
                    <a:pt x="73" y="388"/>
                  </a:cubicBezTo>
                  <a:cubicBezTo>
                    <a:pt x="72" y="388"/>
                    <a:pt x="72" y="388"/>
                    <a:pt x="72" y="388"/>
                  </a:cubicBezTo>
                  <a:cubicBezTo>
                    <a:pt x="58" y="393"/>
                    <a:pt x="45" y="397"/>
                    <a:pt x="36" y="401"/>
                  </a:cubicBezTo>
                  <a:cubicBezTo>
                    <a:pt x="32" y="402"/>
                    <a:pt x="28" y="404"/>
                    <a:pt x="25" y="406"/>
                  </a:cubicBezTo>
                  <a:cubicBezTo>
                    <a:pt x="25" y="25"/>
                    <a:pt x="25" y="25"/>
                    <a:pt x="25" y="25"/>
                  </a:cubicBezTo>
                  <a:lnTo>
                    <a:pt x="551" y="25"/>
                  </a:lnTo>
                  <a:close/>
                  <a:moveTo>
                    <a:pt x="208" y="471"/>
                  </a:moveTo>
                  <a:cubicBezTo>
                    <a:pt x="209" y="467"/>
                    <a:pt x="211" y="450"/>
                    <a:pt x="213" y="440"/>
                  </a:cubicBezTo>
                  <a:cubicBezTo>
                    <a:pt x="213" y="435"/>
                    <a:pt x="218" y="428"/>
                    <a:pt x="228" y="424"/>
                  </a:cubicBezTo>
                  <a:cubicBezTo>
                    <a:pt x="237" y="421"/>
                    <a:pt x="249" y="417"/>
                    <a:pt x="264" y="412"/>
                  </a:cubicBezTo>
                  <a:cubicBezTo>
                    <a:pt x="264" y="411"/>
                    <a:pt x="264" y="411"/>
                    <a:pt x="264" y="411"/>
                  </a:cubicBezTo>
                  <a:cubicBezTo>
                    <a:pt x="270" y="419"/>
                    <a:pt x="278" y="422"/>
                    <a:pt x="288" y="422"/>
                  </a:cubicBezTo>
                  <a:cubicBezTo>
                    <a:pt x="298" y="422"/>
                    <a:pt x="306" y="419"/>
                    <a:pt x="312" y="411"/>
                  </a:cubicBezTo>
                  <a:cubicBezTo>
                    <a:pt x="313" y="412"/>
                    <a:pt x="313" y="412"/>
                    <a:pt x="313" y="412"/>
                  </a:cubicBezTo>
                  <a:cubicBezTo>
                    <a:pt x="327" y="417"/>
                    <a:pt x="339" y="421"/>
                    <a:pt x="348" y="424"/>
                  </a:cubicBezTo>
                  <a:cubicBezTo>
                    <a:pt x="358" y="428"/>
                    <a:pt x="363" y="435"/>
                    <a:pt x="364" y="440"/>
                  </a:cubicBezTo>
                  <a:cubicBezTo>
                    <a:pt x="365" y="450"/>
                    <a:pt x="367" y="467"/>
                    <a:pt x="368" y="471"/>
                  </a:cubicBezTo>
                  <a:cubicBezTo>
                    <a:pt x="368" y="552"/>
                    <a:pt x="368" y="552"/>
                    <a:pt x="368" y="552"/>
                  </a:cubicBezTo>
                  <a:cubicBezTo>
                    <a:pt x="208" y="552"/>
                    <a:pt x="208" y="552"/>
                    <a:pt x="208" y="552"/>
                  </a:cubicBezTo>
                  <a:lnTo>
                    <a:pt x="208" y="471"/>
                  </a:lnTo>
                  <a:close/>
                  <a:moveTo>
                    <a:pt x="25" y="471"/>
                  </a:moveTo>
                  <a:cubicBezTo>
                    <a:pt x="25" y="467"/>
                    <a:pt x="28" y="450"/>
                    <a:pt x="29" y="440"/>
                  </a:cubicBezTo>
                  <a:cubicBezTo>
                    <a:pt x="29" y="435"/>
                    <a:pt x="34" y="428"/>
                    <a:pt x="44" y="424"/>
                  </a:cubicBezTo>
                  <a:cubicBezTo>
                    <a:pt x="51" y="422"/>
                    <a:pt x="62" y="418"/>
                    <a:pt x="80" y="412"/>
                  </a:cubicBezTo>
                  <a:cubicBezTo>
                    <a:pt x="80" y="411"/>
                    <a:pt x="80" y="411"/>
                    <a:pt x="80" y="411"/>
                  </a:cubicBezTo>
                  <a:cubicBezTo>
                    <a:pt x="86" y="419"/>
                    <a:pt x="94" y="422"/>
                    <a:pt x="104" y="422"/>
                  </a:cubicBezTo>
                  <a:cubicBezTo>
                    <a:pt x="114" y="422"/>
                    <a:pt x="122" y="419"/>
                    <a:pt x="128" y="411"/>
                  </a:cubicBezTo>
                  <a:cubicBezTo>
                    <a:pt x="129" y="412"/>
                    <a:pt x="129" y="412"/>
                    <a:pt x="129" y="412"/>
                  </a:cubicBezTo>
                  <a:cubicBezTo>
                    <a:pt x="143" y="417"/>
                    <a:pt x="155" y="421"/>
                    <a:pt x="164" y="424"/>
                  </a:cubicBezTo>
                  <a:cubicBezTo>
                    <a:pt x="175" y="428"/>
                    <a:pt x="179" y="435"/>
                    <a:pt x="180" y="440"/>
                  </a:cubicBezTo>
                  <a:cubicBezTo>
                    <a:pt x="181" y="450"/>
                    <a:pt x="183" y="467"/>
                    <a:pt x="184" y="471"/>
                  </a:cubicBezTo>
                  <a:cubicBezTo>
                    <a:pt x="184" y="552"/>
                    <a:pt x="184" y="552"/>
                    <a:pt x="184" y="552"/>
                  </a:cubicBezTo>
                  <a:cubicBezTo>
                    <a:pt x="25" y="552"/>
                    <a:pt x="25" y="552"/>
                    <a:pt x="25" y="552"/>
                  </a:cubicBezTo>
                  <a:lnTo>
                    <a:pt x="25" y="471"/>
                  </a:lnTo>
                  <a:close/>
                  <a:moveTo>
                    <a:pt x="392" y="552"/>
                  </a:moveTo>
                  <a:cubicBezTo>
                    <a:pt x="392" y="471"/>
                    <a:pt x="392" y="471"/>
                    <a:pt x="392" y="471"/>
                  </a:cubicBezTo>
                  <a:cubicBezTo>
                    <a:pt x="393" y="467"/>
                    <a:pt x="395" y="450"/>
                    <a:pt x="396" y="440"/>
                  </a:cubicBezTo>
                  <a:cubicBezTo>
                    <a:pt x="397" y="435"/>
                    <a:pt x="401" y="428"/>
                    <a:pt x="412" y="424"/>
                  </a:cubicBezTo>
                  <a:cubicBezTo>
                    <a:pt x="421" y="421"/>
                    <a:pt x="433" y="417"/>
                    <a:pt x="447" y="412"/>
                  </a:cubicBezTo>
                  <a:cubicBezTo>
                    <a:pt x="448" y="411"/>
                    <a:pt x="448" y="411"/>
                    <a:pt x="448" y="411"/>
                  </a:cubicBezTo>
                  <a:cubicBezTo>
                    <a:pt x="454" y="419"/>
                    <a:pt x="462" y="422"/>
                    <a:pt x="472" y="422"/>
                  </a:cubicBezTo>
                  <a:cubicBezTo>
                    <a:pt x="482" y="422"/>
                    <a:pt x="490" y="419"/>
                    <a:pt x="496" y="411"/>
                  </a:cubicBezTo>
                  <a:cubicBezTo>
                    <a:pt x="496" y="412"/>
                    <a:pt x="496" y="412"/>
                    <a:pt x="496" y="412"/>
                  </a:cubicBezTo>
                  <a:cubicBezTo>
                    <a:pt x="511" y="417"/>
                    <a:pt x="523" y="421"/>
                    <a:pt x="532" y="424"/>
                  </a:cubicBezTo>
                  <a:cubicBezTo>
                    <a:pt x="542" y="428"/>
                    <a:pt x="547" y="435"/>
                    <a:pt x="547" y="440"/>
                  </a:cubicBezTo>
                  <a:cubicBezTo>
                    <a:pt x="548" y="450"/>
                    <a:pt x="551" y="467"/>
                    <a:pt x="551" y="471"/>
                  </a:cubicBezTo>
                  <a:cubicBezTo>
                    <a:pt x="551" y="552"/>
                    <a:pt x="551" y="552"/>
                    <a:pt x="551" y="552"/>
                  </a:cubicBezTo>
                  <a:lnTo>
                    <a:pt x="392" y="5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sp>
          <p:nvSpPr>
            <p:cNvPr id="58" name="Freeform 196">
              <a:extLst>
                <a:ext uri="{FF2B5EF4-FFF2-40B4-BE49-F238E27FC236}">
                  <a16:creationId xmlns:a16="http://schemas.microsoft.com/office/drawing/2014/main" id="{E123C18B-11A5-FBE9-2CEB-A6DA1A9777F8}"/>
                </a:ext>
              </a:extLst>
            </p:cNvPr>
            <p:cNvSpPr>
              <a:spLocks noEditPoints="1"/>
            </p:cNvSpPr>
            <p:nvPr/>
          </p:nvSpPr>
          <p:spPr bwMode="auto">
            <a:xfrm>
              <a:off x="4275138" y="601663"/>
              <a:ext cx="739775" cy="314325"/>
            </a:xfrm>
            <a:custGeom>
              <a:avLst/>
              <a:gdLst>
                <a:gd name="T0" fmla="*/ 44 w 455"/>
                <a:gd name="T1" fmla="*/ 192 h 192"/>
                <a:gd name="T2" fmla="*/ 74 w 455"/>
                <a:gd name="T3" fmla="*/ 95 h 192"/>
                <a:gd name="T4" fmla="*/ 60 w 455"/>
                <a:gd name="T5" fmla="*/ 57 h 192"/>
                <a:gd name="T6" fmla="*/ 111 w 455"/>
                <a:gd name="T7" fmla="*/ 28 h 192"/>
                <a:gd name="T8" fmla="*/ 135 w 455"/>
                <a:gd name="T9" fmla="*/ 39 h 192"/>
                <a:gd name="T10" fmla="*/ 160 w 455"/>
                <a:gd name="T11" fmla="*/ 28 h 192"/>
                <a:gd name="T12" fmla="*/ 211 w 455"/>
                <a:gd name="T13" fmla="*/ 57 h 192"/>
                <a:gd name="T14" fmla="*/ 197 w 455"/>
                <a:gd name="T15" fmla="*/ 95 h 192"/>
                <a:gd name="T16" fmla="*/ 227 w 455"/>
                <a:gd name="T17" fmla="*/ 192 h 192"/>
                <a:gd name="T18" fmla="*/ 269 w 455"/>
                <a:gd name="T19" fmla="*/ 133 h 192"/>
                <a:gd name="T20" fmla="*/ 240 w 455"/>
                <a:gd name="T21" fmla="*/ 84 h 192"/>
                <a:gd name="T22" fmla="*/ 259 w 455"/>
                <a:gd name="T23" fmla="*/ 40 h 192"/>
                <a:gd name="T24" fmla="*/ 295 w 455"/>
                <a:gd name="T25" fmla="*/ 28 h 192"/>
                <a:gd name="T26" fmla="*/ 343 w 455"/>
                <a:gd name="T27" fmla="*/ 28 h 192"/>
                <a:gd name="T28" fmla="*/ 379 w 455"/>
                <a:gd name="T29" fmla="*/ 40 h 192"/>
                <a:gd name="T30" fmla="*/ 398 w 455"/>
                <a:gd name="T31" fmla="*/ 84 h 192"/>
                <a:gd name="T32" fmla="*/ 369 w 455"/>
                <a:gd name="T33" fmla="*/ 133 h 192"/>
                <a:gd name="T34" fmla="*/ 411 w 455"/>
                <a:gd name="T35" fmla="*/ 192 h 192"/>
                <a:gd name="T36" fmla="*/ 441 w 455"/>
                <a:gd name="T37" fmla="*/ 95 h 192"/>
                <a:gd name="T38" fmla="*/ 419 w 455"/>
                <a:gd name="T39" fmla="*/ 54 h 192"/>
                <a:gd name="T40" fmla="*/ 351 w 455"/>
                <a:gd name="T41" fmla="*/ 5 h 192"/>
                <a:gd name="T42" fmla="*/ 324 w 455"/>
                <a:gd name="T43" fmla="*/ 12 h 192"/>
                <a:gd name="T44" fmla="*/ 314 w 455"/>
                <a:gd name="T45" fmla="*/ 12 h 192"/>
                <a:gd name="T46" fmla="*/ 287 w 455"/>
                <a:gd name="T47" fmla="*/ 5 h 192"/>
                <a:gd name="T48" fmla="*/ 227 w 455"/>
                <a:gd name="T49" fmla="*/ 34 h 192"/>
                <a:gd name="T50" fmla="*/ 167 w 455"/>
                <a:gd name="T51" fmla="*/ 5 h 192"/>
                <a:gd name="T52" fmla="*/ 140 w 455"/>
                <a:gd name="T53" fmla="*/ 12 h 192"/>
                <a:gd name="T54" fmla="*/ 130 w 455"/>
                <a:gd name="T55" fmla="*/ 12 h 192"/>
                <a:gd name="T56" fmla="*/ 103 w 455"/>
                <a:gd name="T57" fmla="*/ 5 h 192"/>
                <a:gd name="T58" fmla="*/ 35 w 455"/>
                <a:gd name="T59" fmla="*/ 54 h 192"/>
                <a:gd name="T60" fmla="*/ 13 w 455"/>
                <a:gd name="T61" fmla="*/ 95 h 192"/>
                <a:gd name="T62" fmla="*/ 43 w 455"/>
                <a:gd name="T63" fmla="*/ 192 h 192"/>
                <a:gd name="T64" fmla="*/ 411 w 455"/>
                <a:gd name="T65" fmla="*/ 167 h 192"/>
                <a:gd name="T66" fmla="*/ 393 w 455"/>
                <a:gd name="T67" fmla="*/ 131 h 192"/>
                <a:gd name="T68" fmla="*/ 411 w 455"/>
                <a:gd name="T69" fmla="*/ 106 h 192"/>
                <a:gd name="T70" fmla="*/ 423 w 455"/>
                <a:gd name="T71" fmla="*/ 112 h 192"/>
                <a:gd name="T72" fmla="*/ 245 w 455"/>
                <a:gd name="T73" fmla="*/ 131 h 192"/>
                <a:gd name="T74" fmla="*/ 227 w 455"/>
                <a:gd name="T75" fmla="*/ 167 h 192"/>
                <a:gd name="T76" fmla="*/ 215 w 455"/>
                <a:gd name="T77" fmla="*/ 112 h 192"/>
                <a:gd name="T78" fmla="*/ 227 w 455"/>
                <a:gd name="T79" fmla="*/ 106 h 192"/>
                <a:gd name="T80" fmla="*/ 245 w 455"/>
                <a:gd name="T81" fmla="*/ 131 h 192"/>
                <a:gd name="T82" fmla="*/ 43 w 455"/>
                <a:gd name="T83" fmla="*/ 106 h 192"/>
                <a:gd name="T84" fmla="*/ 56 w 455"/>
                <a:gd name="T85" fmla="*/ 112 h 192"/>
                <a:gd name="T86" fmla="*/ 44 w 455"/>
                <a:gd name="T87" fmla="*/ 167 h 192"/>
                <a:gd name="T88" fmla="*/ 26 w 455"/>
                <a:gd name="T89" fmla="*/ 131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55" h="192">
                  <a:moveTo>
                    <a:pt x="43" y="192"/>
                  </a:moveTo>
                  <a:cubicBezTo>
                    <a:pt x="44" y="192"/>
                    <a:pt x="44" y="192"/>
                    <a:pt x="44" y="192"/>
                  </a:cubicBezTo>
                  <a:cubicBezTo>
                    <a:pt x="62" y="192"/>
                    <a:pt x="83" y="174"/>
                    <a:pt x="86" y="133"/>
                  </a:cubicBezTo>
                  <a:cubicBezTo>
                    <a:pt x="87" y="114"/>
                    <a:pt x="80" y="102"/>
                    <a:pt x="74" y="95"/>
                  </a:cubicBezTo>
                  <a:cubicBezTo>
                    <a:pt x="68" y="89"/>
                    <a:pt x="62" y="86"/>
                    <a:pt x="56" y="84"/>
                  </a:cubicBezTo>
                  <a:cubicBezTo>
                    <a:pt x="57" y="77"/>
                    <a:pt x="59" y="65"/>
                    <a:pt x="60" y="57"/>
                  </a:cubicBezTo>
                  <a:cubicBezTo>
                    <a:pt x="60" y="52"/>
                    <a:pt x="65" y="44"/>
                    <a:pt x="75" y="40"/>
                  </a:cubicBezTo>
                  <a:cubicBezTo>
                    <a:pt x="87" y="36"/>
                    <a:pt x="103" y="31"/>
                    <a:pt x="111" y="28"/>
                  </a:cubicBezTo>
                  <a:cubicBezTo>
                    <a:pt x="111" y="28"/>
                    <a:pt x="111" y="28"/>
                    <a:pt x="111" y="28"/>
                  </a:cubicBezTo>
                  <a:cubicBezTo>
                    <a:pt x="117" y="35"/>
                    <a:pt x="125" y="39"/>
                    <a:pt x="135" y="39"/>
                  </a:cubicBezTo>
                  <a:cubicBezTo>
                    <a:pt x="145" y="39"/>
                    <a:pt x="153" y="35"/>
                    <a:pt x="159" y="28"/>
                  </a:cubicBezTo>
                  <a:cubicBezTo>
                    <a:pt x="160" y="28"/>
                    <a:pt x="160" y="28"/>
                    <a:pt x="160" y="28"/>
                  </a:cubicBezTo>
                  <a:cubicBezTo>
                    <a:pt x="167" y="31"/>
                    <a:pt x="183" y="36"/>
                    <a:pt x="195" y="40"/>
                  </a:cubicBezTo>
                  <a:cubicBezTo>
                    <a:pt x="206" y="44"/>
                    <a:pt x="210" y="52"/>
                    <a:pt x="211" y="57"/>
                  </a:cubicBezTo>
                  <a:cubicBezTo>
                    <a:pt x="211" y="65"/>
                    <a:pt x="213" y="77"/>
                    <a:pt x="214" y="84"/>
                  </a:cubicBezTo>
                  <a:cubicBezTo>
                    <a:pt x="208" y="86"/>
                    <a:pt x="202" y="90"/>
                    <a:pt x="197" y="95"/>
                  </a:cubicBezTo>
                  <a:cubicBezTo>
                    <a:pt x="191" y="102"/>
                    <a:pt x="184" y="114"/>
                    <a:pt x="185" y="133"/>
                  </a:cubicBezTo>
                  <a:cubicBezTo>
                    <a:pt x="188" y="174"/>
                    <a:pt x="208" y="192"/>
                    <a:pt x="227" y="192"/>
                  </a:cubicBezTo>
                  <a:cubicBezTo>
                    <a:pt x="227" y="192"/>
                    <a:pt x="227" y="192"/>
                    <a:pt x="227" y="192"/>
                  </a:cubicBezTo>
                  <a:cubicBezTo>
                    <a:pt x="246" y="192"/>
                    <a:pt x="266" y="174"/>
                    <a:pt x="269" y="133"/>
                  </a:cubicBezTo>
                  <a:cubicBezTo>
                    <a:pt x="271" y="114"/>
                    <a:pt x="264" y="102"/>
                    <a:pt x="257" y="95"/>
                  </a:cubicBezTo>
                  <a:cubicBezTo>
                    <a:pt x="252" y="89"/>
                    <a:pt x="246" y="86"/>
                    <a:pt x="240" y="84"/>
                  </a:cubicBezTo>
                  <a:cubicBezTo>
                    <a:pt x="241" y="77"/>
                    <a:pt x="243" y="65"/>
                    <a:pt x="243" y="57"/>
                  </a:cubicBezTo>
                  <a:cubicBezTo>
                    <a:pt x="244" y="52"/>
                    <a:pt x="248" y="44"/>
                    <a:pt x="259" y="40"/>
                  </a:cubicBezTo>
                  <a:cubicBezTo>
                    <a:pt x="271" y="36"/>
                    <a:pt x="287" y="31"/>
                    <a:pt x="295" y="28"/>
                  </a:cubicBezTo>
                  <a:cubicBezTo>
                    <a:pt x="295" y="28"/>
                    <a:pt x="295" y="28"/>
                    <a:pt x="295" y="28"/>
                  </a:cubicBezTo>
                  <a:cubicBezTo>
                    <a:pt x="301" y="35"/>
                    <a:pt x="309" y="39"/>
                    <a:pt x="319" y="39"/>
                  </a:cubicBezTo>
                  <a:cubicBezTo>
                    <a:pt x="329" y="39"/>
                    <a:pt x="337" y="35"/>
                    <a:pt x="343" y="28"/>
                  </a:cubicBezTo>
                  <a:cubicBezTo>
                    <a:pt x="343" y="28"/>
                    <a:pt x="343" y="28"/>
                    <a:pt x="343" y="28"/>
                  </a:cubicBezTo>
                  <a:cubicBezTo>
                    <a:pt x="351" y="31"/>
                    <a:pt x="367" y="36"/>
                    <a:pt x="379" y="40"/>
                  </a:cubicBezTo>
                  <a:cubicBezTo>
                    <a:pt x="389" y="44"/>
                    <a:pt x="394" y="52"/>
                    <a:pt x="394" y="57"/>
                  </a:cubicBezTo>
                  <a:cubicBezTo>
                    <a:pt x="395" y="65"/>
                    <a:pt x="397" y="77"/>
                    <a:pt x="398" y="84"/>
                  </a:cubicBezTo>
                  <a:cubicBezTo>
                    <a:pt x="392" y="86"/>
                    <a:pt x="386" y="90"/>
                    <a:pt x="381" y="95"/>
                  </a:cubicBezTo>
                  <a:cubicBezTo>
                    <a:pt x="375" y="102"/>
                    <a:pt x="367" y="114"/>
                    <a:pt x="369" y="133"/>
                  </a:cubicBezTo>
                  <a:cubicBezTo>
                    <a:pt x="372" y="174"/>
                    <a:pt x="392" y="192"/>
                    <a:pt x="411" y="192"/>
                  </a:cubicBezTo>
                  <a:cubicBezTo>
                    <a:pt x="411" y="192"/>
                    <a:pt x="411" y="192"/>
                    <a:pt x="411" y="192"/>
                  </a:cubicBezTo>
                  <a:cubicBezTo>
                    <a:pt x="430" y="192"/>
                    <a:pt x="450" y="174"/>
                    <a:pt x="453" y="133"/>
                  </a:cubicBezTo>
                  <a:cubicBezTo>
                    <a:pt x="455" y="114"/>
                    <a:pt x="448" y="102"/>
                    <a:pt x="441" y="95"/>
                  </a:cubicBezTo>
                  <a:cubicBezTo>
                    <a:pt x="436" y="89"/>
                    <a:pt x="429" y="85"/>
                    <a:pt x="423" y="83"/>
                  </a:cubicBezTo>
                  <a:cubicBezTo>
                    <a:pt x="422" y="79"/>
                    <a:pt x="420" y="63"/>
                    <a:pt x="419" y="54"/>
                  </a:cubicBezTo>
                  <a:cubicBezTo>
                    <a:pt x="417" y="38"/>
                    <a:pt x="405" y="24"/>
                    <a:pt x="387" y="17"/>
                  </a:cubicBezTo>
                  <a:cubicBezTo>
                    <a:pt x="375" y="13"/>
                    <a:pt x="359" y="8"/>
                    <a:pt x="351" y="5"/>
                  </a:cubicBezTo>
                  <a:cubicBezTo>
                    <a:pt x="350" y="5"/>
                    <a:pt x="350" y="5"/>
                    <a:pt x="350" y="5"/>
                  </a:cubicBezTo>
                  <a:cubicBezTo>
                    <a:pt x="336" y="0"/>
                    <a:pt x="328" y="6"/>
                    <a:pt x="324" y="12"/>
                  </a:cubicBezTo>
                  <a:cubicBezTo>
                    <a:pt x="323" y="14"/>
                    <a:pt x="322" y="14"/>
                    <a:pt x="319" y="14"/>
                  </a:cubicBezTo>
                  <a:cubicBezTo>
                    <a:pt x="316" y="14"/>
                    <a:pt x="315" y="14"/>
                    <a:pt x="314" y="12"/>
                  </a:cubicBezTo>
                  <a:cubicBezTo>
                    <a:pt x="310" y="6"/>
                    <a:pt x="302" y="0"/>
                    <a:pt x="287" y="5"/>
                  </a:cubicBezTo>
                  <a:cubicBezTo>
                    <a:pt x="287" y="5"/>
                    <a:pt x="287" y="5"/>
                    <a:pt x="287" y="5"/>
                  </a:cubicBezTo>
                  <a:cubicBezTo>
                    <a:pt x="279" y="8"/>
                    <a:pt x="263" y="13"/>
                    <a:pt x="251" y="17"/>
                  </a:cubicBezTo>
                  <a:cubicBezTo>
                    <a:pt x="241" y="21"/>
                    <a:pt x="233" y="27"/>
                    <a:pt x="227" y="34"/>
                  </a:cubicBezTo>
                  <a:cubicBezTo>
                    <a:pt x="221" y="27"/>
                    <a:pt x="213" y="21"/>
                    <a:pt x="203" y="17"/>
                  </a:cubicBezTo>
                  <a:cubicBezTo>
                    <a:pt x="191" y="13"/>
                    <a:pt x="175" y="8"/>
                    <a:pt x="167" y="5"/>
                  </a:cubicBezTo>
                  <a:cubicBezTo>
                    <a:pt x="167" y="5"/>
                    <a:pt x="167" y="5"/>
                    <a:pt x="167" y="5"/>
                  </a:cubicBezTo>
                  <a:cubicBezTo>
                    <a:pt x="152" y="0"/>
                    <a:pt x="144" y="6"/>
                    <a:pt x="140" y="12"/>
                  </a:cubicBezTo>
                  <a:cubicBezTo>
                    <a:pt x="139" y="14"/>
                    <a:pt x="138" y="14"/>
                    <a:pt x="135" y="14"/>
                  </a:cubicBezTo>
                  <a:cubicBezTo>
                    <a:pt x="132" y="14"/>
                    <a:pt x="131" y="14"/>
                    <a:pt x="130" y="12"/>
                  </a:cubicBezTo>
                  <a:cubicBezTo>
                    <a:pt x="126" y="6"/>
                    <a:pt x="118" y="0"/>
                    <a:pt x="104" y="5"/>
                  </a:cubicBezTo>
                  <a:cubicBezTo>
                    <a:pt x="103" y="5"/>
                    <a:pt x="103" y="5"/>
                    <a:pt x="103" y="5"/>
                  </a:cubicBezTo>
                  <a:cubicBezTo>
                    <a:pt x="95" y="8"/>
                    <a:pt x="79" y="13"/>
                    <a:pt x="67" y="17"/>
                  </a:cubicBezTo>
                  <a:cubicBezTo>
                    <a:pt x="49" y="24"/>
                    <a:pt x="37" y="38"/>
                    <a:pt x="35" y="54"/>
                  </a:cubicBezTo>
                  <a:cubicBezTo>
                    <a:pt x="34" y="63"/>
                    <a:pt x="32" y="79"/>
                    <a:pt x="31" y="83"/>
                  </a:cubicBezTo>
                  <a:cubicBezTo>
                    <a:pt x="25" y="86"/>
                    <a:pt x="19" y="89"/>
                    <a:pt x="13" y="95"/>
                  </a:cubicBezTo>
                  <a:cubicBezTo>
                    <a:pt x="7" y="102"/>
                    <a:pt x="0" y="114"/>
                    <a:pt x="1" y="133"/>
                  </a:cubicBezTo>
                  <a:cubicBezTo>
                    <a:pt x="4" y="174"/>
                    <a:pt x="24" y="192"/>
                    <a:pt x="43" y="192"/>
                  </a:cubicBezTo>
                  <a:close/>
                  <a:moveTo>
                    <a:pt x="429" y="131"/>
                  </a:moveTo>
                  <a:cubicBezTo>
                    <a:pt x="427" y="156"/>
                    <a:pt x="417" y="167"/>
                    <a:pt x="411" y="167"/>
                  </a:cubicBezTo>
                  <a:cubicBezTo>
                    <a:pt x="411" y="167"/>
                    <a:pt x="411" y="167"/>
                    <a:pt x="411" y="167"/>
                  </a:cubicBezTo>
                  <a:cubicBezTo>
                    <a:pt x="405" y="167"/>
                    <a:pt x="395" y="156"/>
                    <a:pt x="393" y="131"/>
                  </a:cubicBezTo>
                  <a:cubicBezTo>
                    <a:pt x="393" y="123"/>
                    <a:pt x="395" y="116"/>
                    <a:pt x="399" y="112"/>
                  </a:cubicBezTo>
                  <a:cubicBezTo>
                    <a:pt x="403" y="107"/>
                    <a:pt x="409" y="106"/>
                    <a:pt x="411" y="106"/>
                  </a:cubicBezTo>
                  <a:cubicBezTo>
                    <a:pt x="411" y="106"/>
                    <a:pt x="411" y="106"/>
                    <a:pt x="411" y="106"/>
                  </a:cubicBezTo>
                  <a:cubicBezTo>
                    <a:pt x="413" y="106"/>
                    <a:pt x="419" y="107"/>
                    <a:pt x="423" y="112"/>
                  </a:cubicBezTo>
                  <a:cubicBezTo>
                    <a:pt x="428" y="116"/>
                    <a:pt x="429" y="123"/>
                    <a:pt x="429" y="131"/>
                  </a:cubicBezTo>
                  <a:close/>
                  <a:moveTo>
                    <a:pt x="245" y="131"/>
                  </a:moveTo>
                  <a:cubicBezTo>
                    <a:pt x="243" y="156"/>
                    <a:pt x="234" y="167"/>
                    <a:pt x="227" y="167"/>
                  </a:cubicBezTo>
                  <a:cubicBezTo>
                    <a:pt x="227" y="167"/>
                    <a:pt x="227" y="167"/>
                    <a:pt x="227" y="167"/>
                  </a:cubicBezTo>
                  <a:cubicBezTo>
                    <a:pt x="221" y="167"/>
                    <a:pt x="211" y="156"/>
                    <a:pt x="210" y="131"/>
                  </a:cubicBezTo>
                  <a:cubicBezTo>
                    <a:pt x="209" y="123"/>
                    <a:pt x="211" y="116"/>
                    <a:pt x="215" y="112"/>
                  </a:cubicBezTo>
                  <a:cubicBezTo>
                    <a:pt x="219" y="107"/>
                    <a:pt x="225" y="106"/>
                    <a:pt x="227" y="106"/>
                  </a:cubicBezTo>
                  <a:cubicBezTo>
                    <a:pt x="227" y="106"/>
                    <a:pt x="227" y="106"/>
                    <a:pt x="227" y="106"/>
                  </a:cubicBezTo>
                  <a:cubicBezTo>
                    <a:pt x="229" y="106"/>
                    <a:pt x="235" y="107"/>
                    <a:pt x="239" y="112"/>
                  </a:cubicBezTo>
                  <a:cubicBezTo>
                    <a:pt x="244" y="116"/>
                    <a:pt x="245" y="123"/>
                    <a:pt x="245" y="131"/>
                  </a:cubicBezTo>
                  <a:close/>
                  <a:moveTo>
                    <a:pt x="31" y="112"/>
                  </a:moveTo>
                  <a:cubicBezTo>
                    <a:pt x="35" y="107"/>
                    <a:pt x="41" y="106"/>
                    <a:pt x="43" y="106"/>
                  </a:cubicBezTo>
                  <a:cubicBezTo>
                    <a:pt x="44" y="106"/>
                    <a:pt x="44" y="106"/>
                    <a:pt x="44" y="106"/>
                  </a:cubicBezTo>
                  <a:cubicBezTo>
                    <a:pt x="46" y="106"/>
                    <a:pt x="51" y="107"/>
                    <a:pt x="56" y="112"/>
                  </a:cubicBezTo>
                  <a:cubicBezTo>
                    <a:pt x="60" y="116"/>
                    <a:pt x="62" y="123"/>
                    <a:pt x="61" y="131"/>
                  </a:cubicBezTo>
                  <a:cubicBezTo>
                    <a:pt x="59" y="156"/>
                    <a:pt x="50" y="167"/>
                    <a:pt x="44" y="167"/>
                  </a:cubicBezTo>
                  <a:cubicBezTo>
                    <a:pt x="43" y="167"/>
                    <a:pt x="43" y="167"/>
                    <a:pt x="43" y="167"/>
                  </a:cubicBezTo>
                  <a:cubicBezTo>
                    <a:pt x="37" y="167"/>
                    <a:pt x="27" y="156"/>
                    <a:pt x="26" y="131"/>
                  </a:cubicBezTo>
                  <a:cubicBezTo>
                    <a:pt x="25" y="123"/>
                    <a:pt x="27" y="116"/>
                    <a:pt x="31"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sp>
          <p:nvSpPr>
            <p:cNvPr id="59" name="Freeform 197">
              <a:extLst>
                <a:ext uri="{FF2B5EF4-FFF2-40B4-BE49-F238E27FC236}">
                  <a16:creationId xmlns:a16="http://schemas.microsoft.com/office/drawing/2014/main" id="{C42D6A59-2D50-55EE-6D5A-B658D3D5561D}"/>
                </a:ext>
              </a:extLst>
            </p:cNvPr>
            <p:cNvSpPr>
              <a:spLocks noEditPoints="1"/>
            </p:cNvSpPr>
            <p:nvPr/>
          </p:nvSpPr>
          <p:spPr bwMode="auto">
            <a:xfrm>
              <a:off x="4424363" y="428625"/>
              <a:ext cx="141288" cy="179388"/>
            </a:xfrm>
            <a:custGeom>
              <a:avLst/>
              <a:gdLst>
                <a:gd name="T0" fmla="*/ 43 w 87"/>
                <a:gd name="T1" fmla="*/ 110 h 110"/>
                <a:gd name="T2" fmla="*/ 44 w 87"/>
                <a:gd name="T3" fmla="*/ 110 h 110"/>
                <a:gd name="T4" fmla="*/ 85 w 87"/>
                <a:gd name="T5" fmla="*/ 52 h 110"/>
                <a:gd name="T6" fmla="*/ 74 w 87"/>
                <a:gd name="T7" fmla="*/ 14 h 110"/>
                <a:gd name="T8" fmla="*/ 44 w 87"/>
                <a:gd name="T9" fmla="*/ 0 h 110"/>
                <a:gd name="T10" fmla="*/ 43 w 87"/>
                <a:gd name="T11" fmla="*/ 0 h 110"/>
                <a:gd name="T12" fmla="*/ 13 w 87"/>
                <a:gd name="T13" fmla="*/ 14 h 110"/>
                <a:gd name="T14" fmla="*/ 1 w 87"/>
                <a:gd name="T15" fmla="*/ 52 h 110"/>
                <a:gd name="T16" fmla="*/ 43 w 87"/>
                <a:gd name="T17" fmla="*/ 110 h 110"/>
                <a:gd name="T18" fmla="*/ 31 w 87"/>
                <a:gd name="T19" fmla="*/ 30 h 110"/>
                <a:gd name="T20" fmla="*/ 43 w 87"/>
                <a:gd name="T21" fmla="*/ 24 h 110"/>
                <a:gd name="T22" fmla="*/ 44 w 87"/>
                <a:gd name="T23" fmla="*/ 24 h 110"/>
                <a:gd name="T24" fmla="*/ 56 w 87"/>
                <a:gd name="T25" fmla="*/ 30 h 110"/>
                <a:gd name="T26" fmla="*/ 61 w 87"/>
                <a:gd name="T27" fmla="*/ 50 h 110"/>
                <a:gd name="T28" fmla="*/ 44 w 87"/>
                <a:gd name="T29" fmla="*/ 85 h 110"/>
                <a:gd name="T30" fmla="*/ 43 w 87"/>
                <a:gd name="T31" fmla="*/ 85 h 110"/>
                <a:gd name="T32" fmla="*/ 26 w 87"/>
                <a:gd name="T33" fmla="*/ 50 h 110"/>
                <a:gd name="T34" fmla="*/ 31 w 87"/>
                <a:gd name="T35" fmla="*/ 3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110">
                  <a:moveTo>
                    <a:pt x="43" y="110"/>
                  </a:moveTo>
                  <a:cubicBezTo>
                    <a:pt x="44" y="110"/>
                    <a:pt x="44" y="110"/>
                    <a:pt x="44" y="110"/>
                  </a:cubicBezTo>
                  <a:cubicBezTo>
                    <a:pt x="62" y="110"/>
                    <a:pt x="83" y="92"/>
                    <a:pt x="85" y="52"/>
                  </a:cubicBezTo>
                  <a:cubicBezTo>
                    <a:pt x="87" y="32"/>
                    <a:pt x="80" y="20"/>
                    <a:pt x="74" y="14"/>
                  </a:cubicBezTo>
                  <a:cubicBezTo>
                    <a:pt x="64" y="3"/>
                    <a:pt x="51" y="0"/>
                    <a:pt x="44" y="0"/>
                  </a:cubicBezTo>
                  <a:cubicBezTo>
                    <a:pt x="43" y="0"/>
                    <a:pt x="43" y="0"/>
                    <a:pt x="43" y="0"/>
                  </a:cubicBezTo>
                  <a:cubicBezTo>
                    <a:pt x="35" y="0"/>
                    <a:pt x="23" y="3"/>
                    <a:pt x="13" y="14"/>
                  </a:cubicBezTo>
                  <a:cubicBezTo>
                    <a:pt x="7" y="20"/>
                    <a:pt x="0" y="32"/>
                    <a:pt x="1" y="52"/>
                  </a:cubicBezTo>
                  <a:cubicBezTo>
                    <a:pt x="4" y="92"/>
                    <a:pt x="24" y="110"/>
                    <a:pt x="43" y="110"/>
                  </a:cubicBezTo>
                  <a:close/>
                  <a:moveTo>
                    <a:pt x="31" y="30"/>
                  </a:moveTo>
                  <a:cubicBezTo>
                    <a:pt x="35" y="26"/>
                    <a:pt x="41" y="24"/>
                    <a:pt x="43" y="24"/>
                  </a:cubicBezTo>
                  <a:cubicBezTo>
                    <a:pt x="44" y="24"/>
                    <a:pt x="44" y="24"/>
                    <a:pt x="44" y="24"/>
                  </a:cubicBezTo>
                  <a:cubicBezTo>
                    <a:pt x="45" y="24"/>
                    <a:pt x="51" y="26"/>
                    <a:pt x="56" y="30"/>
                  </a:cubicBezTo>
                  <a:cubicBezTo>
                    <a:pt x="60" y="35"/>
                    <a:pt x="62" y="41"/>
                    <a:pt x="61" y="50"/>
                  </a:cubicBezTo>
                  <a:cubicBezTo>
                    <a:pt x="59" y="74"/>
                    <a:pt x="50" y="85"/>
                    <a:pt x="44" y="85"/>
                  </a:cubicBezTo>
                  <a:cubicBezTo>
                    <a:pt x="43" y="85"/>
                    <a:pt x="43" y="85"/>
                    <a:pt x="43" y="85"/>
                  </a:cubicBezTo>
                  <a:cubicBezTo>
                    <a:pt x="37" y="85"/>
                    <a:pt x="27" y="74"/>
                    <a:pt x="26" y="50"/>
                  </a:cubicBezTo>
                  <a:cubicBezTo>
                    <a:pt x="25" y="41"/>
                    <a:pt x="27" y="35"/>
                    <a:pt x="31"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sp>
          <p:nvSpPr>
            <p:cNvPr id="61" name="Freeform 198">
              <a:extLst>
                <a:ext uri="{FF2B5EF4-FFF2-40B4-BE49-F238E27FC236}">
                  <a16:creationId xmlns:a16="http://schemas.microsoft.com/office/drawing/2014/main" id="{EF278BF5-D48B-2468-4416-6E20AB8DA499}"/>
                </a:ext>
              </a:extLst>
            </p:cNvPr>
            <p:cNvSpPr>
              <a:spLocks noEditPoints="1"/>
            </p:cNvSpPr>
            <p:nvPr/>
          </p:nvSpPr>
          <p:spPr bwMode="auto">
            <a:xfrm>
              <a:off x="4724400" y="428625"/>
              <a:ext cx="141288" cy="179388"/>
            </a:xfrm>
            <a:custGeom>
              <a:avLst/>
              <a:gdLst>
                <a:gd name="T0" fmla="*/ 43 w 87"/>
                <a:gd name="T1" fmla="*/ 110 h 110"/>
                <a:gd name="T2" fmla="*/ 43 w 87"/>
                <a:gd name="T3" fmla="*/ 110 h 110"/>
                <a:gd name="T4" fmla="*/ 85 w 87"/>
                <a:gd name="T5" fmla="*/ 52 h 110"/>
                <a:gd name="T6" fmla="*/ 73 w 87"/>
                <a:gd name="T7" fmla="*/ 14 h 110"/>
                <a:gd name="T8" fmla="*/ 43 w 87"/>
                <a:gd name="T9" fmla="*/ 0 h 110"/>
                <a:gd name="T10" fmla="*/ 43 w 87"/>
                <a:gd name="T11" fmla="*/ 0 h 110"/>
                <a:gd name="T12" fmla="*/ 13 w 87"/>
                <a:gd name="T13" fmla="*/ 14 h 110"/>
                <a:gd name="T14" fmla="*/ 1 w 87"/>
                <a:gd name="T15" fmla="*/ 52 h 110"/>
                <a:gd name="T16" fmla="*/ 43 w 87"/>
                <a:gd name="T17" fmla="*/ 110 h 110"/>
                <a:gd name="T18" fmla="*/ 31 w 87"/>
                <a:gd name="T19" fmla="*/ 30 h 110"/>
                <a:gd name="T20" fmla="*/ 43 w 87"/>
                <a:gd name="T21" fmla="*/ 24 h 110"/>
                <a:gd name="T22" fmla="*/ 43 w 87"/>
                <a:gd name="T23" fmla="*/ 24 h 110"/>
                <a:gd name="T24" fmla="*/ 55 w 87"/>
                <a:gd name="T25" fmla="*/ 30 h 110"/>
                <a:gd name="T26" fmla="*/ 61 w 87"/>
                <a:gd name="T27" fmla="*/ 50 h 110"/>
                <a:gd name="T28" fmla="*/ 43 w 87"/>
                <a:gd name="T29" fmla="*/ 85 h 110"/>
                <a:gd name="T30" fmla="*/ 43 w 87"/>
                <a:gd name="T31" fmla="*/ 85 h 110"/>
                <a:gd name="T32" fmla="*/ 25 w 87"/>
                <a:gd name="T33" fmla="*/ 50 h 110"/>
                <a:gd name="T34" fmla="*/ 31 w 87"/>
                <a:gd name="T35" fmla="*/ 3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110">
                  <a:moveTo>
                    <a:pt x="43" y="110"/>
                  </a:moveTo>
                  <a:cubicBezTo>
                    <a:pt x="43" y="110"/>
                    <a:pt x="43" y="110"/>
                    <a:pt x="43" y="110"/>
                  </a:cubicBezTo>
                  <a:cubicBezTo>
                    <a:pt x="62" y="110"/>
                    <a:pt x="82" y="92"/>
                    <a:pt x="85" y="52"/>
                  </a:cubicBezTo>
                  <a:cubicBezTo>
                    <a:pt x="87" y="32"/>
                    <a:pt x="80" y="20"/>
                    <a:pt x="73" y="14"/>
                  </a:cubicBezTo>
                  <a:cubicBezTo>
                    <a:pt x="64" y="3"/>
                    <a:pt x="51" y="0"/>
                    <a:pt x="43" y="0"/>
                  </a:cubicBezTo>
                  <a:cubicBezTo>
                    <a:pt x="43" y="0"/>
                    <a:pt x="43" y="0"/>
                    <a:pt x="43" y="0"/>
                  </a:cubicBezTo>
                  <a:cubicBezTo>
                    <a:pt x="35" y="0"/>
                    <a:pt x="22" y="3"/>
                    <a:pt x="13" y="14"/>
                  </a:cubicBezTo>
                  <a:cubicBezTo>
                    <a:pt x="7" y="20"/>
                    <a:pt x="0" y="32"/>
                    <a:pt x="1" y="52"/>
                  </a:cubicBezTo>
                  <a:cubicBezTo>
                    <a:pt x="4" y="92"/>
                    <a:pt x="24" y="110"/>
                    <a:pt x="43" y="110"/>
                  </a:cubicBezTo>
                  <a:close/>
                  <a:moveTo>
                    <a:pt x="31" y="30"/>
                  </a:moveTo>
                  <a:cubicBezTo>
                    <a:pt x="35" y="26"/>
                    <a:pt x="41" y="24"/>
                    <a:pt x="43" y="24"/>
                  </a:cubicBezTo>
                  <a:cubicBezTo>
                    <a:pt x="43" y="24"/>
                    <a:pt x="43" y="24"/>
                    <a:pt x="43" y="24"/>
                  </a:cubicBezTo>
                  <a:cubicBezTo>
                    <a:pt x="45" y="24"/>
                    <a:pt x="51" y="26"/>
                    <a:pt x="55" y="30"/>
                  </a:cubicBezTo>
                  <a:cubicBezTo>
                    <a:pt x="60" y="35"/>
                    <a:pt x="61" y="41"/>
                    <a:pt x="61" y="50"/>
                  </a:cubicBezTo>
                  <a:cubicBezTo>
                    <a:pt x="59" y="74"/>
                    <a:pt x="50" y="85"/>
                    <a:pt x="43" y="85"/>
                  </a:cubicBezTo>
                  <a:cubicBezTo>
                    <a:pt x="43" y="85"/>
                    <a:pt x="43" y="85"/>
                    <a:pt x="43" y="85"/>
                  </a:cubicBezTo>
                  <a:cubicBezTo>
                    <a:pt x="37" y="85"/>
                    <a:pt x="27" y="74"/>
                    <a:pt x="25" y="50"/>
                  </a:cubicBezTo>
                  <a:cubicBezTo>
                    <a:pt x="25" y="41"/>
                    <a:pt x="27" y="35"/>
                    <a:pt x="31"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grpSp>
      <p:sp>
        <p:nvSpPr>
          <p:cNvPr id="63" name="Freeform 25">
            <a:extLst>
              <a:ext uri="{FF2B5EF4-FFF2-40B4-BE49-F238E27FC236}">
                <a16:creationId xmlns:a16="http://schemas.microsoft.com/office/drawing/2014/main" id="{7A9FBF47-9CAF-9819-001D-5C5B8D7E4B87}"/>
              </a:ext>
            </a:extLst>
          </p:cNvPr>
          <p:cNvSpPr>
            <a:spLocks noChangeAspect="1" noEditPoints="1"/>
          </p:cNvSpPr>
          <p:nvPr/>
        </p:nvSpPr>
        <p:spPr bwMode="auto">
          <a:xfrm>
            <a:off x="8441048" y="3751933"/>
            <a:ext cx="409126" cy="408096"/>
          </a:xfrm>
          <a:custGeom>
            <a:avLst/>
            <a:gdLst>
              <a:gd name="T0" fmla="*/ 0 w 347"/>
              <a:gd name="T1" fmla="*/ 0 h 346"/>
              <a:gd name="T2" fmla="*/ 0 w 347"/>
              <a:gd name="T3" fmla="*/ 346 h 346"/>
              <a:gd name="T4" fmla="*/ 347 w 347"/>
              <a:gd name="T5" fmla="*/ 346 h 346"/>
              <a:gd name="T6" fmla="*/ 347 w 347"/>
              <a:gd name="T7" fmla="*/ 0 h 346"/>
              <a:gd name="T8" fmla="*/ 0 w 347"/>
              <a:gd name="T9" fmla="*/ 0 h 346"/>
              <a:gd name="T10" fmla="*/ 332 w 347"/>
              <a:gd name="T11" fmla="*/ 332 h 346"/>
              <a:gd name="T12" fmla="*/ 15 w 347"/>
              <a:gd name="T13" fmla="*/ 332 h 346"/>
              <a:gd name="T14" fmla="*/ 15 w 347"/>
              <a:gd name="T15" fmla="*/ 15 h 346"/>
              <a:gd name="T16" fmla="*/ 332 w 347"/>
              <a:gd name="T17" fmla="*/ 15 h 346"/>
              <a:gd name="T18" fmla="*/ 332 w 347"/>
              <a:gd name="T19" fmla="*/ 332 h 346"/>
              <a:gd name="T20" fmla="*/ 48 w 347"/>
              <a:gd name="T21" fmla="*/ 309 h 346"/>
              <a:gd name="T22" fmla="*/ 133 w 347"/>
              <a:gd name="T23" fmla="*/ 224 h 346"/>
              <a:gd name="T24" fmla="*/ 204 w 347"/>
              <a:gd name="T25" fmla="*/ 250 h 346"/>
              <a:gd name="T26" fmla="*/ 280 w 347"/>
              <a:gd name="T27" fmla="*/ 219 h 346"/>
              <a:gd name="T28" fmla="*/ 280 w 347"/>
              <a:gd name="T29" fmla="*/ 67 h 346"/>
              <a:gd name="T30" fmla="*/ 204 w 347"/>
              <a:gd name="T31" fmla="*/ 35 h 346"/>
              <a:gd name="T32" fmla="*/ 128 w 347"/>
              <a:gd name="T33" fmla="*/ 67 h 346"/>
              <a:gd name="T34" fmla="*/ 123 w 347"/>
              <a:gd name="T35" fmla="*/ 214 h 346"/>
              <a:gd name="T36" fmla="*/ 37 w 347"/>
              <a:gd name="T37" fmla="*/ 299 h 346"/>
              <a:gd name="T38" fmla="*/ 48 w 347"/>
              <a:gd name="T39" fmla="*/ 309 h 346"/>
              <a:gd name="T40" fmla="*/ 270 w 347"/>
              <a:gd name="T41" fmla="*/ 208 h 346"/>
              <a:gd name="T42" fmla="*/ 204 w 347"/>
              <a:gd name="T43" fmla="*/ 236 h 346"/>
              <a:gd name="T44" fmla="*/ 138 w 347"/>
              <a:gd name="T45" fmla="*/ 208 h 346"/>
              <a:gd name="T46" fmla="*/ 126 w 347"/>
              <a:gd name="T47" fmla="*/ 193 h 346"/>
              <a:gd name="T48" fmla="*/ 139 w 347"/>
              <a:gd name="T49" fmla="*/ 193 h 346"/>
              <a:gd name="T50" fmla="*/ 178 w 347"/>
              <a:gd name="T51" fmla="*/ 193 h 346"/>
              <a:gd name="T52" fmla="*/ 193 w 347"/>
              <a:gd name="T53" fmla="*/ 193 h 346"/>
              <a:gd name="T54" fmla="*/ 217 w 347"/>
              <a:gd name="T55" fmla="*/ 193 h 346"/>
              <a:gd name="T56" fmla="*/ 231 w 347"/>
              <a:gd name="T57" fmla="*/ 193 h 346"/>
              <a:gd name="T58" fmla="*/ 270 w 347"/>
              <a:gd name="T59" fmla="*/ 193 h 346"/>
              <a:gd name="T60" fmla="*/ 282 w 347"/>
              <a:gd name="T61" fmla="*/ 193 h 346"/>
              <a:gd name="T62" fmla="*/ 270 w 347"/>
              <a:gd name="T63" fmla="*/ 208 h 346"/>
              <a:gd name="T64" fmla="*/ 193 w 347"/>
              <a:gd name="T65" fmla="*/ 112 h 346"/>
              <a:gd name="T66" fmla="*/ 193 w 347"/>
              <a:gd name="T67" fmla="*/ 97 h 346"/>
              <a:gd name="T68" fmla="*/ 217 w 347"/>
              <a:gd name="T69" fmla="*/ 97 h 346"/>
              <a:gd name="T70" fmla="*/ 217 w 347"/>
              <a:gd name="T71" fmla="*/ 132 h 346"/>
              <a:gd name="T72" fmla="*/ 217 w 347"/>
              <a:gd name="T73" fmla="*/ 179 h 346"/>
              <a:gd name="T74" fmla="*/ 193 w 347"/>
              <a:gd name="T75" fmla="*/ 179 h 346"/>
              <a:gd name="T76" fmla="*/ 193 w 347"/>
              <a:gd name="T77" fmla="*/ 112 h 346"/>
              <a:gd name="T78" fmla="*/ 255 w 347"/>
              <a:gd name="T79" fmla="*/ 179 h 346"/>
              <a:gd name="T80" fmla="*/ 231 w 347"/>
              <a:gd name="T81" fmla="*/ 179 h 346"/>
              <a:gd name="T82" fmla="*/ 231 w 347"/>
              <a:gd name="T83" fmla="*/ 147 h 346"/>
              <a:gd name="T84" fmla="*/ 255 w 347"/>
              <a:gd name="T85" fmla="*/ 147 h 346"/>
              <a:gd name="T86" fmla="*/ 255 w 347"/>
              <a:gd name="T87" fmla="*/ 179 h 346"/>
              <a:gd name="T88" fmla="*/ 178 w 347"/>
              <a:gd name="T89" fmla="*/ 179 h 346"/>
              <a:gd name="T90" fmla="*/ 154 w 347"/>
              <a:gd name="T91" fmla="*/ 179 h 346"/>
              <a:gd name="T92" fmla="*/ 154 w 347"/>
              <a:gd name="T93" fmla="*/ 127 h 346"/>
              <a:gd name="T94" fmla="*/ 178 w 347"/>
              <a:gd name="T95" fmla="*/ 127 h 346"/>
              <a:gd name="T96" fmla="*/ 178 w 347"/>
              <a:gd name="T97" fmla="*/ 179 h 346"/>
              <a:gd name="T98" fmla="*/ 138 w 347"/>
              <a:gd name="T99" fmla="*/ 77 h 346"/>
              <a:gd name="T100" fmla="*/ 204 w 347"/>
              <a:gd name="T101" fmla="*/ 50 h 346"/>
              <a:gd name="T102" fmla="*/ 270 w 347"/>
              <a:gd name="T103" fmla="*/ 77 h 346"/>
              <a:gd name="T104" fmla="*/ 290 w 347"/>
              <a:gd name="T105" fmla="*/ 179 h 346"/>
              <a:gd name="T106" fmla="*/ 270 w 347"/>
              <a:gd name="T107" fmla="*/ 179 h 346"/>
              <a:gd name="T108" fmla="*/ 270 w 347"/>
              <a:gd name="T109" fmla="*/ 132 h 346"/>
              <a:gd name="T110" fmla="*/ 231 w 347"/>
              <a:gd name="T111" fmla="*/ 132 h 346"/>
              <a:gd name="T112" fmla="*/ 231 w 347"/>
              <a:gd name="T113" fmla="*/ 83 h 346"/>
              <a:gd name="T114" fmla="*/ 178 w 347"/>
              <a:gd name="T115" fmla="*/ 83 h 346"/>
              <a:gd name="T116" fmla="*/ 178 w 347"/>
              <a:gd name="T117" fmla="*/ 112 h 346"/>
              <a:gd name="T118" fmla="*/ 139 w 347"/>
              <a:gd name="T119" fmla="*/ 112 h 346"/>
              <a:gd name="T120" fmla="*/ 139 w 347"/>
              <a:gd name="T121" fmla="*/ 179 h 346"/>
              <a:gd name="T122" fmla="*/ 118 w 347"/>
              <a:gd name="T123" fmla="*/ 179 h 346"/>
              <a:gd name="T124" fmla="*/ 138 w 347"/>
              <a:gd name="T125" fmla="*/ 7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7" h="346">
                <a:moveTo>
                  <a:pt x="0" y="0"/>
                </a:moveTo>
                <a:cubicBezTo>
                  <a:pt x="0" y="346"/>
                  <a:pt x="0" y="346"/>
                  <a:pt x="0" y="346"/>
                </a:cubicBezTo>
                <a:cubicBezTo>
                  <a:pt x="347" y="346"/>
                  <a:pt x="347" y="346"/>
                  <a:pt x="347" y="346"/>
                </a:cubicBezTo>
                <a:cubicBezTo>
                  <a:pt x="347" y="0"/>
                  <a:pt x="347" y="0"/>
                  <a:pt x="347" y="0"/>
                </a:cubicBezTo>
                <a:lnTo>
                  <a:pt x="0" y="0"/>
                </a:lnTo>
                <a:close/>
                <a:moveTo>
                  <a:pt x="332" y="332"/>
                </a:moveTo>
                <a:cubicBezTo>
                  <a:pt x="15" y="332"/>
                  <a:pt x="15" y="332"/>
                  <a:pt x="15" y="332"/>
                </a:cubicBezTo>
                <a:cubicBezTo>
                  <a:pt x="15" y="15"/>
                  <a:pt x="15" y="15"/>
                  <a:pt x="15" y="15"/>
                </a:cubicBezTo>
                <a:cubicBezTo>
                  <a:pt x="332" y="15"/>
                  <a:pt x="332" y="15"/>
                  <a:pt x="332" y="15"/>
                </a:cubicBezTo>
                <a:lnTo>
                  <a:pt x="332" y="332"/>
                </a:lnTo>
                <a:close/>
                <a:moveTo>
                  <a:pt x="48" y="309"/>
                </a:moveTo>
                <a:cubicBezTo>
                  <a:pt x="133" y="224"/>
                  <a:pt x="133" y="224"/>
                  <a:pt x="133" y="224"/>
                </a:cubicBezTo>
                <a:cubicBezTo>
                  <a:pt x="153" y="241"/>
                  <a:pt x="178" y="250"/>
                  <a:pt x="204" y="250"/>
                </a:cubicBezTo>
                <a:cubicBezTo>
                  <a:pt x="233" y="250"/>
                  <a:pt x="260" y="239"/>
                  <a:pt x="280" y="219"/>
                </a:cubicBezTo>
                <a:cubicBezTo>
                  <a:pt x="322" y="177"/>
                  <a:pt x="322" y="109"/>
                  <a:pt x="280" y="67"/>
                </a:cubicBezTo>
                <a:cubicBezTo>
                  <a:pt x="260" y="46"/>
                  <a:pt x="233" y="35"/>
                  <a:pt x="204" y="35"/>
                </a:cubicBezTo>
                <a:cubicBezTo>
                  <a:pt x="175" y="35"/>
                  <a:pt x="148" y="46"/>
                  <a:pt x="128" y="67"/>
                </a:cubicBezTo>
                <a:cubicBezTo>
                  <a:pt x="88" y="107"/>
                  <a:pt x="86" y="171"/>
                  <a:pt x="123" y="214"/>
                </a:cubicBezTo>
                <a:cubicBezTo>
                  <a:pt x="37" y="299"/>
                  <a:pt x="37" y="299"/>
                  <a:pt x="37" y="299"/>
                </a:cubicBezTo>
                <a:lnTo>
                  <a:pt x="48" y="309"/>
                </a:lnTo>
                <a:close/>
                <a:moveTo>
                  <a:pt x="270" y="208"/>
                </a:moveTo>
                <a:cubicBezTo>
                  <a:pt x="252" y="226"/>
                  <a:pt x="229" y="236"/>
                  <a:pt x="204" y="236"/>
                </a:cubicBezTo>
                <a:cubicBezTo>
                  <a:pt x="179" y="236"/>
                  <a:pt x="156" y="226"/>
                  <a:pt x="138" y="208"/>
                </a:cubicBezTo>
                <a:cubicBezTo>
                  <a:pt x="134" y="204"/>
                  <a:pt x="129" y="199"/>
                  <a:pt x="126" y="193"/>
                </a:cubicBezTo>
                <a:cubicBezTo>
                  <a:pt x="139" y="193"/>
                  <a:pt x="139" y="193"/>
                  <a:pt x="139" y="193"/>
                </a:cubicBezTo>
                <a:cubicBezTo>
                  <a:pt x="178" y="193"/>
                  <a:pt x="178" y="193"/>
                  <a:pt x="178" y="193"/>
                </a:cubicBezTo>
                <a:cubicBezTo>
                  <a:pt x="193" y="193"/>
                  <a:pt x="193" y="193"/>
                  <a:pt x="193" y="193"/>
                </a:cubicBezTo>
                <a:cubicBezTo>
                  <a:pt x="217" y="193"/>
                  <a:pt x="217" y="193"/>
                  <a:pt x="217" y="193"/>
                </a:cubicBezTo>
                <a:cubicBezTo>
                  <a:pt x="231" y="193"/>
                  <a:pt x="231" y="193"/>
                  <a:pt x="231" y="193"/>
                </a:cubicBezTo>
                <a:cubicBezTo>
                  <a:pt x="270" y="193"/>
                  <a:pt x="270" y="193"/>
                  <a:pt x="270" y="193"/>
                </a:cubicBezTo>
                <a:cubicBezTo>
                  <a:pt x="282" y="193"/>
                  <a:pt x="282" y="193"/>
                  <a:pt x="282" y="193"/>
                </a:cubicBezTo>
                <a:cubicBezTo>
                  <a:pt x="278" y="199"/>
                  <a:pt x="274" y="204"/>
                  <a:pt x="270" y="208"/>
                </a:cubicBezTo>
                <a:close/>
                <a:moveTo>
                  <a:pt x="193" y="112"/>
                </a:moveTo>
                <a:cubicBezTo>
                  <a:pt x="193" y="97"/>
                  <a:pt x="193" y="97"/>
                  <a:pt x="193" y="97"/>
                </a:cubicBezTo>
                <a:cubicBezTo>
                  <a:pt x="217" y="97"/>
                  <a:pt x="217" y="97"/>
                  <a:pt x="217" y="97"/>
                </a:cubicBezTo>
                <a:cubicBezTo>
                  <a:pt x="217" y="132"/>
                  <a:pt x="217" y="132"/>
                  <a:pt x="217" y="132"/>
                </a:cubicBezTo>
                <a:cubicBezTo>
                  <a:pt x="217" y="179"/>
                  <a:pt x="217" y="179"/>
                  <a:pt x="217" y="179"/>
                </a:cubicBezTo>
                <a:cubicBezTo>
                  <a:pt x="193" y="179"/>
                  <a:pt x="193" y="179"/>
                  <a:pt x="193" y="179"/>
                </a:cubicBezTo>
                <a:lnTo>
                  <a:pt x="193" y="112"/>
                </a:lnTo>
                <a:close/>
                <a:moveTo>
                  <a:pt x="255" y="179"/>
                </a:moveTo>
                <a:cubicBezTo>
                  <a:pt x="231" y="179"/>
                  <a:pt x="231" y="179"/>
                  <a:pt x="231" y="179"/>
                </a:cubicBezTo>
                <a:cubicBezTo>
                  <a:pt x="231" y="147"/>
                  <a:pt x="231" y="147"/>
                  <a:pt x="231" y="147"/>
                </a:cubicBezTo>
                <a:cubicBezTo>
                  <a:pt x="255" y="147"/>
                  <a:pt x="255" y="147"/>
                  <a:pt x="255" y="147"/>
                </a:cubicBezTo>
                <a:lnTo>
                  <a:pt x="255" y="179"/>
                </a:lnTo>
                <a:close/>
                <a:moveTo>
                  <a:pt x="178" y="179"/>
                </a:moveTo>
                <a:cubicBezTo>
                  <a:pt x="154" y="179"/>
                  <a:pt x="154" y="179"/>
                  <a:pt x="154" y="179"/>
                </a:cubicBezTo>
                <a:cubicBezTo>
                  <a:pt x="154" y="127"/>
                  <a:pt x="154" y="127"/>
                  <a:pt x="154" y="127"/>
                </a:cubicBezTo>
                <a:cubicBezTo>
                  <a:pt x="178" y="127"/>
                  <a:pt x="178" y="127"/>
                  <a:pt x="178" y="127"/>
                </a:cubicBezTo>
                <a:lnTo>
                  <a:pt x="178" y="179"/>
                </a:lnTo>
                <a:close/>
                <a:moveTo>
                  <a:pt x="138" y="77"/>
                </a:moveTo>
                <a:cubicBezTo>
                  <a:pt x="156" y="59"/>
                  <a:pt x="179" y="50"/>
                  <a:pt x="204" y="50"/>
                </a:cubicBezTo>
                <a:cubicBezTo>
                  <a:pt x="229" y="50"/>
                  <a:pt x="252" y="59"/>
                  <a:pt x="270" y="77"/>
                </a:cubicBezTo>
                <a:cubicBezTo>
                  <a:pt x="297" y="104"/>
                  <a:pt x="304" y="145"/>
                  <a:pt x="290" y="179"/>
                </a:cubicBezTo>
                <a:cubicBezTo>
                  <a:pt x="270" y="179"/>
                  <a:pt x="270" y="179"/>
                  <a:pt x="270" y="179"/>
                </a:cubicBezTo>
                <a:cubicBezTo>
                  <a:pt x="270" y="132"/>
                  <a:pt x="270" y="132"/>
                  <a:pt x="270" y="132"/>
                </a:cubicBezTo>
                <a:cubicBezTo>
                  <a:pt x="231" y="132"/>
                  <a:pt x="231" y="132"/>
                  <a:pt x="231" y="132"/>
                </a:cubicBezTo>
                <a:cubicBezTo>
                  <a:pt x="231" y="83"/>
                  <a:pt x="231" y="83"/>
                  <a:pt x="231" y="83"/>
                </a:cubicBezTo>
                <a:cubicBezTo>
                  <a:pt x="178" y="83"/>
                  <a:pt x="178" y="83"/>
                  <a:pt x="178" y="83"/>
                </a:cubicBezTo>
                <a:cubicBezTo>
                  <a:pt x="178" y="112"/>
                  <a:pt x="178" y="112"/>
                  <a:pt x="178" y="112"/>
                </a:cubicBezTo>
                <a:cubicBezTo>
                  <a:pt x="139" y="112"/>
                  <a:pt x="139" y="112"/>
                  <a:pt x="139" y="112"/>
                </a:cubicBezTo>
                <a:cubicBezTo>
                  <a:pt x="139" y="179"/>
                  <a:pt x="139" y="179"/>
                  <a:pt x="139" y="179"/>
                </a:cubicBezTo>
                <a:cubicBezTo>
                  <a:pt x="118" y="179"/>
                  <a:pt x="118" y="179"/>
                  <a:pt x="118" y="179"/>
                </a:cubicBezTo>
                <a:cubicBezTo>
                  <a:pt x="104" y="145"/>
                  <a:pt x="111" y="104"/>
                  <a:pt x="138" y="77"/>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b="1" dirty="0"/>
          </a:p>
        </p:txBody>
      </p:sp>
      <p:grpSp>
        <p:nvGrpSpPr>
          <p:cNvPr id="128" name="Group 127">
            <a:extLst>
              <a:ext uri="{FF2B5EF4-FFF2-40B4-BE49-F238E27FC236}">
                <a16:creationId xmlns:a16="http://schemas.microsoft.com/office/drawing/2014/main" id="{1F2969F8-8C67-AAE4-A8C7-E5EFBE31319A}"/>
              </a:ext>
            </a:extLst>
          </p:cNvPr>
          <p:cNvGrpSpPr>
            <a:grpSpLocks noChangeAspect="1"/>
          </p:cNvGrpSpPr>
          <p:nvPr/>
        </p:nvGrpSpPr>
        <p:grpSpPr>
          <a:xfrm>
            <a:off x="9365532" y="3749503"/>
            <a:ext cx="410525" cy="410525"/>
            <a:chOff x="3162300" y="2697163"/>
            <a:chExt cx="123825" cy="123825"/>
          </a:xfrm>
          <a:solidFill>
            <a:schemeClr val="tx1"/>
          </a:solidFill>
        </p:grpSpPr>
        <p:sp>
          <p:nvSpPr>
            <p:cNvPr id="129" name="Freeform 76">
              <a:extLst>
                <a:ext uri="{FF2B5EF4-FFF2-40B4-BE49-F238E27FC236}">
                  <a16:creationId xmlns:a16="http://schemas.microsoft.com/office/drawing/2014/main" id="{16D6E498-C69D-04DF-8F98-95586FEAFBBC}"/>
                </a:ext>
              </a:extLst>
            </p:cNvPr>
            <p:cNvSpPr>
              <a:spLocks noEditPoints="1"/>
            </p:cNvSpPr>
            <p:nvPr/>
          </p:nvSpPr>
          <p:spPr bwMode="auto">
            <a:xfrm>
              <a:off x="3167063" y="2713038"/>
              <a:ext cx="106363" cy="104775"/>
            </a:xfrm>
            <a:custGeom>
              <a:avLst/>
              <a:gdLst>
                <a:gd name="T0" fmla="*/ 55 w 67"/>
                <a:gd name="T1" fmla="*/ 25 h 66"/>
                <a:gd name="T2" fmla="*/ 62 w 67"/>
                <a:gd name="T3" fmla="*/ 19 h 66"/>
                <a:gd name="T4" fmla="*/ 67 w 67"/>
                <a:gd name="T5" fmla="*/ 14 h 66"/>
                <a:gd name="T6" fmla="*/ 53 w 67"/>
                <a:gd name="T7" fmla="*/ 0 h 66"/>
                <a:gd name="T8" fmla="*/ 48 w 67"/>
                <a:gd name="T9" fmla="*/ 5 h 66"/>
                <a:gd name="T10" fmla="*/ 41 w 67"/>
                <a:gd name="T11" fmla="*/ 12 h 66"/>
                <a:gd name="T12" fmla="*/ 7 w 67"/>
                <a:gd name="T13" fmla="*/ 46 h 66"/>
                <a:gd name="T14" fmla="*/ 0 w 67"/>
                <a:gd name="T15" fmla="*/ 66 h 66"/>
                <a:gd name="T16" fmla="*/ 21 w 67"/>
                <a:gd name="T17" fmla="*/ 60 h 66"/>
                <a:gd name="T18" fmla="*/ 55 w 67"/>
                <a:gd name="T19" fmla="*/ 25 h 66"/>
                <a:gd name="T20" fmla="*/ 55 w 67"/>
                <a:gd name="T21" fmla="*/ 25 h 66"/>
                <a:gd name="T22" fmla="*/ 50 w 67"/>
                <a:gd name="T23" fmla="*/ 7 h 66"/>
                <a:gd name="T24" fmla="*/ 53 w 67"/>
                <a:gd name="T25" fmla="*/ 5 h 66"/>
                <a:gd name="T26" fmla="*/ 62 w 67"/>
                <a:gd name="T27" fmla="*/ 14 h 66"/>
                <a:gd name="T28" fmla="*/ 60 w 67"/>
                <a:gd name="T29" fmla="*/ 16 h 66"/>
                <a:gd name="T30" fmla="*/ 57 w 67"/>
                <a:gd name="T31" fmla="*/ 19 h 66"/>
                <a:gd name="T32" fmla="*/ 47 w 67"/>
                <a:gd name="T33" fmla="*/ 10 h 66"/>
                <a:gd name="T34" fmla="*/ 50 w 67"/>
                <a:gd name="T35" fmla="*/ 7 h 66"/>
                <a:gd name="T36" fmla="*/ 41 w 67"/>
                <a:gd name="T37" fmla="*/ 16 h 66"/>
                <a:gd name="T38" fmla="*/ 45 w 67"/>
                <a:gd name="T39" fmla="*/ 20 h 66"/>
                <a:gd name="T40" fmla="*/ 16 w 67"/>
                <a:gd name="T41" fmla="*/ 48 h 66"/>
                <a:gd name="T42" fmla="*/ 11 w 67"/>
                <a:gd name="T43" fmla="*/ 48 h 66"/>
                <a:gd name="T44" fmla="*/ 10 w 67"/>
                <a:gd name="T45" fmla="*/ 47 h 66"/>
                <a:gd name="T46" fmla="*/ 41 w 67"/>
                <a:gd name="T47" fmla="*/ 16 h 66"/>
                <a:gd name="T48" fmla="*/ 5 w 67"/>
                <a:gd name="T49" fmla="*/ 61 h 66"/>
                <a:gd name="T50" fmla="*/ 6 w 67"/>
                <a:gd name="T51" fmla="*/ 59 h 66"/>
                <a:gd name="T52" fmla="*/ 8 w 67"/>
                <a:gd name="T53" fmla="*/ 61 h 66"/>
                <a:gd name="T54" fmla="*/ 5 w 67"/>
                <a:gd name="T55" fmla="*/ 61 h 66"/>
                <a:gd name="T56" fmla="*/ 11 w 67"/>
                <a:gd name="T57" fmla="*/ 59 h 66"/>
                <a:gd name="T58" fmla="*/ 7 w 67"/>
                <a:gd name="T59" fmla="*/ 55 h 66"/>
                <a:gd name="T60" fmla="*/ 9 w 67"/>
                <a:gd name="T61" fmla="*/ 50 h 66"/>
                <a:gd name="T62" fmla="*/ 10 w 67"/>
                <a:gd name="T63" fmla="*/ 51 h 66"/>
                <a:gd name="T64" fmla="*/ 15 w 67"/>
                <a:gd name="T65" fmla="*/ 51 h 66"/>
                <a:gd name="T66" fmla="*/ 15 w 67"/>
                <a:gd name="T67" fmla="*/ 57 h 66"/>
                <a:gd name="T68" fmla="*/ 17 w 67"/>
                <a:gd name="T69" fmla="*/ 58 h 66"/>
                <a:gd name="T70" fmla="*/ 11 w 67"/>
                <a:gd name="T71" fmla="*/ 59 h 66"/>
                <a:gd name="T72" fmla="*/ 20 w 67"/>
                <a:gd name="T73" fmla="*/ 56 h 66"/>
                <a:gd name="T74" fmla="*/ 19 w 67"/>
                <a:gd name="T75" fmla="*/ 55 h 66"/>
                <a:gd name="T76" fmla="*/ 19 w 67"/>
                <a:gd name="T77" fmla="*/ 50 h 66"/>
                <a:gd name="T78" fmla="*/ 47 w 67"/>
                <a:gd name="T79" fmla="*/ 22 h 66"/>
                <a:gd name="T80" fmla="*/ 50 w 67"/>
                <a:gd name="T81" fmla="*/ 25 h 66"/>
                <a:gd name="T82" fmla="*/ 20 w 67"/>
                <a:gd name="T83" fmla="*/ 56 h 66"/>
                <a:gd name="T84" fmla="*/ 53 w 67"/>
                <a:gd name="T85" fmla="*/ 23 h 66"/>
                <a:gd name="T86" fmla="*/ 44 w 67"/>
                <a:gd name="T87" fmla="*/ 14 h 66"/>
                <a:gd name="T88" fmla="*/ 45 w 67"/>
                <a:gd name="T89" fmla="*/ 12 h 66"/>
                <a:gd name="T90" fmla="*/ 54 w 67"/>
                <a:gd name="T91" fmla="*/ 22 h 66"/>
                <a:gd name="T92" fmla="*/ 53 w 67"/>
                <a:gd name="T93" fmla="*/ 2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7" h="66">
                  <a:moveTo>
                    <a:pt x="55" y="25"/>
                  </a:moveTo>
                  <a:lnTo>
                    <a:pt x="62" y="19"/>
                  </a:lnTo>
                  <a:lnTo>
                    <a:pt x="67" y="14"/>
                  </a:lnTo>
                  <a:lnTo>
                    <a:pt x="53" y="0"/>
                  </a:lnTo>
                  <a:lnTo>
                    <a:pt x="48" y="5"/>
                  </a:lnTo>
                  <a:lnTo>
                    <a:pt x="41" y="12"/>
                  </a:lnTo>
                  <a:lnTo>
                    <a:pt x="7" y="46"/>
                  </a:lnTo>
                  <a:lnTo>
                    <a:pt x="0" y="66"/>
                  </a:lnTo>
                  <a:lnTo>
                    <a:pt x="21" y="60"/>
                  </a:lnTo>
                  <a:lnTo>
                    <a:pt x="55" y="25"/>
                  </a:lnTo>
                  <a:lnTo>
                    <a:pt x="55" y="25"/>
                  </a:lnTo>
                  <a:close/>
                  <a:moveTo>
                    <a:pt x="50" y="7"/>
                  </a:moveTo>
                  <a:lnTo>
                    <a:pt x="53" y="5"/>
                  </a:lnTo>
                  <a:lnTo>
                    <a:pt x="62" y="14"/>
                  </a:lnTo>
                  <a:lnTo>
                    <a:pt x="60" y="16"/>
                  </a:lnTo>
                  <a:lnTo>
                    <a:pt x="57" y="19"/>
                  </a:lnTo>
                  <a:lnTo>
                    <a:pt x="47" y="10"/>
                  </a:lnTo>
                  <a:lnTo>
                    <a:pt x="50" y="7"/>
                  </a:lnTo>
                  <a:close/>
                  <a:moveTo>
                    <a:pt x="41" y="16"/>
                  </a:moveTo>
                  <a:lnTo>
                    <a:pt x="45" y="20"/>
                  </a:lnTo>
                  <a:lnTo>
                    <a:pt x="16" y="48"/>
                  </a:lnTo>
                  <a:lnTo>
                    <a:pt x="11" y="48"/>
                  </a:lnTo>
                  <a:lnTo>
                    <a:pt x="10" y="47"/>
                  </a:lnTo>
                  <a:lnTo>
                    <a:pt x="41" y="16"/>
                  </a:lnTo>
                  <a:close/>
                  <a:moveTo>
                    <a:pt x="5" y="61"/>
                  </a:moveTo>
                  <a:lnTo>
                    <a:pt x="6" y="59"/>
                  </a:lnTo>
                  <a:lnTo>
                    <a:pt x="8" y="61"/>
                  </a:lnTo>
                  <a:lnTo>
                    <a:pt x="5" y="61"/>
                  </a:lnTo>
                  <a:close/>
                  <a:moveTo>
                    <a:pt x="11" y="59"/>
                  </a:moveTo>
                  <a:lnTo>
                    <a:pt x="7" y="55"/>
                  </a:lnTo>
                  <a:lnTo>
                    <a:pt x="9" y="50"/>
                  </a:lnTo>
                  <a:lnTo>
                    <a:pt x="10" y="51"/>
                  </a:lnTo>
                  <a:lnTo>
                    <a:pt x="15" y="51"/>
                  </a:lnTo>
                  <a:lnTo>
                    <a:pt x="15" y="57"/>
                  </a:lnTo>
                  <a:lnTo>
                    <a:pt x="17" y="58"/>
                  </a:lnTo>
                  <a:lnTo>
                    <a:pt x="11" y="59"/>
                  </a:lnTo>
                  <a:close/>
                  <a:moveTo>
                    <a:pt x="20" y="56"/>
                  </a:moveTo>
                  <a:lnTo>
                    <a:pt x="19" y="55"/>
                  </a:lnTo>
                  <a:lnTo>
                    <a:pt x="19" y="50"/>
                  </a:lnTo>
                  <a:lnTo>
                    <a:pt x="47" y="22"/>
                  </a:lnTo>
                  <a:lnTo>
                    <a:pt x="50" y="25"/>
                  </a:lnTo>
                  <a:lnTo>
                    <a:pt x="20" y="56"/>
                  </a:lnTo>
                  <a:close/>
                  <a:moveTo>
                    <a:pt x="53" y="23"/>
                  </a:moveTo>
                  <a:lnTo>
                    <a:pt x="44" y="14"/>
                  </a:lnTo>
                  <a:lnTo>
                    <a:pt x="45" y="12"/>
                  </a:lnTo>
                  <a:lnTo>
                    <a:pt x="54" y="22"/>
                  </a:lnTo>
                  <a:lnTo>
                    <a:pt x="53"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sp>
          <p:nvSpPr>
            <p:cNvPr id="130" name="Freeform 77">
              <a:extLst>
                <a:ext uri="{FF2B5EF4-FFF2-40B4-BE49-F238E27FC236}">
                  <a16:creationId xmlns:a16="http://schemas.microsoft.com/office/drawing/2014/main" id="{5BEE0071-780A-F008-5E14-356E2E769279}"/>
                </a:ext>
              </a:extLst>
            </p:cNvPr>
            <p:cNvSpPr>
              <a:spLocks/>
            </p:cNvSpPr>
            <p:nvPr/>
          </p:nvSpPr>
          <p:spPr bwMode="auto">
            <a:xfrm>
              <a:off x="3162300" y="2697163"/>
              <a:ext cx="123825" cy="123825"/>
            </a:xfrm>
            <a:custGeom>
              <a:avLst/>
              <a:gdLst>
                <a:gd name="T0" fmla="*/ 78 w 78"/>
                <a:gd name="T1" fmla="*/ 0 h 78"/>
                <a:gd name="T2" fmla="*/ 0 w 78"/>
                <a:gd name="T3" fmla="*/ 0 h 78"/>
                <a:gd name="T4" fmla="*/ 0 w 78"/>
                <a:gd name="T5" fmla="*/ 76 h 78"/>
                <a:gd name="T6" fmla="*/ 3 w 78"/>
                <a:gd name="T7" fmla="*/ 76 h 78"/>
                <a:gd name="T8" fmla="*/ 3 w 78"/>
                <a:gd name="T9" fmla="*/ 4 h 78"/>
                <a:gd name="T10" fmla="*/ 74 w 78"/>
                <a:gd name="T11" fmla="*/ 4 h 78"/>
                <a:gd name="T12" fmla="*/ 74 w 78"/>
                <a:gd name="T13" fmla="*/ 75 h 78"/>
                <a:gd name="T14" fmla="*/ 27 w 78"/>
                <a:gd name="T15" fmla="*/ 75 h 78"/>
                <a:gd name="T16" fmla="*/ 27 w 78"/>
                <a:gd name="T17" fmla="*/ 78 h 78"/>
                <a:gd name="T18" fmla="*/ 78 w 78"/>
                <a:gd name="T19" fmla="*/ 78 h 78"/>
                <a:gd name="T20" fmla="*/ 78 w 78"/>
                <a:gd name="T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78">
                  <a:moveTo>
                    <a:pt x="78" y="0"/>
                  </a:moveTo>
                  <a:lnTo>
                    <a:pt x="0" y="0"/>
                  </a:lnTo>
                  <a:lnTo>
                    <a:pt x="0" y="76"/>
                  </a:lnTo>
                  <a:lnTo>
                    <a:pt x="3" y="76"/>
                  </a:lnTo>
                  <a:lnTo>
                    <a:pt x="3" y="4"/>
                  </a:lnTo>
                  <a:lnTo>
                    <a:pt x="74" y="4"/>
                  </a:lnTo>
                  <a:lnTo>
                    <a:pt x="74" y="75"/>
                  </a:lnTo>
                  <a:lnTo>
                    <a:pt x="27" y="75"/>
                  </a:lnTo>
                  <a:lnTo>
                    <a:pt x="27" y="78"/>
                  </a:lnTo>
                  <a:lnTo>
                    <a:pt x="78" y="78"/>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grpSp>
      <p:sp>
        <p:nvSpPr>
          <p:cNvPr id="4" name="Slide Number Placeholder 3">
            <a:extLst>
              <a:ext uri="{FF2B5EF4-FFF2-40B4-BE49-F238E27FC236}">
                <a16:creationId xmlns:a16="http://schemas.microsoft.com/office/drawing/2014/main" id="{2F8DBAD9-2FB4-3D45-BD3C-AE82E5DD780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Rectangle 1">
            <a:extLst>
              <a:ext uri="{FF2B5EF4-FFF2-40B4-BE49-F238E27FC236}">
                <a16:creationId xmlns:a16="http://schemas.microsoft.com/office/drawing/2014/main" id="{D3E82E12-CB3F-8998-950F-A2D45F6DB6BF}"/>
              </a:ext>
            </a:extLst>
          </p:cNvPr>
          <p:cNvSpPr/>
          <p:nvPr/>
        </p:nvSpPr>
        <p:spPr bwMode="gray">
          <a:xfrm>
            <a:off x="0" y="0"/>
            <a:ext cx="12192000" cy="137160"/>
          </a:xfrm>
          <a:prstGeom prst="rect">
            <a:avLst/>
          </a:prstGeom>
          <a:solidFill>
            <a:schemeClr val="accent3"/>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133" name="TextBox 132">
            <a:extLst>
              <a:ext uri="{FF2B5EF4-FFF2-40B4-BE49-F238E27FC236}">
                <a16:creationId xmlns:a16="http://schemas.microsoft.com/office/drawing/2014/main" id="{C98855FE-AC59-1908-8CA2-6EC12C2D487C}"/>
              </a:ext>
            </a:extLst>
          </p:cNvPr>
          <p:cNvSpPr txBox="1"/>
          <p:nvPr/>
        </p:nvSpPr>
        <p:spPr>
          <a:xfrm>
            <a:off x="442913" y="6492240"/>
            <a:ext cx="5473700" cy="137160"/>
          </a:xfrm>
          <a:prstGeom prst="rect">
            <a:avLst/>
          </a:prstGeom>
          <a:noFill/>
        </p:spPr>
        <p:txBody>
          <a:bodyPr wrap="square" lIns="0" tIns="0" rIns="0" bIns="0" rtlCol="0" anchor="b" anchorCtr="0">
            <a:noAutofit/>
          </a:bodyPr>
          <a:lstStyle/>
          <a:p>
            <a:pPr algn="l"/>
            <a:r>
              <a:rPr lang="en-US" sz="750" b="0" dirty="0"/>
              <a:t> </a:t>
            </a:r>
          </a:p>
        </p:txBody>
      </p:sp>
    </p:spTree>
    <p:custDataLst>
      <p:custData r:id="rId2"/>
    </p:custDataLst>
    <p:extLst>
      <p:ext uri="{BB962C8B-B14F-4D97-AF65-F5344CB8AC3E}">
        <p14:creationId xmlns:p14="http://schemas.microsoft.com/office/powerpoint/2010/main" val="31418148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4DA136-1EA4-F7C5-200C-77C4257A5B8E}"/>
              </a:ext>
            </a:extLst>
          </p:cNvPr>
          <p:cNvGraphicFramePr>
            <a:graphicFrameLocks noChangeAspect="1"/>
          </p:cNvGraphicFramePr>
          <p:nvPr>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501" name="think-cell Slide" r:id="rId6" imgW="7772400" imgH="10058400" progId="TCLayout.ActiveDocument.1">
                  <p:embed/>
                </p:oleObj>
              </mc:Choice>
              <mc:Fallback>
                <p:oleObj name="think-cell Slide" r:id="rId6" imgW="7772400" imgH="10058400" progId="TCLayout.ActiveDocument.1">
                  <p:embed/>
                  <p:pic>
                    <p:nvPicPr>
                      <p:cNvPr id="10" name="Object 9" hidden="1">
                        <a:extLst>
                          <a:ext uri="{FF2B5EF4-FFF2-40B4-BE49-F238E27FC236}">
                            <a16:creationId xmlns:a16="http://schemas.microsoft.com/office/drawing/2014/main" id="{2D4DA136-1EA4-F7C5-200C-77C4257A5B8E}"/>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2F8DBAD9-2FB4-3D45-BD3C-AE82E5DD780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169" name="TextBox 168">
            <a:extLst>
              <a:ext uri="{FF2B5EF4-FFF2-40B4-BE49-F238E27FC236}">
                <a16:creationId xmlns:a16="http://schemas.microsoft.com/office/drawing/2014/main" id="{20452E5A-2247-49EF-A923-10AF3F688F10}"/>
              </a:ext>
            </a:extLst>
          </p:cNvPr>
          <p:cNvSpPr txBox="1"/>
          <p:nvPr/>
        </p:nvSpPr>
        <p:spPr>
          <a:xfrm>
            <a:off x="349820" y="318107"/>
            <a:ext cx="11380218" cy="523220"/>
          </a:xfrm>
          <a:prstGeom prst="rect">
            <a:avLst/>
          </a:prstGeom>
          <a:noFill/>
        </p:spPr>
        <p:txBody>
          <a:bodyPr wrap="square">
            <a:spAutoFit/>
          </a:bodyPr>
          <a:lstStyle/>
          <a:p>
            <a:pPr lvl="0">
              <a:defRPr/>
            </a:pPr>
            <a:r>
              <a:rPr lang="en-US" sz="2800" dirty="0">
                <a:solidFill>
                  <a:srgbClr val="000000"/>
                </a:solidFill>
                <a:latin typeface="Georgia"/>
                <a:ea typeface="Georgia"/>
                <a:cs typeface="Georgia"/>
                <a:sym typeface="Georgia"/>
              </a:rPr>
              <a:t>Customer Due Diligence Procedure</a:t>
            </a:r>
          </a:p>
        </p:txBody>
      </p:sp>
      <p:sp>
        <p:nvSpPr>
          <p:cNvPr id="2" name="Rectangle 1">
            <a:extLst>
              <a:ext uri="{FF2B5EF4-FFF2-40B4-BE49-F238E27FC236}">
                <a16:creationId xmlns:a16="http://schemas.microsoft.com/office/drawing/2014/main" id="{D3E82E12-CB3F-8998-950F-A2D45F6DB6BF}"/>
              </a:ext>
            </a:extLst>
          </p:cNvPr>
          <p:cNvSpPr/>
          <p:nvPr/>
        </p:nvSpPr>
        <p:spPr bwMode="gray">
          <a:xfrm>
            <a:off x="0" y="0"/>
            <a:ext cx="12192000" cy="137160"/>
          </a:xfrm>
          <a:prstGeom prst="rect">
            <a:avLst/>
          </a:prstGeom>
          <a:solidFill>
            <a:schemeClr val="accent3"/>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3" name="Google Shape;387;p26">
            <a:extLst>
              <a:ext uri="{FF2B5EF4-FFF2-40B4-BE49-F238E27FC236}">
                <a16:creationId xmlns:a16="http://schemas.microsoft.com/office/drawing/2014/main" id="{4FCE25BA-EC71-3EE9-3881-24C312402B6C}"/>
              </a:ext>
            </a:extLst>
          </p:cNvPr>
          <p:cNvSpPr/>
          <p:nvPr/>
        </p:nvSpPr>
        <p:spPr>
          <a:xfrm>
            <a:off x="440435" y="1181100"/>
            <a:ext cx="11311128" cy="800837"/>
          </a:xfrm>
          <a:prstGeom prst="rightArrow">
            <a:avLst>
              <a:gd name="adj1" fmla="val 100000"/>
              <a:gd name="adj2" fmla="val 53512"/>
            </a:avLst>
          </a:prstGeom>
          <a:solidFill>
            <a:schemeClr val="accent3"/>
          </a:solidFill>
          <a:ln w="9525" cap="flat" cmpd="sng">
            <a:solidFill>
              <a:srgbClr val="FFFFFF"/>
            </a:solidFill>
            <a:prstDash val="solid"/>
            <a:round/>
            <a:headEnd type="none" w="sm" len="sm"/>
            <a:tailEnd type="none" w="sm" len="sm"/>
          </a:ln>
        </p:spPr>
        <p:txBody>
          <a:bodyPr spcFirstLastPara="1" wrap="square" lIns="91425" tIns="1800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600" b="1" i="0" u="none" strike="noStrike" kern="0" cap="none" spc="0" normalizeH="0" baseline="0" noProof="0" dirty="0">
              <a:ln>
                <a:noFill/>
              </a:ln>
              <a:solidFill>
                <a:srgbClr val="FFFFFF"/>
              </a:solidFill>
              <a:effectLst/>
              <a:uLnTx/>
              <a:uFillTx/>
              <a:latin typeface="Arial"/>
              <a:ea typeface="Garamond"/>
              <a:cs typeface="Garamond"/>
              <a:sym typeface="Garamond"/>
            </a:endParaRPr>
          </a:p>
        </p:txBody>
      </p:sp>
      <p:cxnSp>
        <p:nvCxnSpPr>
          <p:cNvPr id="13" name="Google Shape;388;p26">
            <a:extLst>
              <a:ext uri="{FF2B5EF4-FFF2-40B4-BE49-F238E27FC236}">
                <a16:creationId xmlns:a16="http://schemas.microsoft.com/office/drawing/2014/main" id="{83522654-7A55-BEA8-6109-C23F1E372A77}"/>
              </a:ext>
            </a:extLst>
          </p:cNvPr>
          <p:cNvCxnSpPr>
            <a:stCxn id="15" idx="6"/>
            <a:endCxn id="20" idx="2"/>
          </p:cNvCxnSpPr>
          <p:nvPr/>
        </p:nvCxnSpPr>
        <p:spPr>
          <a:xfrm>
            <a:off x="2015680" y="1955680"/>
            <a:ext cx="8168644" cy="0"/>
          </a:xfrm>
          <a:prstGeom prst="straightConnector1">
            <a:avLst/>
          </a:prstGeom>
          <a:noFill/>
          <a:ln w="57150" cap="flat" cmpd="sng">
            <a:solidFill>
              <a:schemeClr val="accent6"/>
            </a:solidFill>
            <a:prstDash val="solid"/>
            <a:miter lim="800000"/>
            <a:headEnd type="none" w="sm" len="sm"/>
            <a:tailEnd type="none" w="sm" len="sm"/>
          </a:ln>
        </p:spPr>
      </p:cxnSp>
      <p:sp>
        <p:nvSpPr>
          <p:cNvPr id="15" name="Google Shape;389;p26">
            <a:extLst>
              <a:ext uri="{FF2B5EF4-FFF2-40B4-BE49-F238E27FC236}">
                <a16:creationId xmlns:a16="http://schemas.microsoft.com/office/drawing/2014/main" id="{4E194826-D9C7-5090-4534-0FA56825D589}"/>
              </a:ext>
            </a:extLst>
          </p:cNvPr>
          <p:cNvSpPr/>
          <p:nvPr/>
        </p:nvSpPr>
        <p:spPr>
          <a:xfrm>
            <a:off x="1464008" y="1679844"/>
            <a:ext cx="551672" cy="551672"/>
          </a:xfrm>
          <a:prstGeom prst="ellipse">
            <a:avLst/>
          </a:prstGeom>
          <a:solidFill>
            <a:schemeClr val="accent2"/>
          </a:solidFill>
          <a:ln w="28575" cap="flat" cmpd="sng">
            <a:solidFill>
              <a:srgbClr val="FFFF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tr-TR" sz="1800" b="1" i="0" u="none" strike="noStrike" kern="0" cap="none" spc="0" normalizeH="0" baseline="0" noProof="0">
                <a:ln>
                  <a:noFill/>
                </a:ln>
                <a:effectLst/>
                <a:uLnTx/>
                <a:uFillTx/>
                <a:latin typeface="Arial"/>
                <a:ea typeface="Garamond"/>
                <a:cs typeface="Garamond"/>
                <a:sym typeface="Garamond"/>
              </a:rPr>
              <a:t>1</a:t>
            </a:r>
            <a:endParaRPr kumimoji="0" sz="1800" b="1" i="0" u="none" strike="noStrike" kern="0" cap="none" spc="0" normalizeH="0" baseline="0" noProof="0">
              <a:ln>
                <a:noFill/>
              </a:ln>
              <a:effectLst/>
              <a:uLnTx/>
              <a:uFillTx/>
              <a:latin typeface="Arial"/>
              <a:ea typeface="Garamond"/>
              <a:cs typeface="Garamond"/>
              <a:sym typeface="Garamond"/>
            </a:endParaRPr>
          </a:p>
        </p:txBody>
      </p:sp>
      <p:sp>
        <p:nvSpPr>
          <p:cNvPr id="16" name="Google Shape;391;p26">
            <a:extLst>
              <a:ext uri="{FF2B5EF4-FFF2-40B4-BE49-F238E27FC236}">
                <a16:creationId xmlns:a16="http://schemas.microsoft.com/office/drawing/2014/main" id="{35B9C538-4C85-9AB7-A8D2-946A12F1E9D8}"/>
              </a:ext>
            </a:extLst>
          </p:cNvPr>
          <p:cNvSpPr/>
          <p:nvPr/>
        </p:nvSpPr>
        <p:spPr>
          <a:xfrm>
            <a:off x="4370792" y="1679844"/>
            <a:ext cx="551672" cy="551672"/>
          </a:xfrm>
          <a:prstGeom prst="ellipse">
            <a:avLst/>
          </a:prstGeom>
          <a:solidFill>
            <a:schemeClr val="accent2"/>
          </a:solidFill>
          <a:ln w="28575" cap="flat" cmpd="sng">
            <a:solidFill>
              <a:srgbClr val="FFFF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tr-TR" sz="1800" b="1" i="0" u="none" strike="noStrike" kern="0" cap="none" spc="0" normalizeH="0" baseline="0" noProof="0">
                <a:ln>
                  <a:noFill/>
                </a:ln>
                <a:effectLst/>
                <a:uLnTx/>
                <a:uFillTx/>
                <a:latin typeface="Arial"/>
                <a:ea typeface="Garamond"/>
                <a:cs typeface="Garamond"/>
                <a:sym typeface="Garamond"/>
              </a:rPr>
              <a:t>2</a:t>
            </a:r>
            <a:endParaRPr kumimoji="0" sz="1800" b="1" i="0" u="none" strike="noStrike" kern="0" cap="none" spc="0" normalizeH="0" baseline="0" noProof="0">
              <a:ln>
                <a:noFill/>
              </a:ln>
              <a:effectLst/>
              <a:uLnTx/>
              <a:uFillTx/>
              <a:latin typeface="Arial"/>
              <a:ea typeface="Garamond"/>
              <a:cs typeface="Garamond"/>
              <a:sym typeface="Garamond"/>
            </a:endParaRPr>
          </a:p>
        </p:txBody>
      </p:sp>
      <p:sp>
        <p:nvSpPr>
          <p:cNvPr id="17" name="Google Shape;392;p26">
            <a:extLst>
              <a:ext uri="{FF2B5EF4-FFF2-40B4-BE49-F238E27FC236}">
                <a16:creationId xmlns:a16="http://schemas.microsoft.com/office/drawing/2014/main" id="{20C6E342-7E18-BD47-EB97-98F51C210B81}"/>
              </a:ext>
            </a:extLst>
          </p:cNvPr>
          <p:cNvSpPr/>
          <p:nvPr/>
        </p:nvSpPr>
        <p:spPr>
          <a:xfrm>
            <a:off x="7277577" y="1679844"/>
            <a:ext cx="551672" cy="551672"/>
          </a:xfrm>
          <a:prstGeom prst="ellipse">
            <a:avLst/>
          </a:prstGeom>
          <a:solidFill>
            <a:schemeClr val="accent2"/>
          </a:solidFill>
          <a:ln w="28575" cap="flat" cmpd="sng">
            <a:solidFill>
              <a:srgbClr val="FFFF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tr-TR" sz="1800" b="1" i="0" u="none" strike="noStrike" kern="0" cap="none" spc="0" normalizeH="0" baseline="0" noProof="0">
                <a:ln>
                  <a:noFill/>
                </a:ln>
                <a:effectLst/>
                <a:uLnTx/>
                <a:uFillTx/>
                <a:latin typeface="Arial"/>
                <a:ea typeface="Garamond"/>
                <a:cs typeface="Garamond"/>
                <a:sym typeface="Garamond"/>
              </a:rPr>
              <a:t>3</a:t>
            </a:r>
            <a:endParaRPr kumimoji="0" sz="1800" b="1" i="0" u="none" strike="noStrike" kern="0" cap="none" spc="0" normalizeH="0" baseline="0" noProof="0">
              <a:ln>
                <a:noFill/>
              </a:ln>
              <a:effectLst/>
              <a:uLnTx/>
              <a:uFillTx/>
              <a:latin typeface="Arial"/>
              <a:ea typeface="Garamond"/>
              <a:cs typeface="Garamond"/>
              <a:sym typeface="Garamond"/>
            </a:endParaRPr>
          </a:p>
        </p:txBody>
      </p:sp>
      <p:sp>
        <p:nvSpPr>
          <p:cNvPr id="20" name="Google Shape;390;p26">
            <a:extLst>
              <a:ext uri="{FF2B5EF4-FFF2-40B4-BE49-F238E27FC236}">
                <a16:creationId xmlns:a16="http://schemas.microsoft.com/office/drawing/2014/main" id="{84A692AE-F6ED-25FB-0FC1-256883387457}"/>
              </a:ext>
            </a:extLst>
          </p:cNvPr>
          <p:cNvSpPr/>
          <p:nvPr/>
        </p:nvSpPr>
        <p:spPr>
          <a:xfrm>
            <a:off x="10184362" y="1679844"/>
            <a:ext cx="551672" cy="551672"/>
          </a:xfrm>
          <a:prstGeom prst="ellipse">
            <a:avLst/>
          </a:prstGeom>
          <a:solidFill>
            <a:schemeClr val="accent2"/>
          </a:solidFill>
          <a:ln w="28575" cap="flat" cmpd="sng">
            <a:solidFill>
              <a:srgbClr val="FFFF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tr-TR" sz="1800" b="1" i="0" u="none" strike="noStrike" kern="0" cap="none" spc="0" normalizeH="0" baseline="0" noProof="0">
                <a:ln>
                  <a:noFill/>
                </a:ln>
                <a:effectLst/>
                <a:uLnTx/>
                <a:uFillTx/>
                <a:latin typeface="Arial"/>
                <a:ea typeface="Garamond"/>
                <a:cs typeface="Garamond"/>
                <a:sym typeface="Garamond"/>
              </a:rPr>
              <a:t>4</a:t>
            </a:r>
            <a:endParaRPr kumimoji="0" sz="1800" b="1" i="0" u="none" strike="noStrike" kern="0" cap="none" spc="0" normalizeH="0" baseline="0" noProof="0">
              <a:ln>
                <a:noFill/>
              </a:ln>
              <a:effectLst/>
              <a:uLnTx/>
              <a:uFillTx/>
              <a:latin typeface="Arial"/>
              <a:ea typeface="Garamond"/>
              <a:cs typeface="Garamond"/>
              <a:sym typeface="Garamond"/>
            </a:endParaRPr>
          </a:p>
        </p:txBody>
      </p:sp>
      <p:grpSp>
        <p:nvGrpSpPr>
          <p:cNvPr id="45" name="Group 44">
            <a:extLst>
              <a:ext uri="{FF2B5EF4-FFF2-40B4-BE49-F238E27FC236}">
                <a16:creationId xmlns:a16="http://schemas.microsoft.com/office/drawing/2014/main" id="{FB596DD3-15D1-32B8-0641-7EB534BB84CC}"/>
              </a:ext>
            </a:extLst>
          </p:cNvPr>
          <p:cNvGrpSpPr/>
          <p:nvPr/>
        </p:nvGrpSpPr>
        <p:grpSpPr>
          <a:xfrm>
            <a:off x="3176973" y="2467179"/>
            <a:ext cx="5846093" cy="1090095"/>
            <a:chOff x="3176973" y="2467179"/>
            <a:chExt cx="5846093" cy="2234094"/>
          </a:xfrm>
        </p:grpSpPr>
        <p:cxnSp>
          <p:nvCxnSpPr>
            <p:cNvPr id="24" name="Google Shape;393;p26">
              <a:extLst>
                <a:ext uri="{FF2B5EF4-FFF2-40B4-BE49-F238E27FC236}">
                  <a16:creationId xmlns:a16="http://schemas.microsoft.com/office/drawing/2014/main" id="{1D9D20F3-8E76-E636-EA3F-FE208F87BBD3}"/>
                </a:ext>
              </a:extLst>
            </p:cNvPr>
            <p:cNvCxnSpPr/>
            <p:nvPr/>
          </p:nvCxnSpPr>
          <p:spPr>
            <a:xfrm>
              <a:off x="3176973" y="2467179"/>
              <a:ext cx="0" cy="2234094"/>
            </a:xfrm>
            <a:prstGeom prst="straightConnector1">
              <a:avLst/>
            </a:prstGeom>
            <a:noFill/>
            <a:ln w="12700" cap="flat" cmpd="sng">
              <a:solidFill>
                <a:schemeClr val="tx2"/>
              </a:solidFill>
              <a:prstDash val="solid"/>
              <a:miter lim="800000"/>
              <a:headEnd type="none" w="sm" len="sm"/>
              <a:tailEnd type="none" w="sm" len="sm"/>
            </a:ln>
          </p:spPr>
        </p:cxnSp>
        <p:cxnSp>
          <p:nvCxnSpPr>
            <p:cNvPr id="29" name="Google Shape;394;p26">
              <a:extLst>
                <a:ext uri="{FF2B5EF4-FFF2-40B4-BE49-F238E27FC236}">
                  <a16:creationId xmlns:a16="http://schemas.microsoft.com/office/drawing/2014/main" id="{DEEF5097-6CFD-EF0B-AF10-4B37D4629DA2}"/>
                </a:ext>
              </a:extLst>
            </p:cNvPr>
            <p:cNvCxnSpPr/>
            <p:nvPr/>
          </p:nvCxnSpPr>
          <p:spPr>
            <a:xfrm>
              <a:off x="6100020" y="2467179"/>
              <a:ext cx="0" cy="2234094"/>
            </a:xfrm>
            <a:prstGeom prst="straightConnector1">
              <a:avLst/>
            </a:prstGeom>
            <a:noFill/>
            <a:ln w="12700" cap="flat" cmpd="sng">
              <a:solidFill>
                <a:schemeClr val="tx2"/>
              </a:solidFill>
              <a:prstDash val="solid"/>
              <a:miter lim="800000"/>
              <a:headEnd type="none" w="sm" len="sm"/>
              <a:tailEnd type="none" w="sm" len="sm"/>
            </a:ln>
          </p:spPr>
        </p:cxnSp>
        <p:cxnSp>
          <p:nvCxnSpPr>
            <p:cNvPr id="31" name="Google Shape;395;p26">
              <a:extLst>
                <a:ext uri="{FF2B5EF4-FFF2-40B4-BE49-F238E27FC236}">
                  <a16:creationId xmlns:a16="http://schemas.microsoft.com/office/drawing/2014/main" id="{409808AE-34CB-41C5-0285-168B446AB23D}"/>
                </a:ext>
              </a:extLst>
            </p:cNvPr>
            <p:cNvCxnSpPr/>
            <p:nvPr/>
          </p:nvCxnSpPr>
          <p:spPr>
            <a:xfrm>
              <a:off x="9023066" y="2467179"/>
              <a:ext cx="0" cy="2234094"/>
            </a:xfrm>
            <a:prstGeom prst="straightConnector1">
              <a:avLst/>
            </a:prstGeom>
            <a:noFill/>
            <a:ln w="12700" cap="flat" cmpd="sng">
              <a:solidFill>
                <a:schemeClr val="tx2"/>
              </a:solidFill>
              <a:prstDash val="solid"/>
              <a:miter lim="800000"/>
              <a:headEnd type="none" w="sm" len="sm"/>
              <a:tailEnd type="none" w="sm" len="sm"/>
            </a:ln>
          </p:spPr>
        </p:cxnSp>
      </p:grpSp>
      <p:sp>
        <p:nvSpPr>
          <p:cNvPr id="36" name="Google Shape;397;p26">
            <a:extLst>
              <a:ext uri="{FF2B5EF4-FFF2-40B4-BE49-F238E27FC236}">
                <a16:creationId xmlns:a16="http://schemas.microsoft.com/office/drawing/2014/main" id="{FCE34CB2-FF90-B233-1844-57A864CD9A6B}"/>
              </a:ext>
            </a:extLst>
          </p:cNvPr>
          <p:cNvSpPr/>
          <p:nvPr/>
        </p:nvSpPr>
        <p:spPr>
          <a:xfrm>
            <a:off x="686963" y="2467179"/>
            <a:ext cx="2352273" cy="1628612"/>
          </a:xfrm>
          <a:prstGeom prst="rect">
            <a:avLst/>
          </a:prstGeom>
          <a:noFill/>
          <a:ln>
            <a:noFill/>
          </a:ln>
        </p:spPr>
        <p:txBody>
          <a:bodyPr spcFirstLastPara="1" wrap="square" lIns="91440" tIns="91440" rIns="91440" bIns="91440" anchor="t" anchorCtr="0">
            <a:no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Identify</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the</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customer</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details</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and</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obtain</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the</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duly</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filled</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declaration</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form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from</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the</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customer</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a:t>
            </a:r>
          </a:p>
        </p:txBody>
      </p:sp>
      <p:sp>
        <p:nvSpPr>
          <p:cNvPr id="37" name="Google Shape;400;p26">
            <a:extLst>
              <a:ext uri="{FF2B5EF4-FFF2-40B4-BE49-F238E27FC236}">
                <a16:creationId xmlns:a16="http://schemas.microsoft.com/office/drawing/2014/main" id="{ECB3C08C-7F9F-49C5-3C96-C86DA58089A4}"/>
              </a:ext>
            </a:extLst>
          </p:cNvPr>
          <p:cNvSpPr/>
          <p:nvPr/>
        </p:nvSpPr>
        <p:spPr>
          <a:xfrm>
            <a:off x="3593748" y="2467179"/>
            <a:ext cx="2105760" cy="1628612"/>
          </a:xfrm>
          <a:prstGeom prst="rect">
            <a:avLst/>
          </a:prstGeom>
          <a:noFill/>
          <a:ln>
            <a:noFill/>
          </a:ln>
        </p:spPr>
        <p:txBody>
          <a:bodyPr spcFirstLastPara="1" wrap="square" lIns="91440" tIns="91440" rIns="91440" bIns="91440" anchor="t" anchorCtr="0">
            <a:no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Identify</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the</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customer's</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associated</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parties</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legal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representatives</a:t>
            </a:r>
            <a:endPar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endParaRPr>
          </a:p>
        </p:txBody>
      </p:sp>
      <p:sp>
        <p:nvSpPr>
          <p:cNvPr id="38" name="Google Shape;403;p26">
            <a:extLst>
              <a:ext uri="{FF2B5EF4-FFF2-40B4-BE49-F238E27FC236}">
                <a16:creationId xmlns:a16="http://schemas.microsoft.com/office/drawing/2014/main" id="{4992698B-6A64-B59F-F713-AA4E12EAE6D5}"/>
              </a:ext>
            </a:extLst>
          </p:cNvPr>
          <p:cNvSpPr/>
          <p:nvPr/>
        </p:nvSpPr>
        <p:spPr>
          <a:xfrm>
            <a:off x="6500533" y="2467179"/>
            <a:ext cx="2105760" cy="1628612"/>
          </a:xfrm>
          <a:prstGeom prst="rect">
            <a:avLst/>
          </a:prstGeom>
          <a:noFill/>
          <a:ln>
            <a:noFill/>
          </a:ln>
        </p:spPr>
        <p:txBody>
          <a:bodyPr spcFirstLastPara="1" wrap="square" lIns="91440" tIns="91440" rIns="91440" bIns="91440" anchor="t" anchorCtr="0">
            <a:no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Identify</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the</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nature</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of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business</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occupation</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of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the</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customer</a:t>
            </a:r>
            <a:endPar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endParaRPr>
          </a:p>
        </p:txBody>
      </p:sp>
      <p:sp>
        <p:nvSpPr>
          <p:cNvPr id="39" name="Google Shape;406;p26">
            <a:extLst>
              <a:ext uri="{FF2B5EF4-FFF2-40B4-BE49-F238E27FC236}">
                <a16:creationId xmlns:a16="http://schemas.microsoft.com/office/drawing/2014/main" id="{D2F3C9B0-F297-7D34-C08B-8E44FDC02A6D}"/>
              </a:ext>
            </a:extLst>
          </p:cNvPr>
          <p:cNvSpPr/>
          <p:nvPr/>
        </p:nvSpPr>
        <p:spPr>
          <a:xfrm>
            <a:off x="9407318" y="2467179"/>
            <a:ext cx="2105760" cy="961821"/>
          </a:xfrm>
          <a:prstGeom prst="rect">
            <a:avLst/>
          </a:prstGeom>
          <a:noFill/>
          <a:ln>
            <a:noFill/>
          </a:ln>
        </p:spPr>
        <p:txBody>
          <a:bodyPr spcFirstLastPara="1" wrap="square" lIns="91440" tIns="91440" rIns="91440" bIns="91440" anchor="t" anchorCtr="0">
            <a:no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Identify</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ownership</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details</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and</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control</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structure</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a:t>
            </a:r>
          </a:p>
        </p:txBody>
      </p:sp>
      <p:sp>
        <p:nvSpPr>
          <p:cNvPr id="40" name="Google Shape;397;p26">
            <a:extLst>
              <a:ext uri="{FF2B5EF4-FFF2-40B4-BE49-F238E27FC236}">
                <a16:creationId xmlns:a16="http://schemas.microsoft.com/office/drawing/2014/main" id="{75660FD5-7115-5BDF-7A38-64D8B314B18F}"/>
              </a:ext>
            </a:extLst>
          </p:cNvPr>
          <p:cNvSpPr/>
          <p:nvPr/>
        </p:nvSpPr>
        <p:spPr>
          <a:xfrm>
            <a:off x="686964" y="1251868"/>
            <a:ext cx="2105760" cy="322184"/>
          </a:xfrm>
          <a:prstGeom prst="rect">
            <a:avLst/>
          </a:prstGeom>
          <a:noFill/>
          <a:ln>
            <a:noFill/>
          </a:ln>
        </p:spPr>
        <p:txBody>
          <a:bodyPr spcFirstLastPara="1" wrap="square" lIns="91440" tIns="91440" rIns="91440" bIns="91440" anchor="t" anchorCtr="0">
            <a:noAutofit/>
          </a:body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tr-TR" sz="1400" b="1" i="0" u="none" strike="noStrike" kern="0" cap="none" spc="0" normalizeH="0" baseline="0" noProof="0" dirty="0">
                <a:ln>
                  <a:noFill/>
                </a:ln>
                <a:solidFill>
                  <a:schemeClr val="bg1"/>
                </a:solidFill>
                <a:effectLst/>
                <a:uLnTx/>
                <a:uFillTx/>
                <a:latin typeface="Arial"/>
                <a:ea typeface="Garamond"/>
                <a:cs typeface="Garamond"/>
                <a:sym typeface="Garamond"/>
              </a:rPr>
              <a:t>Step </a:t>
            </a:r>
          </a:p>
        </p:txBody>
      </p:sp>
      <p:sp>
        <p:nvSpPr>
          <p:cNvPr id="41" name="Google Shape;397;p26">
            <a:extLst>
              <a:ext uri="{FF2B5EF4-FFF2-40B4-BE49-F238E27FC236}">
                <a16:creationId xmlns:a16="http://schemas.microsoft.com/office/drawing/2014/main" id="{EF9C4D06-9E5F-5B1C-3A7F-3A973E7574BB}"/>
              </a:ext>
            </a:extLst>
          </p:cNvPr>
          <p:cNvSpPr/>
          <p:nvPr/>
        </p:nvSpPr>
        <p:spPr>
          <a:xfrm>
            <a:off x="3593748" y="1251868"/>
            <a:ext cx="2105760" cy="322184"/>
          </a:xfrm>
          <a:prstGeom prst="rect">
            <a:avLst/>
          </a:prstGeom>
          <a:noFill/>
          <a:ln>
            <a:noFill/>
          </a:ln>
        </p:spPr>
        <p:txBody>
          <a:bodyPr spcFirstLastPara="1" wrap="square" lIns="91440" tIns="91440" rIns="91440" bIns="91440" anchor="t" anchorCtr="0">
            <a:noAutofit/>
          </a:body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tr-TR" sz="1400" b="1" i="0" u="none" strike="noStrike" kern="0" cap="none" spc="0" normalizeH="0" baseline="0" noProof="0" dirty="0">
                <a:ln>
                  <a:noFill/>
                </a:ln>
                <a:solidFill>
                  <a:schemeClr val="bg1"/>
                </a:solidFill>
                <a:effectLst/>
                <a:uLnTx/>
                <a:uFillTx/>
                <a:latin typeface="Arial"/>
                <a:ea typeface="Garamond"/>
                <a:cs typeface="Garamond"/>
                <a:sym typeface="Garamond"/>
              </a:rPr>
              <a:t>Step </a:t>
            </a:r>
          </a:p>
        </p:txBody>
      </p:sp>
      <p:sp>
        <p:nvSpPr>
          <p:cNvPr id="42" name="Google Shape;397;p26">
            <a:extLst>
              <a:ext uri="{FF2B5EF4-FFF2-40B4-BE49-F238E27FC236}">
                <a16:creationId xmlns:a16="http://schemas.microsoft.com/office/drawing/2014/main" id="{44B6112C-746E-53BF-C85B-8F10B2D092A4}"/>
              </a:ext>
            </a:extLst>
          </p:cNvPr>
          <p:cNvSpPr/>
          <p:nvPr/>
        </p:nvSpPr>
        <p:spPr>
          <a:xfrm>
            <a:off x="6492494" y="1251868"/>
            <a:ext cx="2105760" cy="322184"/>
          </a:xfrm>
          <a:prstGeom prst="rect">
            <a:avLst/>
          </a:prstGeom>
          <a:noFill/>
          <a:ln>
            <a:noFill/>
          </a:ln>
        </p:spPr>
        <p:txBody>
          <a:bodyPr spcFirstLastPara="1" wrap="square" lIns="91440" tIns="91440" rIns="91440" bIns="91440" anchor="t" anchorCtr="0">
            <a:noAutofit/>
          </a:body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tr-TR" sz="1400" b="1" i="0" u="none" strike="noStrike" kern="0" cap="none" spc="0" normalizeH="0" baseline="0" noProof="0" dirty="0">
                <a:ln>
                  <a:noFill/>
                </a:ln>
                <a:solidFill>
                  <a:schemeClr val="bg1"/>
                </a:solidFill>
                <a:effectLst/>
                <a:uLnTx/>
                <a:uFillTx/>
                <a:latin typeface="Arial"/>
                <a:ea typeface="Garamond"/>
                <a:cs typeface="Garamond"/>
                <a:sym typeface="Garamond"/>
              </a:rPr>
              <a:t>Step </a:t>
            </a:r>
          </a:p>
        </p:txBody>
      </p:sp>
      <p:sp>
        <p:nvSpPr>
          <p:cNvPr id="44" name="Google Shape;397;p26">
            <a:extLst>
              <a:ext uri="{FF2B5EF4-FFF2-40B4-BE49-F238E27FC236}">
                <a16:creationId xmlns:a16="http://schemas.microsoft.com/office/drawing/2014/main" id="{DA033545-3176-A032-30A5-06E5C909F30E}"/>
              </a:ext>
            </a:extLst>
          </p:cNvPr>
          <p:cNvSpPr/>
          <p:nvPr/>
        </p:nvSpPr>
        <p:spPr>
          <a:xfrm>
            <a:off x="9407318" y="1251868"/>
            <a:ext cx="2105760" cy="322184"/>
          </a:xfrm>
          <a:prstGeom prst="rect">
            <a:avLst/>
          </a:prstGeom>
          <a:noFill/>
          <a:ln>
            <a:noFill/>
          </a:ln>
        </p:spPr>
        <p:txBody>
          <a:bodyPr spcFirstLastPara="1" wrap="square" lIns="91440" tIns="91440" rIns="91440" bIns="91440" anchor="t" anchorCtr="0">
            <a:noAutofit/>
          </a:body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tr-TR" sz="1400" b="1" i="0" u="none" strike="noStrike" kern="0" cap="none" spc="0" normalizeH="0" baseline="0" noProof="0" dirty="0">
                <a:ln>
                  <a:noFill/>
                </a:ln>
                <a:solidFill>
                  <a:schemeClr val="bg1"/>
                </a:solidFill>
                <a:effectLst/>
                <a:uLnTx/>
                <a:uFillTx/>
                <a:latin typeface="Arial"/>
                <a:ea typeface="Garamond"/>
                <a:cs typeface="Garamond"/>
                <a:sym typeface="Garamond"/>
              </a:rPr>
              <a:t>Step </a:t>
            </a:r>
          </a:p>
        </p:txBody>
      </p:sp>
      <p:sp>
        <p:nvSpPr>
          <p:cNvPr id="7" name="Google Shape;387;p26">
            <a:extLst>
              <a:ext uri="{FF2B5EF4-FFF2-40B4-BE49-F238E27FC236}">
                <a16:creationId xmlns:a16="http://schemas.microsoft.com/office/drawing/2014/main" id="{7468EDA1-A90E-59B9-4781-08187E8CE03C}"/>
              </a:ext>
            </a:extLst>
          </p:cNvPr>
          <p:cNvSpPr/>
          <p:nvPr/>
        </p:nvSpPr>
        <p:spPr>
          <a:xfrm>
            <a:off x="418910" y="3554238"/>
            <a:ext cx="11311128" cy="800837"/>
          </a:xfrm>
          <a:prstGeom prst="rightArrow">
            <a:avLst>
              <a:gd name="adj1" fmla="val 100000"/>
              <a:gd name="adj2" fmla="val 53512"/>
            </a:avLst>
          </a:prstGeom>
          <a:solidFill>
            <a:schemeClr val="accent3"/>
          </a:solidFill>
          <a:ln w="9525" cap="flat" cmpd="sng">
            <a:solidFill>
              <a:srgbClr val="FFFFFF"/>
            </a:solidFill>
            <a:prstDash val="solid"/>
            <a:round/>
            <a:headEnd type="none" w="sm" len="sm"/>
            <a:tailEnd type="none" w="sm" len="sm"/>
          </a:ln>
        </p:spPr>
        <p:txBody>
          <a:bodyPr spcFirstLastPara="1" wrap="square" lIns="91425" tIns="1800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600" b="1" i="0" u="none" strike="noStrike" kern="0" cap="none" spc="0" normalizeH="0" baseline="0" noProof="0" dirty="0">
              <a:ln>
                <a:noFill/>
              </a:ln>
              <a:solidFill>
                <a:srgbClr val="FFFFFF"/>
              </a:solidFill>
              <a:effectLst/>
              <a:uLnTx/>
              <a:uFillTx/>
              <a:latin typeface="Arial"/>
              <a:ea typeface="Garamond"/>
              <a:cs typeface="Garamond"/>
              <a:sym typeface="Garamond"/>
            </a:endParaRPr>
          </a:p>
        </p:txBody>
      </p:sp>
      <p:grpSp>
        <p:nvGrpSpPr>
          <p:cNvPr id="8" name="Group 7">
            <a:extLst>
              <a:ext uri="{FF2B5EF4-FFF2-40B4-BE49-F238E27FC236}">
                <a16:creationId xmlns:a16="http://schemas.microsoft.com/office/drawing/2014/main" id="{96D1E509-788F-EB76-6F74-7E7851FE4C1D}"/>
              </a:ext>
            </a:extLst>
          </p:cNvPr>
          <p:cNvGrpSpPr/>
          <p:nvPr/>
        </p:nvGrpSpPr>
        <p:grpSpPr>
          <a:xfrm>
            <a:off x="1427986" y="4239096"/>
            <a:ext cx="9272026" cy="551672"/>
            <a:chOff x="1464008" y="1679844"/>
            <a:chExt cx="9272026" cy="551672"/>
          </a:xfrm>
        </p:grpSpPr>
        <p:cxnSp>
          <p:nvCxnSpPr>
            <p:cNvPr id="9" name="Google Shape;388;p26">
              <a:extLst>
                <a:ext uri="{FF2B5EF4-FFF2-40B4-BE49-F238E27FC236}">
                  <a16:creationId xmlns:a16="http://schemas.microsoft.com/office/drawing/2014/main" id="{2AAC4D29-B7B9-F74B-8EFE-5666863EF753}"/>
                </a:ext>
              </a:extLst>
            </p:cNvPr>
            <p:cNvCxnSpPr>
              <a:cxnSpLocks/>
            </p:cNvCxnSpPr>
            <p:nvPr/>
          </p:nvCxnSpPr>
          <p:spPr>
            <a:xfrm>
              <a:off x="2051740" y="1795823"/>
              <a:ext cx="8168644" cy="0"/>
            </a:xfrm>
            <a:prstGeom prst="straightConnector1">
              <a:avLst/>
            </a:prstGeom>
            <a:noFill/>
            <a:ln w="57150" cap="flat" cmpd="sng">
              <a:solidFill>
                <a:schemeClr val="accent6"/>
              </a:solidFill>
              <a:prstDash val="solid"/>
              <a:miter lim="800000"/>
              <a:headEnd type="none" w="sm" len="sm"/>
              <a:tailEnd type="none" w="sm" len="sm"/>
            </a:ln>
          </p:spPr>
        </p:cxnSp>
        <p:sp>
          <p:nvSpPr>
            <p:cNvPr id="11" name="Google Shape;389;p26">
              <a:extLst>
                <a:ext uri="{FF2B5EF4-FFF2-40B4-BE49-F238E27FC236}">
                  <a16:creationId xmlns:a16="http://schemas.microsoft.com/office/drawing/2014/main" id="{8DACDB23-CC6F-29B1-D76C-50CA57A182C0}"/>
                </a:ext>
              </a:extLst>
            </p:cNvPr>
            <p:cNvSpPr/>
            <p:nvPr/>
          </p:nvSpPr>
          <p:spPr>
            <a:xfrm>
              <a:off x="1464008" y="1679844"/>
              <a:ext cx="551672" cy="551672"/>
            </a:xfrm>
            <a:prstGeom prst="ellipse">
              <a:avLst/>
            </a:prstGeom>
            <a:solidFill>
              <a:schemeClr val="accent2"/>
            </a:solidFill>
            <a:ln w="28575" cap="flat" cmpd="sng">
              <a:solidFill>
                <a:srgbClr val="FFFF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tr-TR" b="1" kern="0" dirty="0">
                  <a:latin typeface="Arial"/>
                  <a:ea typeface="Garamond"/>
                  <a:cs typeface="Garamond"/>
                  <a:sym typeface="Garamond"/>
                </a:rPr>
                <a:t>5</a:t>
              </a:r>
              <a:endParaRPr kumimoji="0" sz="1800" b="1" i="0" u="none" strike="noStrike" kern="0" cap="none" spc="0" normalizeH="0" baseline="0" noProof="0" dirty="0">
                <a:ln>
                  <a:noFill/>
                </a:ln>
                <a:effectLst/>
                <a:uLnTx/>
                <a:uFillTx/>
                <a:latin typeface="Arial"/>
                <a:ea typeface="Garamond"/>
                <a:cs typeface="Garamond"/>
                <a:sym typeface="Garamond"/>
              </a:endParaRPr>
            </a:p>
          </p:txBody>
        </p:sp>
        <p:sp>
          <p:nvSpPr>
            <p:cNvPr id="12" name="Google Shape;391;p26">
              <a:extLst>
                <a:ext uri="{FF2B5EF4-FFF2-40B4-BE49-F238E27FC236}">
                  <a16:creationId xmlns:a16="http://schemas.microsoft.com/office/drawing/2014/main" id="{20F20FB5-8A81-8EF5-56EE-C63E455BEE79}"/>
                </a:ext>
              </a:extLst>
            </p:cNvPr>
            <p:cNvSpPr/>
            <p:nvPr/>
          </p:nvSpPr>
          <p:spPr>
            <a:xfrm>
              <a:off x="4370792" y="1679844"/>
              <a:ext cx="551672" cy="551672"/>
            </a:xfrm>
            <a:prstGeom prst="ellipse">
              <a:avLst/>
            </a:prstGeom>
            <a:solidFill>
              <a:schemeClr val="accent2"/>
            </a:solidFill>
            <a:ln w="28575" cap="flat" cmpd="sng">
              <a:solidFill>
                <a:srgbClr val="FFFF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tr-TR" sz="1800" b="1" i="0" u="none" strike="noStrike" kern="0" cap="none" spc="0" normalizeH="0" baseline="0" noProof="0" dirty="0">
                  <a:ln>
                    <a:noFill/>
                  </a:ln>
                  <a:effectLst/>
                  <a:uLnTx/>
                  <a:uFillTx/>
                  <a:latin typeface="Arial"/>
                  <a:ea typeface="Garamond"/>
                  <a:cs typeface="Garamond"/>
                  <a:sym typeface="Garamond"/>
                </a:rPr>
                <a:t>6</a:t>
              </a:r>
              <a:endParaRPr kumimoji="0" sz="1800" b="1" i="0" u="none" strike="noStrike" kern="0" cap="none" spc="0" normalizeH="0" baseline="0" noProof="0" dirty="0">
                <a:ln>
                  <a:noFill/>
                </a:ln>
                <a:effectLst/>
                <a:uLnTx/>
                <a:uFillTx/>
                <a:latin typeface="Arial"/>
                <a:ea typeface="Garamond"/>
                <a:cs typeface="Garamond"/>
                <a:sym typeface="Garamond"/>
              </a:endParaRPr>
            </a:p>
          </p:txBody>
        </p:sp>
        <p:sp>
          <p:nvSpPr>
            <p:cNvPr id="14" name="Google Shape;392;p26">
              <a:extLst>
                <a:ext uri="{FF2B5EF4-FFF2-40B4-BE49-F238E27FC236}">
                  <a16:creationId xmlns:a16="http://schemas.microsoft.com/office/drawing/2014/main" id="{04549947-6A31-0C41-19A9-7D43C2B2B367}"/>
                </a:ext>
              </a:extLst>
            </p:cNvPr>
            <p:cNvSpPr/>
            <p:nvPr/>
          </p:nvSpPr>
          <p:spPr>
            <a:xfrm>
              <a:off x="7277577" y="1679844"/>
              <a:ext cx="551672" cy="551672"/>
            </a:xfrm>
            <a:prstGeom prst="ellipse">
              <a:avLst/>
            </a:prstGeom>
            <a:solidFill>
              <a:schemeClr val="accent2"/>
            </a:solidFill>
            <a:ln w="28575" cap="flat" cmpd="sng">
              <a:solidFill>
                <a:srgbClr val="FFFF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tr-TR" sz="1800" b="1" i="0" u="none" strike="noStrike" kern="0" cap="none" spc="0" normalizeH="0" baseline="0" noProof="0" dirty="0">
                  <a:ln>
                    <a:noFill/>
                  </a:ln>
                  <a:effectLst/>
                  <a:uLnTx/>
                  <a:uFillTx/>
                  <a:latin typeface="Arial"/>
                  <a:ea typeface="Garamond"/>
                  <a:cs typeface="Garamond"/>
                  <a:sym typeface="Garamond"/>
                </a:rPr>
                <a:t>7</a:t>
              </a:r>
              <a:endParaRPr kumimoji="0" sz="1800" b="1" i="0" u="none" strike="noStrike" kern="0" cap="none" spc="0" normalizeH="0" baseline="0" noProof="0" dirty="0">
                <a:ln>
                  <a:noFill/>
                </a:ln>
                <a:effectLst/>
                <a:uLnTx/>
                <a:uFillTx/>
                <a:latin typeface="Arial"/>
                <a:ea typeface="Garamond"/>
                <a:cs typeface="Garamond"/>
                <a:sym typeface="Garamond"/>
              </a:endParaRPr>
            </a:p>
          </p:txBody>
        </p:sp>
        <p:sp>
          <p:nvSpPr>
            <p:cNvPr id="18" name="Google Shape;390;p26">
              <a:extLst>
                <a:ext uri="{FF2B5EF4-FFF2-40B4-BE49-F238E27FC236}">
                  <a16:creationId xmlns:a16="http://schemas.microsoft.com/office/drawing/2014/main" id="{31D8D3CA-750A-819A-B0E6-3710316515DA}"/>
                </a:ext>
              </a:extLst>
            </p:cNvPr>
            <p:cNvSpPr/>
            <p:nvPr/>
          </p:nvSpPr>
          <p:spPr>
            <a:xfrm>
              <a:off x="10184362" y="1679844"/>
              <a:ext cx="551672" cy="551672"/>
            </a:xfrm>
            <a:prstGeom prst="ellipse">
              <a:avLst/>
            </a:prstGeom>
            <a:solidFill>
              <a:schemeClr val="accent2"/>
            </a:solidFill>
            <a:ln w="28575" cap="flat" cmpd="sng">
              <a:solidFill>
                <a:srgbClr val="FFFFF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tr-TR" sz="1800" b="1" i="0" u="none" strike="noStrike" kern="0" cap="none" spc="0" normalizeH="0" baseline="0" noProof="0" dirty="0">
                  <a:ln>
                    <a:noFill/>
                  </a:ln>
                  <a:effectLst/>
                  <a:uLnTx/>
                  <a:uFillTx/>
                  <a:latin typeface="Arial"/>
                  <a:ea typeface="Garamond"/>
                  <a:cs typeface="Garamond"/>
                  <a:sym typeface="Garamond"/>
                </a:rPr>
                <a:t>8</a:t>
              </a:r>
              <a:endParaRPr kumimoji="0" sz="1800" b="1" i="0" u="none" strike="noStrike" kern="0" cap="none" spc="0" normalizeH="0" baseline="0" noProof="0" dirty="0">
                <a:ln>
                  <a:noFill/>
                </a:ln>
                <a:effectLst/>
                <a:uLnTx/>
                <a:uFillTx/>
                <a:latin typeface="Arial"/>
                <a:ea typeface="Garamond"/>
                <a:cs typeface="Garamond"/>
                <a:sym typeface="Garamond"/>
              </a:endParaRPr>
            </a:p>
          </p:txBody>
        </p:sp>
      </p:grpSp>
      <p:sp>
        <p:nvSpPr>
          <p:cNvPr id="19" name="Google Shape;397;p26">
            <a:extLst>
              <a:ext uri="{FF2B5EF4-FFF2-40B4-BE49-F238E27FC236}">
                <a16:creationId xmlns:a16="http://schemas.microsoft.com/office/drawing/2014/main" id="{59CFE35A-329D-1076-80A7-9127303A9F89}"/>
              </a:ext>
            </a:extLst>
          </p:cNvPr>
          <p:cNvSpPr/>
          <p:nvPr/>
        </p:nvSpPr>
        <p:spPr>
          <a:xfrm>
            <a:off x="723450" y="3533889"/>
            <a:ext cx="2105760" cy="322184"/>
          </a:xfrm>
          <a:prstGeom prst="rect">
            <a:avLst/>
          </a:prstGeom>
          <a:noFill/>
          <a:ln>
            <a:noFill/>
          </a:ln>
        </p:spPr>
        <p:txBody>
          <a:bodyPr spcFirstLastPara="1" wrap="square" lIns="91440" tIns="91440" rIns="91440" bIns="91440" anchor="t" anchorCtr="0">
            <a:noAutofit/>
          </a:body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tr-TR" sz="1400" b="1" i="0" u="none" strike="noStrike" kern="0" cap="none" spc="0" normalizeH="0" baseline="0" noProof="0" dirty="0">
                <a:ln>
                  <a:noFill/>
                </a:ln>
                <a:solidFill>
                  <a:schemeClr val="bg1"/>
                </a:solidFill>
                <a:effectLst/>
                <a:uLnTx/>
                <a:uFillTx/>
                <a:latin typeface="Arial"/>
                <a:ea typeface="Garamond"/>
                <a:cs typeface="Garamond"/>
                <a:sym typeface="Garamond"/>
              </a:rPr>
              <a:t>Step </a:t>
            </a:r>
          </a:p>
        </p:txBody>
      </p:sp>
      <p:sp>
        <p:nvSpPr>
          <p:cNvPr id="21" name="Google Shape;397;p26">
            <a:extLst>
              <a:ext uri="{FF2B5EF4-FFF2-40B4-BE49-F238E27FC236}">
                <a16:creationId xmlns:a16="http://schemas.microsoft.com/office/drawing/2014/main" id="{926A67B7-69D9-C821-D91A-1F99F642E0F0}"/>
              </a:ext>
            </a:extLst>
          </p:cNvPr>
          <p:cNvSpPr/>
          <p:nvPr/>
        </p:nvSpPr>
        <p:spPr>
          <a:xfrm>
            <a:off x="3653821" y="3565924"/>
            <a:ext cx="2105760" cy="322184"/>
          </a:xfrm>
          <a:prstGeom prst="rect">
            <a:avLst/>
          </a:prstGeom>
          <a:noFill/>
          <a:ln>
            <a:noFill/>
          </a:ln>
        </p:spPr>
        <p:txBody>
          <a:bodyPr spcFirstLastPara="1" wrap="square" lIns="91440" tIns="91440" rIns="91440" bIns="91440" anchor="t" anchorCtr="0">
            <a:noAutofit/>
          </a:body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tr-TR" sz="1400" b="1" i="0" u="none" strike="noStrike" kern="0" cap="none" spc="0" normalizeH="0" baseline="0" noProof="0" dirty="0">
                <a:ln>
                  <a:noFill/>
                </a:ln>
                <a:solidFill>
                  <a:schemeClr val="bg1"/>
                </a:solidFill>
                <a:effectLst/>
                <a:uLnTx/>
                <a:uFillTx/>
                <a:latin typeface="Arial"/>
                <a:ea typeface="Garamond"/>
                <a:cs typeface="Garamond"/>
                <a:sym typeface="Garamond"/>
              </a:rPr>
              <a:t>Step </a:t>
            </a:r>
          </a:p>
        </p:txBody>
      </p:sp>
      <p:sp>
        <p:nvSpPr>
          <p:cNvPr id="22" name="Google Shape;397;p26">
            <a:extLst>
              <a:ext uri="{FF2B5EF4-FFF2-40B4-BE49-F238E27FC236}">
                <a16:creationId xmlns:a16="http://schemas.microsoft.com/office/drawing/2014/main" id="{25680030-0318-0839-D672-0D4F3C1F57CD}"/>
              </a:ext>
            </a:extLst>
          </p:cNvPr>
          <p:cNvSpPr/>
          <p:nvPr/>
        </p:nvSpPr>
        <p:spPr>
          <a:xfrm>
            <a:off x="6500533" y="3539189"/>
            <a:ext cx="2105760" cy="322184"/>
          </a:xfrm>
          <a:prstGeom prst="rect">
            <a:avLst/>
          </a:prstGeom>
          <a:noFill/>
          <a:ln>
            <a:noFill/>
          </a:ln>
        </p:spPr>
        <p:txBody>
          <a:bodyPr spcFirstLastPara="1" wrap="square" lIns="91440" tIns="91440" rIns="91440" bIns="91440" anchor="t" anchorCtr="0">
            <a:noAutofit/>
          </a:body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tr-TR" sz="1400" b="1" i="0" u="none" strike="noStrike" kern="0" cap="none" spc="0" normalizeH="0" baseline="0" noProof="0" dirty="0">
                <a:ln>
                  <a:noFill/>
                </a:ln>
                <a:solidFill>
                  <a:schemeClr val="bg1"/>
                </a:solidFill>
                <a:effectLst/>
                <a:uLnTx/>
                <a:uFillTx/>
                <a:latin typeface="Arial"/>
                <a:ea typeface="Garamond"/>
                <a:cs typeface="Garamond"/>
                <a:sym typeface="Garamond"/>
              </a:rPr>
              <a:t>Step </a:t>
            </a:r>
          </a:p>
        </p:txBody>
      </p:sp>
      <p:sp>
        <p:nvSpPr>
          <p:cNvPr id="23" name="Google Shape;397;p26">
            <a:extLst>
              <a:ext uri="{FF2B5EF4-FFF2-40B4-BE49-F238E27FC236}">
                <a16:creationId xmlns:a16="http://schemas.microsoft.com/office/drawing/2014/main" id="{DEE164E3-6680-FC18-056C-5364ABFE00C1}"/>
              </a:ext>
            </a:extLst>
          </p:cNvPr>
          <p:cNvSpPr/>
          <p:nvPr/>
        </p:nvSpPr>
        <p:spPr>
          <a:xfrm>
            <a:off x="9451052" y="3495313"/>
            <a:ext cx="2105760" cy="322184"/>
          </a:xfrm>
          <a:prstGeom prst="rect">
            <a:avLst/>
          </a:prstGeom>
          <a:noFill/>
          <a:ln>
            <a:noFill/>
          </a:ln>
        </p:spPr>
        <p:txBody>
          <a:bodyPr spcFirstLastPara="1" wrap="square" lIns="91440" tIns="91440" rIns="91440" bIns="91440" anchor="t" anchorCtr="0">
            <a:noAutofit/>
          </a:bodyPr>
          <a:lstStyle/>
          <a:p>
            <a:pPr marL="0" marR="0" lvl="0" indent="0" algn="ctr" defTabSz="914400" rtl="0" eaLnBrk="1" fontAlgn="auto" latinLnBrk="0" hangingPunct="1">
              <a:lnSpc>
                <a:spcPct val="100000"/>
              </a:lnSpc>
              <a:spcBef>
                <a:spcPts val="0"/>
              </a:spcBef>
              <a:spcAft>
                <a:spcPts val="600"/>
              </a:spcAft>
              <a:buClr>
                <a:srgbClr val="000000"/>
              </a:buClr>
              <a:buSzTx/>
              <a:buFont typeface="Arial"/>
              <a:buNone/>
              <a:tabLst/>
              <a:defRPr/>
            </a:pPr>
            <a:r>
              <a:rPr kumimoji="0" lang="tr-TR" sz="1400" b="1" i="0" u="none" strike="noStrike" kern="0" cap="none" spc="0" normalizeH="0" baseline="0" noProof="0" dirty="0">
                <a:ln>
                  <a:noFill/>
                </a:ln>
                <a:solidFill>
                  <a:schemeClr val="bg1"/>
                </a:solidFill>
                <a:effectLst/>
                <a:uLnTx/>
                <a:uFillTx/>
                <a:latin typeface="Arial"/>
                <a:ea typeface="Garamond"/>
                <a:cs typeface="Garamond"/>
                <a:sym typeface="Garamond"/>
              </a:rPr>
              <a:t>Step </a:t>
            </a:r>
          </a:p>
        </p:txBody>
      </p:sp>
      <p:grpSp>
        <p:nvGrpSpPr>
          <p:cNvPr id="25" name="Group 24">
            <a:extLst>
              <a:ext uri="{FF2B5EF4-FFF2-40B4-BE49-F238E27FC236}">
                <a16:creationId xmlns:a16="http://schemas.microsoft.com/office/drawing/2014/main" id="{BC66492D-CADA-BC98-5643-CD669B2A06E0}"/>
              </a:ext>
            </a:extLst>
          </p:cNvPr>
          <p:cNvGrpSpPr/>
          <p:nvPr/>
        </p:nvGrpSpPr>
        <p:grpSpPr>
          <a:xfrm>
            <a:off x="801731" y="4638114"/>
            <a:ext cx="11062125" cy="1628612"/>
            <a:chOff x="686963" y="2467179"/>
            <a:chExt cx="11062125" cy="1628612"/>
          </a:xfrm>
        </p:grpSpPr>
        <p:grpSp>
          <p:nvGrpSpPr>
            <p:cNvPr id="26" name="Group 25">
              <a:extLst>
                <a:ext uri="{FF2B5EF4-FFF2-40B4-BE49-F238E27FC236}">
                  <a16:creationId xmlns:a16="http://schemas.microsoft.com/office/drawing/2014/main" id="{45E6EE64-21D8-2451-AEC5-97228C329C20}"/>
                </a:ext>
              </a:extLst>
            </p:cNvPr>
            <p:cNvGrpSpPr/>
            <p:nvPr/>
          </p:nvGrpSpPr>
          <p:grpSpPr>
            <a:xfrm>
              <a:off x="3176973" y="2467179"/>
              <a:ext cx="5846093" cy="1090095"/>
              <a:chOff x="3176973" y="2467179"/>
              <a:chExt cx="5846093" cy="2234094"/>
            </a:xfrm>
          </p:grpSpPr>
          <p:cxnSp>
            <p:nvCxnSpPr>
              <p:cNvPr id="33" name="Google Shape;393;p26">
                <a:extLst>
                  <a:ext uri="{FF2B5EF4-FFF2-40B4-BE49-F238E27FC236}">
                    <a16:creationId xmlns:a16="http://schemas.microsoft.com/office/drawing/2014/main" id="{6874EA8D-B522-5A44-1C3E-6F27C3FD2FF7}"/>
                  </a:ext>
                </a:extLst>
              </p:cNvPr>
              <p:cNvCxnSpPr/>
              <p:nvPr/>
            </p:nvCxnSpPr>
            <p:spPr>
              <a:xfrm>
                <a:off x="3176973" y="2467179"/>
                <a:ext cx="0" cy="2234094"/>
              </a:xfrm>
              <a:prstGeom prst="straightConnector1">
                <a:avLst/>
              </a:prstGeom>
              <a:noFill/>
              <a:ln w="12700" cap="flat" cmpd="sng">
                <a:solidFill>
                  <a:schemeClr val="tx2"/>
                </a:solidFill>
                <a:prstDash val="solid"/>
                <a:miter lim="800000"/>
                <a:headEnd type="none" w="sm" len="sm"/>
                <a:tailEnd type="none" w="sm" len="sm"/>
              </a:ln>
            </p:spPr>
          </p:cxnSp>
          <p:cxnSp>
            <p:nvCxnSpPr>
              <p:cNvPr id="34" name="Google Shape;394;p26">
                <a:extLst>
                  <a:ext uri="{FF2B5EF4-FFF2-40B4-BE49-F238E27FC236}">
                    <a16:creationId xmlns:a16="http://schemas.microsoft.com/office/drawing/2014/main" id="{3A98A885-B1B3-ADB2-7C18-8CA3026FC326}"/>
                  </a:ext>
                </a:extLst>
              </p:cNvPr>
              <p:cNvCxnSpPr/>
              <p:nvPr/>
            </p:nvCxnSpPr>
            <p:spPr>
              <a:xfrm>
                <a:off x="6100020" y="2467179"/>
                <a:ext cx="0" cy="2234094"/>
              </a:xfrm>
              <a:prstGeom prst="straightConnector1">
                <a:avLst/>
              </a:prstGeom>
              <a:noFill/>
              <a:ln w="12700" cap="flat" cmpd="sng">
                <a:solidFill>
                  <a:schemeClr val="tx2"/>
                </a:solidFill>
                <a:prstDash val="solid"/>
                <a:miter lim="800000"/>
                <a:headEnd type="none" w="sm" len="sm"/>
                <a:tailEnd type="none" w="sm" len="sm"/>
              </a:ln>
            </p:spPr>
          </p:cxnSp>
          <p:cxnSp>
            <p:nvCxnSpPr>
              <p:cNvPr id="35" name="Google Shape;395;p26">
                <a:extLst>
                  <a:ext uri="{FF2B5EF4-FFF2-40B4-BE49-F238E27FC236}">
                    <a16:creationId xmlns:a16="http://schemas.microsoft.com/office/drawing/2014/main" id="{AD3EC5BC-D057-5BF5-3F34-FA9188218B3C}"/>
                  </a:ext>
                </a:extLst>
              </p:cNvPr>
              <p:cNvCxnSpPr/>
              <p:nvPr/>
            </p:nvCxnSpPr>
            <p:spPr>
              <a:xfrm>
                <a:off x="9023066" y="2467179"/>
                <a:ext cx="0" cy="2234094"/>
              </a:xfrm>
              <a:prstGeom prst="straightConnector1">
                <a:avLst/>
              </a:prstGeom>
              <a:noFill/>
              <a:ln w="12700" cap="flat" cmpd="sng">
                <a:solidFill>
                  <a:schemeClr val="tx2"/>
                </a:solidFill>
                <a:prstDash val="solid"/>
                <a:miter lim="800000"/>
                <a:headEnd type="none" w="sm" len="sm"/>
                <a:tailEnd type="none" w="sm" len="sm"/>
              </a:ln>
            </p:spPr>
          </p:cxnSp>
        </p:grpSp>
        <p:sp>
          <p:nvSpPr>
            <p:cNvPr id="27" name="Google Shape;397;p26">
              <a:extLst>
                <a:ext uri="{FF2B5EF4-FFF2-40B4-BE49-F238E27FC236}">
                  <a16:creationId xmlns:a16="http://schemas.microsoft.com/office/drawing/2014/main" id="{EE8E433F-B15B-FB5D-3802-82A1EBC5DC8F}"/>
                </a:ext>
              </a:extLst>
            </p:cNvPr>
            <p:cNvSpPr/>
            <p:nvPr/>
          </p:nvSpPr>
          <p:spPr>
            <a:xfrm>
              <a:off x="686963" y="2467179"/>
              <a:ext cx="2352273" cy="1628612"/>
            </a:xfrm>
            <a:prstGeom prst="rect">
              <a:avLst/>
            </a:prstGeom>
            <a:noFill/>
            <a:ln>
              <a:noFill/>
            </a:ln>
          </p:spPr>
          <p:txBody>
            <a:bodyPr spcFirstLastPara="1" wrap="square" lIns="91440" tIns="91440" rIns="91440" bIns="91440" anchor="t" anchorCtr="0">
              <a:no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Identify</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third-party</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if</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any</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s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confirmed</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by</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the</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customer</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while</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establishing</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the</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business</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relationship</a:t>
              </a:r>
              <a:endPar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endParaRPr>
            </a:p>
          </p:txBody>
        </p:sp>
        <p:sp>
          <p:nvSpPr>
            <p:cNvPr id="28" name="Google Shape;400;p26">
              <a:extLst>
                <a:ext uri="{FF2B5EF4-FFF2-40B4-BE49-F238E27FC236}">
                  <a16:creationId xmlns:a16="http://schemas.microsoft.com/office/drawing/2014/main" id="{205DF3F8-8008-9D22-6874-F6CC7A3DC478}"/>
                </a:ext>
              </a:extLst>
            </p:cNvPr>
            <p:cNvSpPr/>
            <p:nvPr/>
          </p:nvSpPr>
          <p:spPr>
            <a:xfrm>
              <a:off x="3347235" y="2467179"/>
              <a:ext cx="2569349" cy="1628612"/>
            </a:xfrm>
            <a:prstGeom prst="rect">
              <a:avLst/>
            </a:prstGeom>
            <a:noFill/>
            <a:ln>
              <a:noFill/>
            </a:ln>
          </p:spPr>
          <p:txBody>
            <a:bodyPr spcFirstLastPara="1" wrap="square" lIns="91440" tIns="91440" rIns="91440" bIns="91440" anchor="t" anchorCtr="0">
              <a:no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Perform</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the</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name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screening</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on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the</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customer</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and</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all</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the</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associated</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parties</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including</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third</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parties</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identified</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the</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time of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customer</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due</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diligence</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process</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using</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adverse</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media</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checks</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and</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applicable</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sanction</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lists</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p>
          </p:txBody>
        </p:sp>
        <p:sp>
          <p:nvSpPr>
            <p:cNvPr id="30" name="Google Shape;403;p26">
              <a:extLst>
                <a:ext uri="{FF2B5EF4-FFF2-40B4-BE49-F238E27FC236}">
                  <a16:creationId xmlns:a16="http://schemas.microsoft.com/office/drawing/2014/main" id="{BD151E36-061C-C455-EBFF-1BE19660836C}"/>
                </a:ext>
              </a:extLst>
            </p:cNvPr>
            <p:cNvSpPr/>
            <p:nvPr/>
          </p:nvSpPr>
          <p:spPr>
            <a:xfrm>
              <a:off x="6275410" y="2467179"/>
              <a:ext cx="2626694" cy="1628612"/>
            </a:xfrm>
            <a:prstGeom prst="rect">
              <a:avLst/>
            </a:prstGeom>
            <a:noFill/>
            <a:ln>
              <a:noFill/>
            </a:ln>
          </p:spPr>
          <p:txBody>
            <a:bodyPr spcFirstLastPara="1" wrap="square" lIns="91440" tIns="91440" rIns="91440" bIns="91440" anchor="t" anchorCtr="0">
              <a:no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Based</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on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the</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risk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categorization</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if</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customer</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is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established</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s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high</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risk,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Enhanced</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Due</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Diligence</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EDD)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shall</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be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performed</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on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the</a:t>
              </a:r>
              <a:r>
                <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rPr>
                <a:t> </a:t>
              </a:r>
              <a:r>
                <a:rPr kumimoji="0" lang="tr-TR" sz="1400" b="0" i="0" u="none" strike="noStrike" kern="0" cap="none" spc="0" normalizeH="0" baseline="0" noProof="0" dirty="0" err="1">
                  <a:ln>
                    <a:noFill/>
                  </a:ln>
                  <a:solidFill>
                    <a:srgbClr val="000000"/>
                  </a:solidFill>
                  <a:effectLst/>
                  <a:uLnTx/>
                  <a:uFillTx/>
                  <a:latin typeface="Arial"/>
                  <a:ea typeface="Garamond"/>
                  <a:cs typeface="Garamond"/>
                  <a:sym typeface="Garamond"/>
                </a:rPr>
                <a:t>customer</a:t>
              </a:r>
              <a:endParaRPr kumimoji="0" lang="tr-TR" sz="1400" b="0" i="0" u="none" strike="noStrike" kern="0" cap="none" spc="0" normalizeH="0" baseline="0" noProof="0" dirty="0">
                <a:ln>
                  <a:noFill/>
                </a:ln>
                <a:solidFill>
                  <a:srgbClr val="000000"/>
                </a:solidFill>
                <a:effectLst/>
                <a:uLnTx/>
                <a:uFillTx/>
                <a:latin typeface="Arial"/>
                <a:ea typeface="Garamond"/>
                <a:cs typeface="Garamond"/>
                <a:sym typeface="Garamond"/>
              </a:endParaRPr>
            </a:p>
          </p:txBody>
        </p:sp>
        <p:sp>
          <p:nvSpPr>
            <p:cNvPr id="32" name="Google Shape;406;p26">
              <a:extLst>
                <a:ext uri="{FF2B5EF4-FFF2-40B4-BE49-F238E27FC236}">
                  <a16:creationId xmlns:a16="http://schemas.microsoft.com/office/drawing/2014/main" id="{83612B0F-5305-42BD-7944-5F00FBE0D73F}"/>
                </a:ext>
              </a:extLst>
            </p:cNvPr>
            <p:cNvSpPr/>
            <p:nvPr/>
          </p:nvSpPr>
          <p:spPr>
            <a:xfrm>
              <a:off x="9144009" y="2467179"/>
              <a:ext cx="2605079" cy="961821"/>
            </a:xfrm>
            <a:prstGeom prst="rect">
              <a:avLst/>
            </a:prstGeom>
            <a:noFill/>
            <a:ln>
              <a:noFill/>
            </a:ln>
          </p:spPr>
          <p:txBody>
            <a:bodyPr spcFirstLastPara="1" wrap="square" lIns="91440" tIns="91440" rIns="91440" bIns="91440" anchor="t" anchorCtr="0">
              <a:noAutofit/>
            </a:bodyPr>
            <a:lstStyle/>
            <a:p>
              <a:pPr lvl="0"/>
              <a:r>
                <a:rPr lang="en-US" sz="1400" dirty="0"/>
                <a:t>Upload all the KYC documents and screening results to the customer database/company servers as part of the record retention policy along with the customer contracts or other related documents obtained at the time of onboarding.</a:t>
              </a:r>
            </a:p>
          </p:txBody>
        </p:sp>
      </p:grpSp>
    </p:spTree>
    <p:custDataLst>
      <p:custData r:id="rId2"/>
    </p:custDataLst>
    <p:extLst>
      <p:ext uri="{BB962C8B-B14F-4D97-AF65-F5344CB8AC3E}">
        <p14:creationId xmlns:p14="http://schemas.microsoft.com/office/powerpoint/2010/main" val="25830819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4DA136-1EA4-F7C5-200C-77C4257A5B8E}"/>
              </a:ext>
            </a:extLst>
          </p:cNvPr>
          <p:cNvGraphicFramePr>
            <a:graphicFrameLocks noChangeAspect="1"/>
          </p:cNvGraphicFramePr>
          <p:nvPr>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2551" name="think-cell Slide" r:id="rId6" imgW="7772400" imgH="10058400" progId="TCLayout.ActiveDocument.1">
                  <p:embed/>
                </p:oleObj>
              </mc:Choice>
              <mc:Fallback>
                <p:oleObj name="think-cell Slide" r:id="rId6" imgW="7772400" imgH="10058400" progId="TCLayout.ActiveDocument.1">
                  <p:embed/>
                  <p:pic>
                    <p:nvPicPr>
                      <p:cNvPr id="10" name="Object 9" hidden="1">
                        <a:extLst>
                          <a:ext uri="{FF2B5EF4-FFF2-40B4-BE49-F238E27FC236}">
                            <a16:creationId xmlns:a16="http://schemas.microsoft.com/office/drawing/2014/main" id="{2D4DA136-1EA4-F7C5-200C-77C4257A5B8E}"/>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2F8DBAD9-2FB4-3D45-BD3C-AE82E5DD780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169" name="TextBox 168">
            <a:extLst>
              <a:ext uri="{FF2B5EF4-FFF2-40B4-BE49-F238E27FC236}">
                <a16:creationId xmlns:a16="http://schemas.microsoft.com/office/drawing/2014/main" id="{20452E5A-2247-49EF-A923-10AF3F688F10}"/>
              </a:ext>
            </a:extLst>
          </p:cNvPr>
          <p:cNvSpPr txBox="1"/>
          <p:nvPr/>
        </p:nvSpPr>
        <p:spPr>
          <a:xfrm>
            <a:off x="349820" y="318107"/>
            <a:ext cx="11380218" cy="523220"/>
          </a:xfrm>
          <a:prstGeom prst="rect">
            <a:avLst/>
          </a:prstGeom>
          <a:noFill/>
        </p:spPr>
        <p:txBody>
          <a:bodyPr wrap="square">
            <a:spAutoFit/>
          </a:bodyPr>
          <a:lstStyle/>
          <a:p>
            <a:pPr lvl="0">
              <a:defRPr/>
            </a:pPr>
            <a:r>
              <a:rPr lang="en-US" sz="2800" dirty="0">
                <a:solidFill>
                  <a:srgbClr val="000000"/>
                </a:solidFill>
                <a:latin typeface="Georgia"/>
                <a:ea typeface="Georgia"/>
                <a:cs typeface="Georgia"/>
                <a:sym typeface="Georgia"/>
              </a:rPr>
              <a:t>Risk Assessment</a:t>
            </a:r>
          </a:p>
        </p:txBody>
      </p:sp>
      <p:sp>
        <p:nvSpPr>
          <p:cNvPr id="2" name="Rectangle 1">
            <a:extLst>
              <a:ext uri="{FF2B5EF4-FFF2-40B4-BE49-F238E27FC236}">
                <a16:creationId xmlns:a16="http://schemas.microsoft.com/office/drawing/2014/main" id="{D3E82E12-CB3F-8998-950F-A2D45F6DB6BF}"/>
              </a:ext>
            </a:extLst>
          </p:cNvPr>
          <p:cNvSpPr/>
          <p:nvPr/>
        </p:nvSpPr>
        <p:spPr bwMode="gray">
          <a:xfrm>
            <a:off x="0" y="0"/>
            <a:ext cx="12192000" cy="137160"/>
          </a:xfrm>
          <a:prstGeom prst="rect">
            <a:avLst/>
          </a:prstGeom>
          <a:solidFill>
            <a:schemeClr val="accent3"/>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7" name="Rectangle 6">
            <a:extLst>
              <a:ext uri="{FF2B5EF4-FFF2-40B4-BE49-F238E27FC236}">
                <a16:creationId xmlns:a16="http://schemas.microsoft.com/office/drawing/2014/main" id="{07F9E398-83F5-6639-8E30-89DDFB0903E3}"/>
              </a:ext>
            </a:extLst>
          </p:cNvPr>
          <p:cNvSpPr/>
          <p:nvPr/>
        </p:nvSpPr>
        <p:spPr bwMode="gray">
          <a:xfrm>
            <a:off x="442913" y="1181100"/>
            <a:ext cx="11306175" cy="952500"/>
          </a:xfrm>
          <a:prstGeom prst="rect">
            <a:avLst/>
          </a:prstGeom>
          <a:solidFill>
            <a:srgbClr val="2D2D2D"/>
          </a:solidFill>
          <a:ln w="3175">
            <a:noFill/>
            <a:round/>
            <a:headEnd/>
            <a:tailEnd/>
          </a:ln>
        </p:spPr>
        <p:txBody>
          <a:bodyPr lIns="0" tIns="0" rIns="0" bIns="0" rtlCol="0" anchor="ctr"/>
          <a:lstStyle/>
          <a:p>
            <a:pPr marL="95250" marR="0" lvl="0" algn="l" rtl="0">
              <a:spcBef>
                <a:spcPts val="0"/>
              </a:spcBef>
              <a:spcAft>
                <a:spcPts val="0"/>
              </a:spcAft>
              <a:buNone/>
            </a:pPr>
            <a:r>
              <a:rPr lang="en-GB" sz="1400" dirty="0">
                <a:solidFill>
                  <a:schemeClr val="bg1"/>
                </a:solidFill>
                <a:effectLst/>
                <a:ea typeface="Calibri" panose="020F0502020204030204" pitchFamily="34" charset="0"/>
                <a:cs typeface="Times New Roman" panose="02020603050405020304" pitchFamily="18" charset="0"/>
              </a:rPr>
              <a:t>Customer Risk Assessment enables the firm to follow a risk-based approach on AML/CFT. Risk assessment and categorization shall be undertaken based on parameters such as customer’s identity, social/financial status, and information about the client’s business activities and their location etc. </a:t>
            </a:r>
          </a:p>
        </p:txBody>
      </p:sp>
      <p:graphicFrame>
        <p:nvGraphicFramePr>
          <p:cNvPr id="14" name="Diagram 13">
            <a:extLst>
              <a:ext uri="{FF2B5EF4-FFF2-40B4-BE49-F238E27FC236}">
                <a16:creationId xmlns:a16="http://schemas.microsoft.com/office/drawing/2014/main" id="{3E66202B-D117-3086-E8A7-84AEA3A66701}"/>
              </a:ext>
            </a:extLst>
          </p:cNvPr>
          <p:cNvGraphicFramePr/>
          <p:nvPr>
            <p:extLst>
              <p:ext uri="{D42A27DB-BD31-4B8C-83A1-F6EECF244321}">
                <p14:modId xmlns:p14="http://schemas.microsoft.com/office/powerpoint/2010/main" val="3376084551"/>
              </p:ext>
            </p:extLst>
          </p:nvPr>
        </p:nvGraphicFramePr>
        <p:xfrm>
          <a:off x="2768002" y="2346482"/>
          <a:ext cx="6655996" cy="393287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custDataLst>
      <p:custData r:id="rId2"/>
    </p:custDataLst>
    <p:extLst>
      <p:ext uri="{BB962C8B-B14F-4D97-AF65-F5344CB8AC3E}">
        <p14:creationId xmlns:p14="http://schemas.microsoft.com/office/powerpoint/2010/main" val="30807306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4DA136-1EA4-F7C5-200C-77C4257A5B8E}"/>
              </a:ext>
            </a:extLst>
          </p:cNvPr>
          <p:cNvGraphicFramePr>
            <a:graphicFrameLocks noChangeAspect="1"/>
          </p:cNvGraphicFramePr>
          <p:nvPr>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384" name="think-cell Slide" r:id="rId6" imgW="7772400" imgH="10058400" progId="TCLayout.ActiveDocument.1">
                  <p:embed/>
                </p:oleObj>
              </mc:Choice>
              <mc:Fallback>
                <p:oleObj name="think-cell Slide" r:id="rId6" imgW="7772400" imgH="10058400" progId="TCLayout.ActiveDocument.1">
                  <p:embed/>
                  <p:pic>
                    <p:nvPicPr>
                      <p:cNvPr id="10" name="Object 9" hidden="1">
                        <a:extLst>
                          <a:ext uri="{FF2B5EF4-FFF2-40B4-BE49-F238E27FC236}">
                            <a16:creationId xmlns:a16="http://schemas.microsoft.com/office/drawing/2014/main" id="{2D4DA136-1EA4-F7C5-200C-77C4257A5B8E}"/>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2F8DBAD9-2FB4-3D45-BD3C-AE82E5DD780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Date Placeholder 4">
            <a:extLst>
              <a:ext uri="{FF2B5EF4-FFF2-40B4-BE49-F238E27FC236}">
                <a16:creationId xmlns:a16="http://schemas.microsoft.com/office/drawing/2014/main" id="{99D8C669-2260-864E-AB40-EDF5D4FEF749}"/>
              </a:ext>
            </a:extLst>
          </p:cNvPr>
          <p:cNvSpPr>
            <a:spLocks noGrp="1"/>
          </p:cNvSpPr>
          <p:nvPr>
            <p:ph type="dt" sz="half" idx="12"/>
          </p:nvPr>
        </p:nvSpPr>
        <p:spPr/>
        <p:txBody>
          <a:bodyPr/>
          <a:lstStyle/>
          <a:p>
            <a:r>
              <a:rPr kumimoji="0" lang="en-IN" sz="750" i="0" u="none" strike="noStrike" kern="1200" cap="none" spc="0" normalizeH="0" baseline="0" noProof="0" dirty="0">
                <a:ln>
                  <a:noFill/>
                </a:ln>
                <a:solidFill>
                  <a:srgbClr val="000000"/>
                </a:solidFill>
                <a:effectLst/>
                <a:uLnTx/>
                <a:uFillTx/>
                <a:latin typeface="Arial"/>
                <a:ea typeface="+mn-ea"/>
                <a:cs typeface="+mn-cs"/>
              </a:rPr>
              <a:t>May</a:t>
            </a:r>
            <a:r>
              <a:rPr kumimoji="0" lang="en-IN" sz="750" b="0" i="0" u="none" strike="noStrike" kern="1200" cap="none" spc="0" normalizeH="0" baseline="0" noProof="0" dirty="0">
                <a:ln>
                  <a:noFill/>
                </a:ln>
                <a:solidFill>
                  <a:srgbClr val="000000"/>
                </a:solidFill>
                <a:effectLst/>
                <a:uLnTx/>
                <a:uFillTx/>
                <a:latin typeface="Arial"/>
                <a:ea typeface="+mn-ea"/>
                <a:cs typeface="+mn-cs"/>
              </a:rPr>
              <a:t> 2023 </a:t>
            </a:r>
            <a:endParaRPr kumimoji="0" lang="en-US"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169" name="TextBox 168">
            <a:extLst>
              <a:ext uri="{FF2B5EF4-FFF2-40B4-BE49-F238E27FC236}">
                <a16:creationId xmlns:a16="http://schemas.microsoft.com/office/drawing/2014/main" id="{20452E5A-2247-49EF-A923-10AF3F688F10}"/>
              </a:ext>
            </a:extLst>
          </p:cNvPr>
          <p:cNvSpPr txBox="1"/>
          <p:nvPr/>
        </p:nvSpPr>
        <p:spPr>
          <a:xfrm>
            <a:off x="349820" y="318107"/>
            <a:ext cx="11380218" cy="523220"/>
          </a:xfrm>
          <a:prstGeom prst="rect">
            <a:avLst/>
          </a:prstGeom>
          <a:noFill/>
        </p:spPr>
        <p:txBody>
          <a:bodyPr wrap="square">
            <a:spAutoFit/>
          </a:bodyPr>
          <a:lstStyle/>
          <a:p>
            <a:pPr lvl="0">
              <a:defRPr/>
            </a:pPr>
            <a:r>
              <a:rPr lang="en-US" sz="2800" dirty="0">
                <a:solidFill>
                  <a:srgbClr val="000000"/>
                </a:solidFill>
                <a:latin typeface="Georgia"/>
                <a:ea typeface="Georgia"/>
                <a:cs typeface="Georgia"/>
                <a:sym typeface="Georgia"/>
              </a:rPr>
              <a:t>Risk assessment for the Sector</a:t>
            </a:r>
          </a:p>
        </p:txBody>
      </p:sp>
      <p:sp>
        <p:nvSpPr>
          <p:cNvPr id="2" name="Rectangle 1">
            <a:extLst>
              <a:ext uri="{FF2B5EF4-FFF2-40B4-BE49-F238E27FC236}">
                <a16:creationId xmlns:a16="http://schemas.microsoft.com/office/drawing/2014/main" id="{D3E82E12-CB3F-8998-950F-A2D45F6DB6BF}"/>
              </a:ext>
            </a:extLst>
          </p:cNvPr>
          <p:cNvSpPr/>
          <p:nvPr/>
        </p:nvSpPr>
        <p:spPr bwMode="gray">
          <a:xfrm>
            <a:off x="0" y="0"/>
            <a:ext cx="12192000" cy="137160"/>
          </a:xfrm>
          <a:prstGeom prst="rect">
            <a:avLst/>
          </a:prstGeom>
          <a:solidFill>
            <a:schemeClr val="accent3"/>
          </a:solidFill>
          <a:ln w="3175">
            <a:noFill/>
            <a:round/>
            <a:headEnd/>
            <a:tailEnd/>
          </a:ln>
        </p:spPr>
        <p:txBody>
          <a:bodyPr lIns="0" tIns="0" rIns="0" bIns="0" rtlCol="0" anchor="ctr"/>
          <a:lstStyle/>
          <a:p>
            <a:pPr algn="ctr" defTabSz="685463"/>
            <a:endParaRPr lang="en-US" sz="1200" b="1" kern="0" dirty="0">
              <a:cs typeface="Arial" charset="0"/>
            </a:endParaRPr>
          </a:p>
        </p:txBody>
      </p:sp>
      <p:grpSp>
        <p:nvGrpSpPr>
          <p:cNvPr id="7" name="Group 6">
            <a:extLst>
              <a:ext uri="{FF2B5EF4-FFF2-40B4-BE49-F238E27FC236}">
                <a16:creationId xmlns:a16="http://schemas.microsoft.com/office/drawing/2014/main" id="{53F67962-6C6C-1427-A62C-C1CA13CF47FA}"/>
              </a:ext>
            </a:extLst>
          </p:cNvPr>
          <p:cNvGrpSpPr/>
          <p:nvPr/>
        </p:nvGrpSpPr>
        <p:grpSpPr>
          <a:xfrm>
            <a:off x="3388519" y="1752366"/>
            <a:ext cx="5414963" cy="4419834"/>
            <a:chOff x="3151981" y="1309316"/>
            <a:chExt cx="5891212" cy="4808561"/>
          </a:xfrm>
        </p:grpSpPr>
        <p:sp>
          <p:nvSpPr>
            <p:cNvPr id="8" name="Oval 17">
              <a:extLst>
                <a:ext uri="{FF2B5EF4-FFF2-40B4-BE49-F238E27FC236}">
                  <a16:creationId xmlns:a16="http://schemas.microsoft.com/office/drawing/2014/main" id="{3AC2305A-3E8D-F272-FE2B-DAA7765DE210}"/>
                </a:ext>
              </a:extLst>
            </p:cNvPr>
            <p:cNvSpPr>
              <a:spLocks noChangeArrowheads="1"/>
            </p:cNvSpPr>
            <p:nvPr/>
          </p:nvSpPr>
          <p:spPr bwMode="auto">
            <a:xfrm>
              <a:off x="8878093" y="4135089"/>
              <a:ext cx="165100" cy="165100"/>
            </a:xfrm>
            <a:prstGeom prst="ellipse">
              <a:avLst/>
            </a:prstGeom>
            <a:solidFill>
              <a:srgbClr val="46464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9" name="Oval 30">
              <a:extLst>
                <a:ext uri="{FF2B5EF4-FFF2-40B4-BE49-F238E27FC236}">
                  <a16:creationId xmlns:a16="http://schemas.microsoft.com/office/drawing/2014/main" id="{811FBC2D-A53E-2ADC-E603-4889EB9E01E2}"/>
                </a:ext>
              </a:extLst>
            </p:cNvPr>
            <p:cNvSpPr>
              <a:spLocks noChangeArrowheads="1"/>
            </p:cNvSpPr>
            <p:nvPr/>
          </p:nvSpPr>
          <p:spPr bwMode="auto">
            <a:xfrm>
              <a:off x="8073231" y="2325339"/>
              <a:ext cx="165100" cy="165100"/>
            </a:xfrm>
            <a:prstGeom prst="ellipse">
              <a:avLst/>
            </a:prstGeom>
            <a:solidFill>
              <a:srgbClr val="FFFFF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1" name="Oval 43">
              <a:extLst>
                <a:ext uri="{FF2B5EF4-FFF2-40B4-BE49-F238E27FC236}">
                  <a16:creationId xmlns:a16="http://schemas.microsoft.com/office/drawing/2014/main" id="{B76BDEBA-DF05-986D-14D1-99D9C44C3FE9}"/>
                </a:ext>
              </a:extLst>
            </p:cNvPr>
            <p:cNvSpPr>
              <a:spLocks noChangeArrowheads="1"/>
            </p:cNvSpPr>
            <p:nvPr/>
          </p:nvSpPr>
          <p:spPr bwMode="auto">
            <a:xfrm>
              <a:off x="8073231" y="5951189"/>
              <a:ext cx="165100" cy="166688"/>
            </a:xfrm>
            <a:prstGeom prst="ellipse">
              <a:avLst/>
            </a:prstGeom>
            <a:solidFill>
              <a:srgbClr val="E0301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2" name="Oval 56">
              <a:extLst>
                <a:ext uri="{FF2B5EF4-FFF2-40B4-BE49-F238E27FC236}">
                  <a16:creationId xmlns:a16="http://schemas.microsoft.com/office/drawing/2014/main" id="{CF777AA8-5718-7C60-1DB2-577A1B73DDC6}"/>
                </a:ext>
              </a:extLst>
            </p:cNvPr>
            <p:cNvSpPr>
              <a:spLocks noChangeArrowheads="1"/>
            </p:cNvSpPr>
            <p:nvPr/>
          </p:nvSpPr>
          <p:spPr bwMode="auto">
            <a:xfrm>
              <a:off x="6020593" y="1309316"/>
              <a:ext cx="165100" cy="165100"/>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3" name="Oval 69">
              <a:extLst>
                <a:ext uri="{FF2B5EF4-FFF2-40B4-BE49-F238E27FC236}">
                  <a16:creationId xmlns:a16="http://schemas.microsoft.com/office/drawing/2014/main" id="{8BA452F9-04E3-0E54-C3BF-9C145D2167D0}"/>
                </a:ext>
              </a:extLst>
            </p:cNvPr>
            <p:cNvSpPr>
              <a:spLocks noChangeArrowheads="1"/>
            </p:cNvSpPr>
            <p:nvPr/>
          </p:nvSpPr>
          <p:spPr bwMode="auto">
            <a:xfrm>
              <a:off x="3944143" y="5951189"/>
              <a:ext cx="163513" cy="166688"/>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4" name="Oval 902">
              <a:extLst>
                <a:ext uri="{FF2B5EF4-FFF2-40B4-BE49-F238E27FC236}">
                  <a16:creationId xmlns:a16="http://schemas.microsoft.com/office/drawing/2014/main" id="{4C9B4B1E-2D3B-F01B-8F8B-72759DADF522}"/>
                </a:ext>
              </a:extLst>
            </p:cNvPr>
            <p:cNvSpPr>
              <a:spLocks noChangeArrowheads="1"/>
            </p:cNvSpPr>
            <p:nvPr/>
          </p:nvSpPr>
          <p:spPr bwMode="auto">
            <a:xfrm>
              <a:off x="3151981" y="4138264"/>
              <a:ext cx="165100" cy="165100"/>
            </a:xfrm>
            <a:prstGeom prst="ellipse">
              <a:avLst/>
            </a:prstGeom>
            <a:solidFill>
              <a:srgbClr val="46464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5" name="Oval 1120">
              <a:extLst>
                <a:ext uri="{FF2B5EF4-FFF2-40B4-BE49-F238E27FC236}">
                  <a16:creationId xmlns:a16="http://schemas.microsoft.com/office/drawing/2014/main" id="{6101DFB3-F1DA-6CC0-4573-E4DA6A4851C0}"/>
                </a:ext>
              </a:extLst>
            </p:cNvPr>
            <p:cNvSpPr>
              <a:spLocks noChangeArrowheads="1"/>
            </p:cNvSpPr>
            <p:nvPr/>
          </p:nvSpPr>
          <p:spPr bwMode="auto">
            <a:xfrm>
              <a:off x="3975894" y="2325339"/>
              <a:ext cx="165100" cy="165100"/>
            </a:xfrm>
            <a:prstGeom prst="ellipse">
              <a:avLst/>
            </a:prstGeom>
            <a:solidFill>
              <a:srgbClr val="FFFFF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6" name="Freeform 1533">
              <a:extLst>
                <a:ext uri="{FF2B5EF4-FFF2-40B4-BE49-F238E27FC236}">
                  <a16:creationId xmlns:a16="http://schemas.microsoft.com/office/drawing/2014/main" id="{DDDFFD34-7468-1E36-807A-5D0F51045AF7}"/>
                </a:ext>
              </a:extLst>
            </p:cNvPr>
            <p:cNvSpPr>
              <a:spLocks/>
            </p:cNvSpPr>
            <p:nvPr/>
          </p:nvSpPr>
          <p:spPr bwMode="auto">
            <a:xfrm>
              <a:off x="5455443" y="1536352"/>
              <a:ext cx="1311275" cy="1671638"/>
            </a:xfrm>
            <a:custGeom>
              <a:avLst/>
              <a:gdLst>
                <a:gd name="T0" fmla="*/ 246 w 1451"/>
                <a:gd name="T1" fmla="*/ 480 h 1849"/>
                <a:gd name="T2" fmla="*/ 726 w 1451"/>
                <a:gd name="T3" fmla="*/ 0 h 1849"/>
                <a:gd name="T4" fmla="*/ 1206 w 1451"/>
                <a:gd name="T5" fmla="*/ 480 h 1849"/>
                <a:gd name="T6" fmla="*/ 1206 w 1451"/>
                <a:gd name="T7" fmla="*/ 1369 h 1849"/>
                <a:gd name="T8" fmla="*/ 726 w 1451"/>
                <a:gd name="T9" fmla="*/ 1849 h 1849"/>
                <a:gd name="T10" fmla="*/ 246 w 1451"/>
                <a:gd name="T11" fmla="*/ 1369 h 1849"/>
                <a:gd name="T12" fmla="*/ 246 w 1451"/>
                <a:gd name="T13" fmla="*/ 480 h 1849"/>
              </a:gdLst>
              <a:ahLst/>
              <a:cxnLst>
                <a:cxn ang="0">
                  <a:pos x="T0" y="T1"/>
                </a:cxn>
                <a:cxn ang="0">
                  <a:pos x="T2" y="T3"/>
                </a:cxn>
                <a:cxn ang="0">
                  <a:pos x="T4" y="T5"/>
                </a:cxn>
                <a:cxn ang="0">
                  <a:pos x="T6" y="T7"/>
                </a:cxn>
                <a:cxn ang="0">
                  <a:pos x="T8" y="T9"/>
                </a:cxn>
                <a:cxn ang="0">
                  <a:pos x="T10" y="T11"/>
                </a:cxn>
                <a:cxn ang="0">
                  <a:pos x="T12" y="T13"/>
                </a:cxn>
              </a:cxnLst>
              <a:rect l="0" t="0" r="r" b="b"/>
              <a:pathLst>
                <a:path w="1451" h="1849">
                  <a:moveTo>
                    <a:pt x="246" y="480"/>
                  </a:moveTo>
                  <a:lnTo>
                    <a:pt x="726" y="0"/>
                  </a:lnTo>
                  <a:lnTo>
                    <a:pt x="1206" y="480"/>
                  </a:lnTo>
                  <a:cubicBezTo>
                    <a:pt x="1451" y="725"/>
                    <a:pt x="1451" y="1123"/>
                    <a:pt x="1206" y="1369"/>
                  </a:cubicBezTo>
                  <a:lnTo>
                    <a:pt x="726" y="1849"/>
                  </a:lnTo>
                  <a:lnTo>
                    <a:pt x="246" y="1369"/>
                  </a:lnTo>
                  <a:cubicBezTo>
                    <a:pt x="0" y="1123"/>
                    <a:pt x="0" y="725"/>
                    <a:pt x="246" y="48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7" name="Freeform 1534">
              <a:extLst>
                <a:ext uri="{FF2B5EF4-FFF2-40B4-BE49-F238E27FC236}">
                  <a16:creationId xmlns:a16="http://schemas.microsoft.com/office/drawing/2014/main" id="{19E380A4-ED90-FC50-6A33-E8A55EE6282D}"/>
                </a:ext>
              </a:extLst>
            </p:cNvPr>
            <p:cNvSpPr>
              <a:spLocks/>
            </p:cNvSpPr>
            <p:nvPr/>
          </p:nvSpPr>
          <p:spPr bwMode="auto">
            <a:xfrm>
              <a:off x="7125493" y="3566764"/>
              <a:ext cx="1671638" cy="1311275"/>
            </a:xfrm>
            <a:custGeom>
              <a:avLst/>
              <a:gdLst>
                <a:gd name="T0" fmla="*/ 1368 w 1848"/>
                <a:gd name="T1" fmla="*/ 246 h 1451"/>
                <a:gd name="T2" fmla="*/ 1848 w 1848"/>
                <a:gd name="T3" fmla="*/ 726 h 1451"/>
                <a:gd name="T4" fmla="*/ 1368 w 1848"/>
                <a:gd name="T5" fmla="*/ 1206 h 1451"/>
                <a:gd name="T6" fmla="*/ 480 w 1848"/>
                <a:gd name="T7" fmla="*/ 1206 h 1451"/>
                <a:gd name="T8" fmla="*/ 0 w 1848"/>
                <a:gd name="T9" fmla="*/ 726 h 1451"/>
                <a:gd name="T10" fmla="*/ 480 w 1848"/>
                <a:gd name="T11" fmla="*/ 246 h 1451"/>
                <a:gd name="T12" fmla="*/ 1368 w 1848"/>
                <a:gd name="T13" fmla="*/ 246 h 1451"/>
              </a:gdLst>
              <a:ahLst/>
              <a:cxnLst>
                <a:cxn ang="0">
                  <a:pos x="T0" y="T1"/>
                </a:cxn>
                <a:cxn ang="0">
                  <a:pos x="T2" y="T3"/>
                </a:cxn>
                <a:cxn ang="0">
                  <a:pos x="T4" y="T5"/>
                </a:cxn>
                <a:cxn ang="0">
                  <a:pos x="T6" y="T7"/>
                </a:cxn>
                <a:cxn ang="0">
                  <a:pos x="T8" y="T9"/>
                </a:cxn>
                <a:cxn ang="0">
                  <a:pos x="T10" y="T11"/>
                </a:cxn>
                <a:cxn ang="0">
                  <a:pos x="T12" y="T13"/>
                </a:cxn>
              </a:cxnLst>
              <a:rect l="0" t="0" r="r" b="b"/>
              <a:pathLst>
                <a:path w="1848" h="1451">
                  <a:moveTo>
                    <a:pt x="1368" y="246"/>
                  </a:moveTo>
                  <a:lnTo>
                    <a:pt x="1848" y="726"/>
                  </a:lnTo>
                  <a:lnTo>
                    <a:pt x="1368" y="1206"/>
                  </a:lnTo>
                  <a:cubicBezTo>
                    <a:pt x="1123" y="1451"/>
                    <a:pt x="725" y="1451"/>
                    <a:pt x="480" y="1206"/>
                  </a:cubicBezTo>
                  <a:lnTo>
                    <a:pt x="0" y="726"/>
                  </a:lnTo>
                  <a:lnTo>
                    <a:pt x="480" y="246"/>
                  </a:lnTo>
                  <a:cubicBezTo>
                    <a:pt x="725" y="0"/>
                    <a:pt x="1123" y="0"/>
                    <a:pt x="1368" y="246"/>
                  </a:cubicBezTo>
                  <a:close/>
                </a:path>
              </a:pathLst>
            </a:custGeom>
            <a:solidFill>
              <a:srgbClr val="46464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8" name="Freeform 1535">
              <a:extLst>
                <a:ext uri="{FF2B5EF4-FFF2-40B4-BE49-F238E27FC236}">
                  <a16:creationId xmlns:a16="http://schemas.microsoft.com/office/drawing/2014/main" id="{99FEBE37-3926-58F4-3599-5CBDC22FA656}"/>
                </a:ext>
              </a:extLst>
            </p:cNvPr>
            <p:cNvSpPr>
              <a:spLocks/>
            </p:cNvSpPr>
            <p:nvPr/>
          </p:nvSpPr>
          <p:spPr bwMode="auto">
            <a:xfrm>
              <a:off x="3426618" y="3566764"/>
              <a:ext cx="1670050" cy="1311275"/>
            </a:xfrm>
            <a:custGeom>
              <a:avLst/>
              <a:gdLst>
                <a:gd name="T0" fmla="*/ 1368 w 1848"/>
                <a:gd name="T1" fmla="*/ 246 h 1451"/>
                <a:gd name="T2" fmla="*/ 1848 w 1848"/>
                <a:gd name="T3" fmla="*/ 726 h 1451"/>
                <a:gd name="T4" fmla="*/ 1368 w 1848"/>
                <a:gd name="T5" fmla="*/ 1206 h 1451"/>
                <a:gd name="T6" fmla="*/ 480 w 1848"/>
                <a:gd name="T7" fmla="*/ 1206 h 1451"/>
                <a:gd name="T8" fmla="*/ 0 w 1848"/>
                <a:gd name="T9" fmla="*/ 726 h 1451"/>
                <a:gd name="T10" fmla="*/ 480 w 1848"/>
                <a:gd name="T11" fmla="*/ 246 h 1451"/>
                <a:gd name="T12" fmla="*/ 1368 w 1848"/>
                <a:gd name="T13" fmla="*/ 246 h 1451"/>
              </a:gdLst>
              <a:ahLst/>
              <a:cxnLst>
                <a:cxn ang="0">
                  <a:pos x="T0" y="T1"/>
                </a:cxn>
                <a:cxn ang="0">
                  <a:pos x="T2" y="T3"/>
                </a:cxn>
                <a:cxn ang="0">
                  <a:pos x="T4" y="T5"/>
                </a:cxn>
                <a:cxn ang="0">
                  <a:pos x="T6" y="T7"/>
                </a:cxn>
                <a:cxn ang="0">
                  <a:pos x="T8" y="T9"/>
                </a:cxn>
                <a:cxn ang="0">
                  <a:pos x="T10" y="T11"/>
                </a:cxn>
                <a:cxn ang="0">
                  <a:pos x="T12" y="T13"/>
                </a:cxn>
              </a:cxnLst>
              <a:rect l="0" t="0" r="r" b="b"/>
              <a:pathLst>
                <a:path w="1848" h="1451">
                  <a:moveTo>
                    <a:pt x="1368" y="246"/>
                  </a:moveTo>
                  <a:lnTo>
                    <a:pt x="1848" y="726"/>
                  </a:lnTo>
                  <a:lnTo>
                    <a:pt x="1368" y="1206"/>
                  </a:lnTo>
                  <a:cubicBezTo>
                    <a:pt x="1123" y="1451"/>
                    <a:pt x="725" y="1451"/>
                    <a:pt x="480" y="1206"/>
                  </a:cubicBezTo>
                  <a:lnTo>
                    <a:pt x="0" y="726"/>
                  </a:lnTo>
                  <a:lnTo>
                    <a:pt x="480" y="246"/>
                  </a:lnTo>
                  <a:cubicBezTo>
                    <a:pt x="725" y="0"/>
                    <a:pt x="1123" y="0"/>
                    <a:pt x="1368" y="246"/>
                  </a:cubicBezTo>
                  <a:close/>
                </a:path>
              </a:pathLst>
            </a:custGeom>
            <a:solidFill>
              <a:srgbClr val="46464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19" name="Freeform 1536">
              <a:extLst>
                <a:ext uri="{FF2B5EF4-FFF2-40B4-BE49-F238E27FC236}">
                  <a16:creationId xmlns:a16="http://schemas.microsoft.com/office/drawing/2014/main" id="{680B21C1-12C9-A092-D83A-6B83E9842093}"/>
                </a:ext>
              </a:extLst>
            </p:cNvPr>
            <p:cNvSpPr>
              <a:spLocks/>
            </p:cNvSpPr>
            <p:nvPr/>
          </p:nvSpPr>
          <p:spPr bwMode="auto">
            <a:xfrm>
              <a:off x="4215606" y="2320577"/>
              <a:ext cx="1190625" cy="1176338"/>
            </a:xfrm>
            <a:custGeom>
              <a:avLst/>
              <a:gdLst>
                <a:gd name="T0" fmla="*/ 0 w 1317"/>
                <a:gd name="T1" fmla="*/ 682 h 1300"/>
                <a:gd name="T2" fmla="*/ 0 w 1317"/>
                <a:gd name="T3" fmla="*/ 0 h 1300"/>
                <a:gd name="T4" fmla="*/ 676 w 1317"/>
                <a:gd name="T5" fmla="*/ 0 h 1300"/>
                <a:gd name="T6" fmla="*/ 1317 w 1317"/>
                <a:gd name="T7" fmla="*/ 632 h 1300"/>
                <a:gd name="T8" fmla="*/ 1317 w 1317"/>
                <a:gd name="T9" fmla="*/ 1300 h 1300"/>
                <a:gd name="T10" fmla="*/ 625 w 1317"/>
                <a:gd name="T11" fmla="*/ 1300 h 1300"/>
                <a:gd name="T12" fmla="*/ 0 w 1317"/>
                <a:gd name="T13" fmla="*/ 682 h 1300"/>
              </a:gdLst>
              <a:ahLst/>
              <a:cxnLst>
                <a:cxn ang="0">
                  <a:pos x="T0" y="T1"/>
                </a:cxn>
                <a:cxn ang="0">
                  <a:pos x="T2" y="T3"/>
                </a:cxn>
                <a:cxn ang="0">
                  <a:pos x="T4" y="T5"/>
                </a:cxn>
                <a:cxn ang="0">
                  <a:pos x="T6" y="T7"/>
                </a:cxn>
                <a:cxn ang="0">
                  <a:pos x="T8" y="T9"/>
                </a:cxn>
                <a:cxn ang="0">
                  <a:pos x="T10" y="T11"/>
                </a:cxn>
                <a:cxn ang="0">
                  <a:pos x="T12" y="T13"/>
                </a:cxn>
              </a:cxnLst>
              <a:rect l="0" t="0" r="r" b="b"/>
              <a:pathLst>
                <a:path w="1317" h="1300">
                  <a:moveTo>
                    <a:pt x="0" y="682"/>
                  </a:moveTo>
                  <a:lnTo>
                    <a:pt x="0" y="0"/>
                  </a:lnTo>
                  <a:lnTo>
                    <a:pt x="676" y="0"/>
                  </a:lnTo>
                  <a:cubicBezTo>
                    <a:pt x="1023" y="0"/>
                    <a:pt x="1317" y="285"/>
                    <a:pt x="1317" y="632"/>
                  </a:cubicBezTo>
                  <a:lnTo>
                    <a:pt x="1317" y="1300"/>
                  </a:lnTo>
                  <a:lnTo>
                    <a:pt x="625" y="1300"/>
                  </a:lnTo>
                  <a:cubicBezTo>
                    <a:pt x="278" y="1300"/>
                    <a:pt x="0" y="1029"/>
                    <a:pt x="0" y="682"/>
                  </a:cubicBezTo>
                  <a:close/>
                </a:path>
              </a:pathLst>
            </a:custGeom>
            <a:solidFill>
              <a:srgbClr val="FFFFF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0" name="Freeform 1537">
              <a:extLst>
                <a:ext uri="{FF2B5EF4-FFF2-40B4-BE49-F238E27FC236}">
                  <a16:creationId xmlns:a16="http://schemas.microsoft.com/office/drawing/2014/main" id="{51428C99-C90D-7FE1-8148-720D99AC02A8}"/>
                </a:ext>
              </a:extLst>
            </p:cNvPr>
            <p:cNvSpPr>
              <a:spLocks/>
            </p:cNvSpPr>
            <p:nvPr/>
          </p:nvSpPr>
          <p:spPr bwMode="auto">
            <a:xfrm>
              <a:off x="6822281" y="4943127"/>
              <a:ext cx="1174750" cy="1174750"/>
            </a:xfrm>
            <a:custGeom>
              <a:avLst/>
              <a:gdLst>
                <a:gd name="T0" fmla="*/ 0 w 1300"/>
                <a:gd name="T1" fmla="*/ 676 h 1300"/>
                <a:gd name="T2" fmla="*/ 0 w 1300"/>
                <a:gd name="T3" fmla="*/ 0 h 1300"/>
                <a:gd name="T4" fmla="*/ 686 w 1300"/>
                <a:gd name="T5" fmla="*/ 0 h 1300"/>
                <a:gd name="T6" fmla="*/ 1300 w 1300"/>
                <a:gd name="T7" fmla="*/ 626 h 1300"/>
                <a:gd name="T8" fmla="*/ 1300 w 1300"/>
                <a:gd name="T9" fmla="*/ 1300 h 1300"/>
                <a:gd name="T10" fmla="*/ 636 w 1300"/>
                <a:gd name="T11" fmla="*/ 1300 h 1300"/>
                <a:gd name="T12" fmla="*/ 0 w 1300"/>
                <a:gd name="T13" fmla="*/ 676 h 1300"/>
              </a:gdLst>
              <a:ahLst/>
              <a:cxnLst>
                <a:cxn ang="0">
                  <a:pos x="T0" y="T1"/>
                </a:cxn>
                <a:cxn ang="0">
                  <a:pos x="T2" y="T3"/>
                </a:cxn>
                <a:cxn ang="0">
                  <a:pos x="T4" y="T5"/>
                </a:cxn>
                <a:cxn ang="0">
                  <a:pos x="T6" y="T7"/>
                </a:cxn>
                <a:cxn ang="0">
                  <a:pos x="T8" y="T9"/>
                </a:cxn>
                <a:cxn ang="0">
                  <a:pos x="T10" y="T11"/>
                </a:cxn>
                <a:cxn ang="0">
                  <a:pos x="T12" y="T13"/>
                </a:cxn>
              </a:cxnLst>
              <a:rect l="0" t="0" r="r" b="b"/>
              <a:pathLst>
                <a:path w="1300" h="1300">
                  <a:moveTo>
                    <a:pt x="0" y="676"/>
                  </a:moveTo>
                  <a:lnTo>
                    <a:pt x="0" y="0"/>
                  </a:lnTo>
                  <a:lnTo>
                    <a:pt x="686" y="0"/>
                  </a:lnTo>
                  <a:cubicBezTo>
                    <a:pt x="1033" y="0"/>
                    <a:pt x="1300" y="279"/>
                    <a:pt x="1300" y="626"/>
                  </a:cubicBezTo>
                  <a:lnTo>
                    <a:pt x="1300" y="1300"/>
                  </a:lnTo>
                  <a:lnTo>
                    <a:pt x="636" y="1300"/>
                  </a:lnTo>
                  <a:cubicBezTo>
                    <a:pt x="288" y="1300"/>
                    <a:pt x="0" y="1023"/>
                    <a:pt x="0" y="676"/>
                  </a:cubicBezTo>
                  <a:close/>
                </a:path>
              </a:pathLst>
            </a:custGeom>
            <a:solidFill>
              <a:srgbClr val="E0301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1" name="Freeform 1538">
              <a:extLst>
                <a:ext uri="{FF2B5EF4-FFF2-40B4-BE49-F238E27FC236}">
                  <a16:creationId xmlns:a16="http://schemas.microsoft.com/office/drawing/2014/main" id="{D85A49E4-C8E9-2AD7-1CD5-6FDF5F4784BA}"/>
                </a:ext>
              </a:extLst>
            </p:cNvPr>
            <p:cNvSpPr>
              <a:spLocks/>
            </p:cNvSpPr>
            <p:nvPr/>
          </p:nvSpPr>
          <p:spPr bwMode="auto">
            <a:xfrm>
              <a:off x="6822281" y="2320577"/>
              <a:ext cx="1174750" cy="1176338"/>
            </a:xfrm>
            <a:custGeom>
              <a:avLst/>
              <a:gdLst>
                <a:gd name="T0" fmla="*/ 636 w 1300"/>
                <a:gd name="T1" fmla="*/ 0 h 1300"/>
                <a:gd name="T2" fmla="*/ 1300 w 1300"/>
                <a:gd name="T3" fmla="*/ 0 h 1300"/>
                <a:gd name="T4" fmla="*/ 1300 w 1300"/>
                <a:gd name="T5" fmla="*/ 682 h 1300"/>
                <a:gd name="T6" fmla="*/ 686 w 1300"/>
                <a:gd name="T7" fmla="*/ 1300 h 1300"/>
                <a:gd name="T8" fmla="*/ 0 w 1300"/>
                <a:gd name="T9" fmla="*/ 1300 h 1300"/>
                <a:gd name="T10" fmla="*/ 0 w 1300"/>
                <a:gd name="T11" fmla="*/ 632 h 1300"/>
                <a:gd name="T12" fmla="*/ 636 w 1300"/>
                <a:gd name="T13" fmla="*/ 0 h 1300"/>
              </a:gdLst>
              <a:ahLst/>
              <a:cxnLst>
                <a:cxn ang="0">
                  <a:pos x="T0" y="T1"/>
                </a:cxn>
                <a:cxn ang="0">
                  <a:pos x="T2" y="T3"/>
                </a:cxn>
                <a:cxn ang="0">
                  <a:pos x="T4" y="T5"/>
                </a:cxn>
                <a:cxn ang="0">
                  <a:pos x="T6" y="T7"/>
                </a:cxn>
                <a:cxn ang="0">
                  <a:pos x="T8" y="T9"/>
                </a:cxn>
                <a:cxn ang="0">
                  <a:pos x="T10" y="T11"/>
                </a:cxn>
                <a:cxn ang="0">
                  <a:pos x="T12" y="T13"/>
                </a:cxn>
              </a:cxnLst>
              <a:rect l="0" t="0" r="r" b="b"/>
              <a:pathLst>
                <a:path w="1300" h="1300">
                  <a:moveTo>
                    <a:pt x="636" y="0"/>
                  </a:moveTo>
                  <a:lnTo>
                    <a:pt x="1300" y="0"/>
                  </a:lnTo>
                  <a:lnTo>
                    <a:pt x="1300" y="682"/>
                  </a:lnTo>
                  <a:cubicBezTo>
                    <a:pt x="1300" y="1029"/>
                    <a:pt x="1033" y="1300"/>
                    <a:pt x="686" y="1300"/>
                  </a:cubicBezTo>
                  <a:lnTo>
                    <a:pt x="0" y="1300"/>
                  </a:lnTo>
                  <a:lnTo>
                    <a:pt x="0" y="632"/>
                  </a:lnTo>
                  <a:cubicBezTo>
                    <a:pt x="0" y="285"/>
                    <a:pt x="288" y="0"/>
                    <a:pt x="636" y="0"/>
                  </a:cubicBezTo>
                  <a:close/>
                </a:path>
              </a:pathLst>
            </a:custGeom>
            <a:solidFill>
              <a:srgbClr val="FFFFF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2" name="Freeform 1539">
              <a:extLst>
                <a:ext uri="{FF2B5EF4-FFF2-40B4-BE49-F238E27FC236}">
                  <a16:creationId xmlns:a16="http://schemas.microsoft.com/office/drawing/2014/main" id="{8C09E284-7A47-9669-FFC7-78C4BAD0190A}"/>
                </a:ext>
              </a:extLst>
            </p:cNvPr>
            <p:cNvSpPr>
              <a:spLocks/>
            </p:cNvSpPr>
            <p:nvPr/>
          </p:nvSpPr>
          <p:spPr bwMode="auto">
            <a:xfrm>
              <a:off x="4215606" y="4943127"/>
              <a:ext cx="1190625" cy="1174750"/>
            </a:xfrm>
            <a:custGeom>
              <a:avLst/>
              <a:gdLst>
                <a:gd name="T0" fmla="*/ 625 w 1317"/>
                <a:gd name="T1" fmla="*/ 0 h 1300"/>
                <a:gd name="T2" fmla="*/ 1317 w 1317"/>
                <a:gd name="T3" fmla="*/ 0 h 1300"/>
                <a:gd name="T4" fmla="*/ 1317 w 1317"/>
                <a:gd name="T5" fmla="*/ 676 h 1300"/>
                <a:gd name="T6" fmla="*/ 676 w 1317"/>
                <a:gd name="T7" fmla="*/ 1300 h 1300"/>
                <a:gd name="T8" fmla="*/ 0 w 1317"/>
                <a:gd name="T9" fmla="*/ 1300 h 1300"/>
                <a:gd name="T10" fmla="*/ 0 w 1317"/>
                <a:gd name="T11" fmla="*/ 626 h 1300"/>
                <a:gd name="T12" fmla="*/ 625 w 1317"/>
                <a:gd name="T13" fmla="*/ 0 h 1300"/>
              </a:gdLst>
              <a:ahLst/>
              <a:cxnLst>
                <a:cxn ang="0">
                  <a:pos x="T0" y="T1"/>
                </a:cxn>
                <a:cxn ang="0">
                  <a:pos x="T2" y="T3"/>
                </a:cxn>
                <a:cxn ang="0">
                  <a:pos x="T4" y="T5"/>
                </a:cxn>
                <a:cxn ang="0">
                  <a:pos x="T6" y="T7"/>
                </a:cxn>
                <a:cxn ang="0">
                  <a:pos x="T8" y="T9"/>
                </a:cxn>
                <a:cxn ang="0">
                  <a:pos x="T10" y="T11"/>
                </a:cxn>
                <a:cxn ang="0">
                  <a:pos x="T12" y="T13"/>
                </a:cxn>
              </a:cxnLst>
              <a:rect l="0" t="0" r="r" b="b"/>
              <a:pathLst>
                <a:path w="1317" h="1300">
                  <a:moveTo>
                    <a:pt x="625" y="0"/>
                  </a:moveTo>
                  <a:lnTo>
                    <a:pt x="1317" y="0"/>
                  </a:lnTo>
                  <a:lnTo>
                    <a:pt x="1317" y="676"/>
                  </a:lnTo>
                  <a:cubicBezTo>
                    <a:pt x="1317" y="1023"/>
                    <a:pt x="1023" y="1300"/>
                    <a:pt x="676" y="1300"/>
                  </a:cubicBezTo>
                  <a:lnTo>
                    <a:pt x="0" y="1300"/>
                  </a:lnTo>
                  <a:lnTo>
                    <a:pt x="0" y="626"/>
                  </a:lnTo>
                  <a:cubicBezTo>
                    <a:pt x="0" y="279"/>
                    <a:pt x="278" y="0"/>
                    <a:pt x="625" y="0"/>
                  </a:cubicBezTo>
                  <a:close/>
                </a:path>
              </a:pathLst>
            </a:custGeom>
            <a:solidFill>
              <a:srgbClr val="E0301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3" name="Freeform 1540">
              <a:extLst>
                <a:ext uri="{FF2B5EF4-FFF2-40B4-BE49-F238E27FC236}">
                  <a16:creationId xmlns:a16="http://schemas.microsoft.com/office/drawing/2014/main" id="{6B5DB800-4C94-5CC2-6ABF-D69B02DB8E55}"/>
                </a:ext>
              </a:extLst>
            </p:cNvPr>
            <p:cNvSpPr>
              <a:spLocks/>
            </p:cNvSpPr>
            <p:nvPr/>
          </p:nvSpPr>
          <p:spPr bwMode="auto">
            <a:xfrm>
              <a:off x="5836443" y="5530502"/>
              <a:ext cx="549275" cy="93663"/>
            </a:xfrm>
            <a:custGeom>
              <a:avLst/>
              <a:gdLst>
                <a:gd name="T0" fmla="*/ 607 w 607"/>
                <a:gd name="T1" fmla="*/ 52 h 103"/>
                <a:gd name="T2" fmla="*/ 540 w 607"/>
                <a:gd name="T3" fmla="*/ 103 h 103"/>
                <a:gd name="T4" fmla="*/ 67 w 607"/>
                <a:gd name="T5" fmla="*/ 103 h 103"/>
                <a:gd name="T6" fmla="*/ 0 w 607"/>
                <a:gd name="T7" fmla="*/ 52 h 103"/>
                <a:gd name="T8" fmla="*/ 67 w 607"/>
                <a:gd name="T9" fmla="*/ 0 h 103"/>
                <a:gd name="T10" fmla="*/ 540 w 607"/>
                <a:gd name="T11" fmla="*/ 0 h 103"/>
                <a:gd name="T12" fmla="*/ 607 w 607"/>
                <a:gd name="T13" fmla="*/ 52 h 103"/>
              </a:gdLst>
              <a:ahLst/>
              <a:cxnLst>
                <a:cxn ang="0">
                  <a:pos x="T0" y="T1"/>
                </a:cxn>
                <a:cxn ang="0">
                  <a:pos x="T2" y="T3"/>
                </a:cxn>
                <a:cxn ang="0">
                  <a:pos x="T4" y="T5"/>
                </a:cxn>
                <a:cxn ang="0">
                  <a:pos x="T6" y="T7"/>
                </a:cxn>
                <a:cxn ang="0">
                  <a:pos x="T8" y="T9"/>
                </a:cxn>
                <a:cxn ang="0">
                  <a:pos x="T10" y="T11"/>
                </a:cxn>
                <a:cxn ang="0">
                  <a:pos x="T12" y="T13"/>
                </a:cxn>
              </a:cxnLst>
              <a:rect l="0" t="0" r="r" b="b"/>
              <a:pathLst>
                <a:path w="607" h="103">
                  <a:moveTo>
                    <a:pt x="607" y="52"/>
                  </a:moveTo>
                  <a:cubicBezTo>
                    <a:pt x="607" y="80"/>
                    <a:pt x="577" y="103"/>
                    <a:pt x="540" y="103"/>
                  </a:cubicBezTo>
                  <a:lnTo>
                    <a:pt x="67" y="103"/>
                  </a:lnTo>
                  <a:cubicBezTo>
                    <a:pt x="30" y="103"/>
                    <a:pt x="0" y="80"/>
                    <a:pt x="0" y="52"/>
                  </a:cubicBezTo>
                  <a:cubicBezTo>
                    <a:pt x="0" y="23"/>
                    <a:pt x="30" y="0"/>
                    <a:pt x="67" y="0"/>
                  </a:cubicBezTo>
                  <a:lnTo>
                    <a:pt x="540" y="0"/>
                  </a:lnTo>
                  <a:cubicBezTo>
                    <a:pt x="577" y="0"/>
                    <a:pt x="607" y="23"/>
                    <a:pt x="607" y="52"/>
                  </a:cubicBezTo>
                  <a:close/>
                </a:path>
              </a:pathLst>
            </a:custGeom>
            <a:solidFill>
              <a:srgbClr val="E0301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4" name="Freeform 1541">
              <a:extLst>
                <a:ext uri="{FF2B5EF4-FFF2-40B4-BE49-F238E27FC236}">
                  <a16:creationId xmlns:a16="http://schemas.microsoft.com/office/drawing/2014/main" id="{B950BD97-8938-F991-814E-BC8EE11FD801}"/>
                </a:ext>
              </a:extLst>
            </p:cNvPr>
            <p:cNvSpPr>
              <a:spLocks/>
            </p:cNvSpPr>
            <p:nvPr/>
          </p:nvSpPr>
          <p:spPr bwMode="auto">
            <a:xfrm>
              <a:off x="5836443" y="5636864"/>
              <a:ext cx="549275" cy="93663"/>
            </a:xfrm>
            <a:custGeom>
              <a:avLst/>
              <a:gdLst>
                <a:gd name="T0" fmla="*/ 607 w 607"/>
                <a:gd name="T1" fmla="*/ 52 h 104"/>
                <a:gd name="T2" fmla="*/ 540 w 607"/>
                <a:gd name="T3" fmla="*/ 104 h 104"/>
                <a:gd name="T4" fmla="*/ 67 w 607"/>
                <a:gd name="T5" fmla="*/ 104 h 104"/>
                <a:gd name="T6" fmla="*/ 0 w 607"/>
                <a:gd name="T7" fmla="*/ 52 h 104"/>
                <a:gd name="T8" fmla="*/ 67 w 607"/>
                <a:gd name="T9" fmla="*/ 0 h 104"/>
                <a:gd name="T10" fmla="*/ 540 w 607"/>
                <a:gd name="T11" fmla="*/ 0 h 104"/>
                <a:gd name="T12" fmla="*/ 607 w 607"/>
                <a:gd name="T13" fmla="*/ 52 h 104"/>
              </a:gdLst>
              <a:ahLst/>
              <a:cxnLst>
                <a:cxn ang="0">
                  <a:pos x="T0" y="T1"/>
                </a:cxn>
                <a:cxn ang="0">
                  <a:pos x="T2" y="T3"/>
                </a:cxn>
                <a:cxn ang="0">
                  <a:pos x="T4" y="T5"/>
                </a:cxn>
                <a:cxn ang="0">
                  <a:pos x="T6" y="T7"/>
                </a:cxn>
                <a:cxn ang="0">
                  <a:pos x="T8" y="T9"/>
                </a:cxn>
                <a:cxn ang="0">
                  <a:pos x="T10" y="T11"/>
                </a:cxn>
                <a:cxn ang="0">
                  <a:pos x="T12" y="T13"/>
                </a:cxn>
              </a:cxnLst>
              <a:rect l="0" t="0" r="r" b="b"/>
              <a:pathLst>
                <a:path w="607" h="104">
                  <a:moveTo>
                    <a:pt x="607" y="52"/>
                  </a:moveTo>
                  <a:cubicBezTo>
                    <a:pt x="607" y="80"/>
                    <a:pt x="577" y="104"/>
                    <a:pt x="540" y="104"/>
                  </a:cubicBezTo>
                  <a:lnTo>
                    <a:pt x="67" y="104"/>
                  </a:lnTo>
                  <a:cubicBezTo>
                    <a:pt x="30" y="104"/>
                    <a:pt x="0" y="80"/>
                    <a:pt x="0" y="52"/>
                  </a:cubicBezTo>
                  <a:cubicBezTo>
                    <a:pt x="0" y="23"/>
                    <a:pt x="30" y="0"/>
                    <a:pt x="67" y="0"/>
                  </a:cubicBezTo>
                  <a:lnTo>
                    <a:pt x="540" y="0"/>
                  </a:lnTo>
                  <a:cubicBezTo>
                    <a:pt x="577" y="0"/>
                    <a:pt x="607" y="23"/>
                    <a:pt x="607" y="52"/>
                  </a:cubicBezTo>
                  <a:close/>
                </a:path>
              </a:pathLst>
            </a:custGeom>
            <a:solidFill>
              <a:srgbClr val="E0301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5" name="Freeform 1542">
              <a:extLst>
                <a:ext uri="{FF2B5EF4-FFF2-40B4-BE49-F238E27FC236}">
                  <a16:creationId xmlns:a16="http://schemas.microsoft.com/office/drawing/2014/main" id="{1CB3F9AB-1A3F-EB5A-466F-D654543F160E}"/>
                </a:ext>
              </a:extLst>
            </p:cNvPr>
            <p:cNvSpPr>
              <a:spLocks/>
            </p:cNvSpPr>
            <p:nvPr/>
          </p:nvSpPr>
          <p:spPr bwMode="auto">
            <a:xfrm>
              <a:off x="5836443" y="5743227"/>
              <a:ext cx="549275" cy="93663"/>
            </a:xfrm>
            <a:custGeom>
              <a:avLst/>
              <a:gdLst>
                <a:gd name="T0" fmla="*/ 607 w 607"/>
                <a:gd name="T1" fmla="*/ 51 h 103"/>
                <a:gd name="T2" fmla="*/ 540 w 607"/>
                <a:gd name="T3" fmla="*/ 103 h 103"/>
                <a:gd name="T4" fmla="*/ 67 w 607"/>
                <a:gd name="T5" fmla="*/ 103 h 103"/>
                <a:gd name="T6" fmla="*/ 0 w 607"/>
                <a:gd name="T7" fmla="*/ 51 h 103"/>
                <a:gd name="T8" fmla="*/ 67 w 607"/>
                <a:gd name="T9" fmla="*/ 0 h 103"/>
                <a:gd name="T10" fmla="*/ 540 w 607"/>
                <a:gd name="T11" fmla="*/ 0 h 103"/>
                <a:gd name="T12" fmla="*/ 607 w 607"/>
                <a:gd name="T13" fmla="*/ 51 h 103"/>
              </a:gdLst>
              <a:ahLst/>
              <a:cxnLst>
                <a:cxn ang="0">
                  <a:pos x="T0" y="T1"/>
                </a:cxn>
                <a:cxn ang="0">
                  <a:pos x="T2" y="T3"/>
                </a:cxn>
                <a:cxn ang="0">
                  <a:pos x="T4" y="T5"/>
                </a:cxn>
                <a:cxn ang="0">
                  <a:pos x="T6" y="T7"/>
                </a:cxn>
                <a:cxn ang="0">
                  <a:pos x="T8" y="T9"/>
                </a:cxn>
                <a:cxn ang="0">
                  <a:pos x="T10" y="T11"/>
                </a:cxn>
                <a:cxn ang="0">
                  <a:pos x="T12" y="T13"/>
                </a:cxn>
              </a:cxnLst>
              <a:rect l="0" t="0" r="r" b="b"/>
              <a:pathLst>
                <a:path w="607" h="103">
                  <a:moveTo>
                    <a:pt x="607" y="51"/>
                  </a:moveTo>
                  <a:cubicBezTo>
                    <a:pt x="607" y="80"/>
                    <a:pt x="577" y="103"/>
                    <a:pt x="540" y="103"/>
                  </a:cubicBezTo>
                  <a:lnTo>
                    <a:pt x="67" y="103"/>
                  </a:lnTo>
                  <a:cubicBezTo>
                    <a:pt x="30" y="103"/>
                    <a:pt x="0" y="80"/>
                    <a:pt x="0" y="51"/>
                  </a:cubicBezTo>
                  <a:cubicBezTo>
                    <a:pt x="0" y="23"/>
                    <a:pt x="30" y="0"/>
                    <a:pt x="67" y="0"/>
                  </a:cubicBezTo>
                  <a:lnTo>
                    <a:pt x="540" y="0"/>
                  </a:lnTo>
                  <a:cubicBezTo>
                    <a:pt x="577" y="0"/>
                    <a:pt x="607" y="23"/>
                    <a:pt x="607" y="51"/>
                  </a:cubicBezTo>
                  <a:close/>
                </a:path>
              </a:pathLst>
            </a:custGeom>
            <a:solidFill>
              <a:srgbClr val="E0301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6" name="Freeform 1543">
              <a:extLst>
                <a:ext uri="{FF2B5EF4-FFF2-40B4-BE49-F238E27FC236}">
                  <a16:creationId xmlns:a16="http://schemas.microsoft.com/office/drawing/2014/main" id="{C9379FBC-886D-8F1C-1D77-07CB59FD95F4}"/>
                </a:ext>
              </a:extLst>
            </p:cNvPr>
            <p:cNvSpPr>
              <a:spLocks/>
            </p:cNvSpPr>
            <p:nvPr/>
          </p:nvSpPr>
          <p:spPr bwMode="auto">
            <a:xfrm>
              <a:off x="5953918" y="5851177"/>
              <a:ext cx="311150" cy="92075"/>
            </a:xfrm>
            <a:custGeom>
              <a:avLst/>
              <a:gdLst>
                <a:gd name="T0" fmla="*/ 344 w 344"/>
                <a:gd name="T1" fmla="*/ 0 h 103"/>
                <a:gd name="T2" fmla="*/ 172 w 344"/>
                <a:gd name="T3" fmla="*/ 103 h 103"/>
                <a:gd name="T4" fmla="*/ 0 w 344"/>
                <a:gd name="T5" fmla="*/ 0 h 103"/>
                <a:gd name="T6" fmla="*/ 344 w 344"/>
                <a:gd name="T7" fmla="*/ 0 h 103"/>
              </a:gdLst>
              <a:ahLst/>
              <a:cxnLst>
                <a:cxn ang="0">
                  <a:pos x="T0" y="T1"/>
                </a:cxn>
                <a:cxn ang="0">
                  <a:pos x="T2" y="T3"/>
                </a:cxn>
                <a:cxn ang="0">
                  <a:pos x="T4" y="T5"/>
                </a:cxn>
                <a:cxn ang="0">
                  <a:pos x="T6" y="T7"/>
                </a:cxn>
              </a:cxnLst>
              <a:rect l="0" t="0" r="r" b="b"/>
              <a:pathLst>
                <a:path w="344" h="103">
                  <a:moveTo>
                    <a:pt x="344" y="0"/>
                  </a:moveTo>
                  <a:cubicBezTo>
                    <a:pt x="344" y="57"/>
                    <a:pt x="267" y="103"/>
                    <a:pt x="172" y="103"/>
                  </a:cubicBezTo>
                  <a:cubicBezTo>
                    <a:pt x="77" y="103"/>
                    <a:pt x="0" y="57"/>
                    <a:pt x="0" y="0"/>
                  </a:cubicBezTo>
                  <a:lnTo>
                    <a:pt x="344" y="0"/>
                  </a:lnTo>
                  <a:close/>
                </a:path>
              </a:pathLst>
            </a:custGeom>
            <a:solidFill>
              <a:srgbClr val="E0301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27" name="Freeform 1544">
              <a:extLst>
                <a:ext uri="{FF2B5EF4-FFF2-40B4-BE49-F238E27FC236}">
                  <a16:creationId xmlns:a16="http://schemas.microsoft.com/office/drawing/2014/main" id="{0CB2CD13-524C-0F06-98EB-405F369D4E9C}"/>
                </a:ext>
              </a:extLst>
            </p:cNvPr>
            <p:cNvSpPr>
              <a:spLocks noEditPoints="1"/>
            </p:cNvSpPr>
            <p:nvPr/>
          </p:nvSpPr>
          <p:spPr bwMode="auto">
            <a:xfrm>
              <a:off x="5203031" y="3314352"/>
              <a:ext cx="1817688" cy="2184400"/>
            </a:xfrm>
            <a:custGeom>
              <a:avLst/>
              <a:gdLst>
                <a:gd name="T0" fmla="*/ 1379 w 2010"/>
                <a:gd name="T1" fmla="*/ 1453 h 2416"/>
                <a:gd name="T2" fmla="*/ 1257 w 2010"/>
                <a:gd name="T3" fmla="*/ 1616 h 2416"/>
                <a:gd name="T4" fmla="*/ 1100 w 2010"/>
                <a:gd name="T5" fmla="*/ 1847 h 2416"/>
                <a:gd name="T6" fmla="*/ 1018 w 2010"/>
                <a:gd name="T7" fmla="*/ 1847 h 2416"/>
                <a:gd name="T8" fmla="*/ 991 w 2010"/>
                <a:gd name="T9" fmla="*/ 1847 h 2416"/>
                <a:gd name="T10" fmla="*/ 908 w 2010"/>
                <a:gd name="T11" fmla="*/ 1847 h 2416"/>
                <a:gd name="T12" fmla="*/ 751 w 2010"/>
                <a:gd name="T13" fmla="*/ 1616 h 2416"/>
                <a:gd name="T14" fmla="*/ 625 w 2010"/>
                <a:gd name="T15" fmla="*/ 1449 h 2416"/>
                <a:gd name="T16" fmla="*/ 601 w 2010"/>
                <a:gd name="T17" fmla="*/ 1422 h 2416"/>
                <a:gd name="T18" fmla="*/ 599 w 2010"/>
                <a:gd name="T19" fmla="*/ 1420 h 2416"/>
                <a:gd name="T20" fmla="*/ 600 w 2010"/>
                <a:gd name="T21" fmla="*/ 1420 h 2416"/>
                <a:gd name="T22" fmla="*/ 461 w 2010"/>
                <a:gd name="T23" fmla="*/ 1034 h 2416"/>
                <a:gd name="T24" fmla="*/ 1005 w 2010"/>
                <a:gd name="T25" fmla="*/ 455 h 2416"/>
                <a:gd name="T26" fmla="*/ 1549 w 2010"/>
                <a:gd name="T27" fmla="*/ 1034 h 2416"/>
                <a:gd name="T28" fmla="*/ 1379 w 2010"/>
                <a:gd name="T29" fmla="*/ 1453 h 2416"/>
                <a:gd name="T30" fmla="*/ 1005 w 2010"/>
                <a:gd name="T31" fmla="*/ 0 h 2416"/>
                <a:gd name="T32" fmla="*/ 0 w 2010"/>
                <a:gd name="T33" fmla="*/ 1004 h 2416"/>
                <a:gd name="T34" fmla="*/ 256 w 2010"/>
                <a:gd name="T35" fmla="*/ 1675 h 2416"/>
                <a:gd name="T36" fmla="*/ 256 w 2010"/>
                <a:gd name="T37" fmla="*/ 1675 h 2416"/>
                <a:gd name="T38" fmla="*/ 260 w 2010"/>
                <a:gd name="T39" fmla="*/ 1679 h 2416"/>
                <a:gd name="T40" fmla="*/ 304 w 2010"/>
                <a:gd name="T41" fmla="*/ 1725 h 2416"/>
                <a:gd name="T42" fmla="*/ 537 w 2010"/>
                <a:gd name="T43" fmla="*/ 2015 h 2416"/>
                <a:gd name="T44" fmla="*/ 827 w 2010"/>
                <a:gd name="T45" fmla="*/ 2416 h 2416"/>
                <a:gd name="T46" fmla="*/ 979 w 2010"/>
                <a:gd name="T47" fmla="*/ 2416 h 2416"/>
                <a:gd name="T48" fmla="*/ 1030 w 2010"/>
                <a:gd name="T49" fmla="*/ 2416 h 2416"/>
                <a:gd name="T50" fmla="*/ 1181 w 2010"/>
                <a:gd name="T51" fmla="*/ 2416 h 2416"/>
                <a:gd name="T52" fmla="*/ 1472 w 2010"/>
                <a:gd name="T53" fmla="*/ 2015 h 2416"/>
                <a:gd name="T54" fmla="*/ 1697 w 2010"/>
                <a:gd name="T55" fmla="*/ 1733 h 2416"/>
                <a:gd name="T56" fmla="*/ 2010 w 2010"/>
                <a:gd name="T57" fmla="*/ 1004 h 2416"/>
                <a:gd name="T58" fmla="*/ 1005 w 2010"/>
                <a:gd name="T59" fmla="*/ 0 h 2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10" h="2416">
                  <a:moveTo>
                    <a:pt x="1379" y="1453"/>
                  </a:moveTo>
                  <a:cubicBezTo>
                    <a:pt x="1346" y="1491"/>
                    <a:pt x="1294" y="1554"/>
                    <a:pt x="1257" y="1616"/>
                  </a:cubicBezTo>
                  <a:cubicBezTo>
                    <a:pt x="1202" y="1711"/>
                    <a:pt x="1230" y="1847"/>
                    <a:pt x="1100" y="1847"/>
                  </a:cubicBezTo>
                  <a:lnTo>
                    <a:pt x="1018" y="1847"/>
                  </a:lnTo>
                  <a:lnTo>
                    <a:pt x="991" y="1847"/>
                  </a:lnTo>
                  <a:lnTo>
                    <a:pt x="908" y="1847"/>
                  </a:lnTo>
                  <a:cubicBezTo>
                    <a:pt x="779" y="1847"/>
                    <a:pt x="807" y="1711"/>
                    <a:pt x="751" y="1616"/>
                  </a:cubicBezTo>
                  <a:cubicBezTo>
                    <a:pt x="714" y="1551"/>
                    <a:pt x="658" y="1485"/>
                    <a:pt x="625" y="1449"/>
                  </a:cubicBezTo>
                  <a:cubicBezTo>
                    <a:pt x="617" y="1440"/>
                    <a:pt x="609" y="1431"/>
                    <a:pt x="601" y="1422"/>
                  </a:cubicBezTo>
                  <a:cubicBezTo>
                    <a:pt x="600" y="1421"/>
                    <a:pt x="599" y="1420"/>
                    <a:pt x="599" y="1420"/>
                  </a:cubicBezTo>
                  <a:lnTo>
                    <a:pt x="600" y="1420"/>
                  </a:lnTo>
                  <a:cubicBezTo>
                    <a:pt x="513" y="1317"/>
                    <a:pt x="461" y="1182"/>
                    <a:pt x="461" y="1034"/>
                  </a:cubicBezTo>
                  <a:cubicBezTo>
                    <a:pt x="461" y="714"/>
                    <a:pt x="704" y="455"/>
                    <a:pt x="1005" y="455"/>
                  </a:cubicBezTo>
                  <a:cubicBezTo>
                    <a:pt x="1305" y="455"/>
                    <a:pt x="1549" y="714"/>
                    <a:pt x="1549" y="1034"/>
                  </a:cubicBezTo>
                  <a:cubicBezTo>
                    <a:pt x="1549" y="1199"/>
                    <a:pt x="1484" y="1348"/>
                    <a:pt x="1379" y="1453"/>
                  </a:cubicBezTo>
                  <a:close/>
                  <a:moveTo>
                    <a:pt x="1005" y="0"/>
                  </a:moveTo>
                  <a:cubicBezTo>
                    <a:pt x="450" y="0"/>
                    <a:pt x="0" y="449"/>
                    <a:pt x="0" y="1004"/>
                  </a:cubicBezTo>
                  <a:cubicBezTo>
                    <a:pt x="0" y="1262"/>
                    <a:pt x="97" y="1497"/>
                    <a:pt x="256" y="1675"/>
                  </a:cubicBezTo>
                  <a:lnTo>
                    <a:pt x="256" y="1675"/>
                  </a:lnTo>
                  <a:cubicBezTo>
                    <a:pt x="256" y="1675"/>
                    <a:pt x="257" y="1677"/>
                    <a:pt x="260" y="1679"/>
                  </a:cubicBezTo>
                  <a:cubicBezTo>
                    <a:pt x="274" y="1695"/>
                    <a:pt x="289" y="1710"/>
                    <a:pt x="304" y="1725"/>
                  </a:cubicBezTo>
                  <a:cubicBezTo>
                    <a:pt x="364" y="1788"/>
                    <a:pt x="467" y="1903"/>
                    <a:pt x="537" y="2015"/>
                  </a:cubicBezTo>
                  <a:cubicBezTo>
                    <a:pt x="640" y="2182"/>
                    <a:pt x="588" y="2416"/>
                    <a:pt x="827" y="2416"/>
                  </a:cubicBezTo>
                  <a:lnTo>
                    <a:pt x="979" y="2416"/>
                  </a:lnTo>
                  <a:lnTo>
                    <a:pt x="1030" y="2416"/>
                  </a:lnTo>
                  <a:lnTo>
                    <a:pt x="1181" y="2416"/>
                  </a:lnTo>
                  <a:cubicBezTo>
                    <a:pt x="1420" y="2416"/>
                    <a:pt x="1369" y="2182"/>
                    <a:pt x="1472" y="2015"/>
                  </a:cubicBezTo>
                  <a:cubicBezTo>
                    <a:pt x="1538" y="1908"/>
                    <a:pt x="1636" y="1798"/>
                    <a:pt x="1697" y="1733"/>
                  </a:cubicBezTo>
                  <a:cubicBezTo>
                    <a:pt x="1889" y="1550"/>
                    <a:pt x="2010" y="1291"/>
                    <a:pt x="2010" y="1004"/>
                  </a:cubicBezTo>
                  <a:cubicBezTo>
                    <a:pt x="2010" y="449"/>
                    <a:pt x="1560" y="0"/>
                    <a:pt x="1005" y="0"/>
                  </a:cubicBezTo>
                  <a:close/>
                </a:path>
              </a:pathLst>
            </a:custGeom>
            <a:solidFill>
              <a:srgbClr val="FFFFFF">
                <a:lumMod val="5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
        <p:nvSpPr>
          <p:cNvPr id="49" name="Rectangle 48">
            <a:extLst>
              <a:ext uri="{FF2B5EF4-FFF2-40B4-BE49-F238E27FC236}">
                <a16:creationId xmlns:a16="http://schemas.microsoft.com/office/drawing/2014/main" id="{2EA52528-0B83-5435-152D-0761EDBA1CD4}"/>
              </a:ext>
            </a:extLst>
          </p:cNvPr>
          <p:cNvSpPr/>
          <p:nvPr/>
        </p:nvSpPr>
        <p:spPr>
          <a:xfrm>
            <a:off x="404326" y="5244136"/>
            <a:ext cx="3222317" cy="523220"/>
          </a:xfrm>
          <a:prstGeom prst="rect">
            <a:avLst/>
          </a:prstGeom>
        </p:spPr>
        <p:txBody>
          <a:bodyPr wrap="square">
            <a:spAutoFit/>
          </a:bodyPr>
          <a:lstStyle/>
          <a:p>
            <a:pPr>
              <a:spcAft>
                <a:spcPts val="600"/>
              </a:spcAft>
              <a:buSzPct val="100000"/>
            </a:pPr>
            <a:r>
              <a:rPr lang="en-US" sz="1400" dirty="0">
                <a:effectLst/>
                <a:ea typeface="Arial" panose="020B0604020202020204" pitchFamily="34" charset="0"/>
              </a:rPr>
              <a:t>Professionals dealing in Real Estate or NGO sectors</a:t>
            </a:r>
          </a:p>
        </p:txBody>
      </p:sp>
      <p:sp>
        <p:nvSpPr>
          <p:cNvPr id="50" name="Rectangle 49">
            <a:extLst>
              <a:ext uri="{FF2B5EF4-FFF2-40B4-BE49-F238E27FC236}">
                <a16:creationId xmlns:a16="http://schemas.microsoft.com/office/drawing/2014/main" id="{CA737CD9-6B3A-DD17-CA93-7B5C7BDE73E1}"/>
              </a:ext>
            </a:extLst>
          </p:cNvPr>
          <p:cNvSpPr/>
          <p:nvPr/>
        </p:nvSpPr>
        <p:spPr>
          <a:xfrm>
            <a:off x="404327" y="3739004"/>
            <a:ext cx="2746068" cy="738664"/>
          </a:xfrm>
          <a:prstGeom prst="rect">
            <a:avLst/>
          </a:prstGeom>
        </p:spPr>
        <p:txBody>
          <a:bodyPr wrap="square">
            <a:spAutoFit/>
          </a:bodyPr>
          <a:lstStyle/>
          <a:p>
            <a:pPr>
              <a:spcAft>
                <a:spcPts val="600"/>
              </a:spcAft>
              <a:buSzPct val="100000"/>
            </a:pPr>
            <a:r>
              <a:rPr lang="en-US" sz="1400" dirty="0">
                <a:ea typeface="Arial" panose="020B0604020202020204" pitchFamily="34" charset="0"/>
              </a:rPr>
              <a:t>Professionals whose majority of fees comes from clients in the notified activities</a:t>
            </a:r>
          </a:p>
        </p:txBody>
      </p:sp>
      <p:sp>
        <p:nvSpPr>
          <p:cNvPr id="51" name="Rectangle 50">
            <a:extLst>
              <a:ext uri="{FF2B5EF4-FFF2-40B4-BE49-F238E27FC236}">
                <a16:creationId xmlns:a16="http://schemas.microsoft.com/office/drawing/2014/main" id="{8A7A5388-6E47-B03E-4629-D5C3DDB2B980}"/>
              </a:ext>
            </a:extLst>
          </p:cNvPr>
          <p:cNvSpPr/>
          <p:nvPr/>
        </p:nvSpPr>
        <p:spPr>
          <a:xfrm>
            <a:off x="404326" y="2223100"/>
            <a:ext cx="3314393" cy="307777"/>
          </a:xfrm>
          <a:prstGeom prst="rect">
            <a:avLst/>
          </a:prstGeom>
        </p:spPr>
        <p:txBody>
          <a:bodyPr wrap="square">
            <a:spAutoFit/>
          </a:bodyPr>
          <a:lstStyle/>
          <a:p>
            <a:pPr>
              <a:spcAft>
                <a:spcPts val="600"/>
              </a:spcAft>
              <a:buSzPct val="100000"/>
            </a:pPr>
            <a:r>
              <a:rPr lang="en-US" sz="1400" dirty="0">
                <a:ea typeface="Arial" panose="020B0604020202020204" pitchFamily="34" charset="0"/>
              </a:rPr>
              <a:t>Dealing in money of clients.</a:t>
            </a:r>
            <a:endParaRPr lang="en-US" sz="1400" dirty="0">
              <a:effectLst/>
              <a:ea typeface="Arial" panose="020B0604020202020204" pitchFamily="34" charset="0"/>
            </a:endParaRPr>
          </a:p>
        </p:txBody>
      </p:sp>
      <p:sp>
        <p:nvSpPr>
          <p:cNvPr id="52" name="Rectangle 51">
            <a:extLst>
              <a:ext uri="{FF2B5EF4-FFF2-40B4-BE49-F238E27FC236}">
                <a16:creationId xmlns:a16="http://schemas.microsoft.com/office/drawing/2014/main" id="{20C3E68F-5D6B-CCC9-2FDE-2360F3F5BC14}"/>
              </a:ext>
            </a:extLst>
          </p:cNvPr>
          <p:cNvSpPr/>
          <p:nvPr/>
        </p:nvSpPr>
        <p:spPr>
          <a:xfrm>
            <a:off x="8526619" y="5360702"/>
            <a:ext cx="3261054" cy="523220"/>
          </a:xfrm>
          <a:prstGeom prst="rect">
            <a:avLst/>
          </a:prstGeom>
        </p:spPr>
        <p:txBody>
          <a:bodyPr wrap="square">
            <a:spAutoFit/>
          </a:bodyPr>
          <a:lstStyle/>
          <a:p>
            <a:pPr algn="r">
              <a:spcAft>
                <a:spcPts val="600"/>
              </a:spcAft>
              <a:buSzPct val="100000"/>
            </a:pPr>
            <a:r>
              <a:rPr lang="en-US" sz="1400" dirty="0">
                <a:ea typeface="Arial" panose="020B0604020202020204" pitchFamily="34" charset="0"/>
              </a:rPr>
              <a:t>Providing correspondence address or administrative address</a:t>
            </a:r>
            <a:endParaRPr lang="en-US" sz="1400" dirty="0">
              <a:effectLst/>
              <a:ea typeface="Arial" panose="020B0604020202020204" pitchFamily="34" charset="0"/>
            </a:endParaRPr>
          </a:p>
        </p:txBody>
      </p:sp>
      <p:sp>
        <p:nvSpPr>
          <p:cNvPr id="53" name="Rectangle 52">
            <a:extLst>
              <a:ext uri="{FF2B5EF4-FFF2-40B4-BE49-F238E27FC236}">
                <a16:creationId xmlns:a16="http://schemas.microsoft.com/office/drawing/2014/main" id="{8FFDAE89-31F6-864E-522F-8A48629BB0D8}"/>
              </a:ext>
            </a:extLst>
          </p:cNvPr>
          <p:cNvSpPr/>
          <p:nvPr/>
        </p:nvSpPr>
        <p:spPr>
          <a:xfrm>
            <a:off x="9073188" y="4013720"/>
            <a:ext cx="2538746" cy="738664"/>
          </a:xfrm>
          <a:prstGeom prst="rect">
            <a:avLst/>
          </a:prstGeom>
        </p:spPr>
        <p:txBody>
          <a:bodyPr wrap="square">
            <a:spAutoFit/>
          </a:bodyPr>
          <a:lstStyle/>
          <a:p>
            <a:pPr algn="r">
              <a:spcAft>
                <a:spcPts val="600"/>
              </a:spcAft>
              <a:buSzPct val="100000"/>
            </a:pPr>
            <a:r>
              <a:rPr lang="en-US" sz="1400" dirty="0">
                <a:effectLst/>
                <a:ea typeface="Arial" panose="020B0604020202020204" pitchFamily="34" charset="0"/>
              </a:rPr>
              <a:t>Bookkeeping services including managing bank accounts etc.</a:t>
            </a:r>
          </a:p>
        </p:txBody>
      </p:sp>
      <p:sp>
        <p:nvSpPr>
          <p:cNvPr id="54" name="Rectangle 53">
            <a:extLst>
              <a:ext uri="{FF2B5EF4-FFF2-40B4-BE49-F238E27FC236}">
                <a16:creationId xmlns:a16="http://schemas.microsoft.com/office/drawing/2014/main" id="{178DC4A8-3DFA-98CC-4DF3-11F4DA2B0E83}"/>
              </a:ext>
            </a:extLst>
          </p:cNvPr>
          <p:cNvSpPr/>
          <p:nvPr/>
        </p:nvSpPr>
        <p:spPr>
          <a:xfrm>
            <a:off x="8526619" y="2691953"/>
            <a:ext cx="3363605" cy="307777"/>
          </a:xfrm>
          <a:prstGeom prst="rect">
            <a:avLst/>
          </a:prstGeom>
        </p:spPr>
        <p:txBody>
          <a:bodyPr wrap="square">
            <a:spAutoFit/>
          </a:bodyPr>
          <a:lstStyle/>
          <a:p>
            <a:pPr algn="r">
              <a:spcAft>
                <a:spcPts val="600"/>
              </a:spcAft>
              <a:buSzPct val="100000"/>
            </a:pPr>
            <a:r>
              <a:rPr lang="en-US" sz="1400" dirty="0">
                <a:ea typeface="Arial" panose="020B0604020202020204" pitchFamily="34" charset="0"/>
              </a:rPr>
              <a:t>Management of trusts and Companies</a:t>
            </a:r>
            <a:endParaRPr lang="en-US" sz="1400" dirty="0">
              <a:effectLst/>
              <a:ea typeface="Arial" panose="020B0604020202020204" pitchFamily="34" charset="0"/>
            </a:endParaRPr>
          </a:p>
        </p:txBody>
      </p:sp>
      <p:sp>
        <p:nvSpPr>
          <p:cNvPr id="56" name="Rectangle 55">
            <a:extLst>
              <a:ext uri="{FF2B5EF4-FFF2-40B4-BE49-F238E27FC236}">
                <a16:creationId xmlns:a16="http://schemas.microsoft.com/office/drawing/2014/main" id="{062CC770-83BE-DCC4-FDA3-4FCA52D47AD2}"/>
              </a:ext>
            </a:extLst>
          </p:cNvPr>
          <p:cNvSpPr/>
          <p:nvPr/>
        </p:nvSpPr>
        <p:spPr>
          <a:xfrm>
            <a:off x="4367869" y="5829669"/>
            <a:ext cx="411235" cy="307777"/>
          </a:xfrm>
          <a:prstGeom prst="rect">
            <a:avLst/>
          </a:prstGeom>
        </p:spPr>
        <p:txBody>
          <a:bodyPr wrap="square">
            <a:spAutoFit/>
          </a:bodyPr>
          <a:lstStyle/>
          <a:p>
            <a:pPr>
              <a:spcAft>
                <a:spcPts val="600"/>
              </a:spcAft>
              <a:buSzPct val="100000"/>
            </a:pPr>
            <a:r>
              <a:rPr lang="en-US" sz="1400" b="1" dirty="0">
                <a:solidFill>
                  <a:schemeClr val="bg1"/>
                </a:solidFill>
                <a:effectLst/>
                <a:ea typeface="Arial" panose="020B0604020202020204" pitchFamily="34" charset="0"/>
              </a:rPr>
              <a:t>01</a:t>
            </a:r>
          </a:p>
        </p:txBody>
      </p:sp>
      <p:sp>
        <p:nvSpPr>
          <p:cNvPr id="58" name="Rectangle 57">
            <a:extLst>
              <a:ext uri="{FF2B5EF4-FFF2-40B4-BE49-F238E27FC236}">
                <a16:creationId xmlns:a16="http://schemas.microsoft.com/office/drawing/2014/main" id="{C0C5C12A-6CC1-6739-0402-50049D0449C1}"/>
              </a:ext>
            </a:extLst>
          </p:cNvPr>
          <p:cNvSpPr/>
          <p:nvPr/>
        </p:nvSpPr>
        <p:spPr>
          <a:xfrm>
            <a:off x="7459561" y="5829669"/>
            <a:ext cx="411235" cy="307777"/>
          </a:xfrm>
          <a:prstGeom prst="rect">
            <a:avLst/>
          </a:prstGeom>
        </p:spPr>
        <p:txBody>
          <a:bodyPr wrap="square">
            <a:spAutoFit/>
          </a:bodyPr>
          <a:lstStyle/>
          <a:p>
            <a:pPr algn="r">
              <a:spcAft>
                <a:spcPts val="600"/>
              </a:spcAft>
              <a:buSzPct val="100000"/>
            </a:pPr>
            <a:r>
              <a:rPr lang="en-US" sz="1400" b="1" dirty="0">
                <a:solidFill>
                  <a:schemeClr val="bg1"/>
                </a:solidFill>
                <a:effectLst/>
                <a:ea typeface="Arial" panose="020B0604020202020204" pitchFamily="34" charset="0"/>
              </a:rPr>
              <a:t>07</a:t>
            </a:r>
          </a:p>
        </p:txBody>
      </p:sp>
      <p:sp>
        <p:nvSpPr>
          <p:cNvPr id="59" name="Rectangle 58">
            <a:extLst>
              <a:ext uri="{FF2B5EF4-FFF2-40B4-BE49-F238E27FC236}">
                <a16:creationId xmlns:a16="http://schemas.microsoft.com/office/drawing/2014/main" id="{E0F783C3-1496-5A8E-12A2-C50DD5A93C3D}"/>
              </a:ext>
            </a:extLst>
          </p:cNvPr>
          <p:cNvSpPr/>
          <p:nvPr/>
        </p:nvSpPr>
        <p:spPr>
          <a:xfrm>
            <a:off x="8133266" y="4240638"/>
            <a:ext cx="411235" cy="307777"/>
          </a:xfrm>
          <a:prstGeom prst="rect">
            <a:avLst/>
          </a:prstGeom>
        </p:spPr>
        <p:txBody>
          <a:bodyPr wrap="square">
            <a:spAutoFit/>
          </a:bodyPr>
          <a:lstStyle/>
          <a:p>
            <a:pPr algn="r">
              <a:spcAft>
                <a:spcPts val="600"/>
              </a:spcAft>
              <a:buSzPct val="100000"/>
            </a:pPr>
            <a:r>
              <a:rPr lang="en-US" sz="1400" b="1" dirty="0">
                <a:solidFill>
                  <a:schemeClr val="bg1"/>
                </a:solidFill>
                <a:effectLst/>
                <a:ea typeface="Arial" panose="020B0604020202020204" pitchFamily="34" charset="0"/>
              </a:rPr>
              <a:t>06</a:t>
            </a:r>
          </a:p>
        </p:txBody>
      </p:sp>
      <p:sp>
        <p:nvSpPr>
          <p:cNvPr id="61" name="Rectangle 60">
            <a:extLst>
              <a:ext uri="{FF2B5EF4-FFF2-40B4-BE49-F238E27FC236}">
                <a16:creationId xmlns:a16="http://schemas.microsoft.com/office/drawing/2014/main" id="{FFA2E290-F7A6-AD41-09B9-FC79283336F6}"/>
              </a:ext>
            </a:extLst>
          </p:cNvPr>
          <p:cNvSpPr/>
          <p:nvPr/>
        </p:nvSpPr>
        <p:spPr>
          <a:xfrm>
            <a:off x="3683867" y="4240638"/>
            <a:ext cx="411235" cy="307777"/>
          </a:xfrm>
          <a:prstGeom prst="rect">
            <a:avLst/>
          </a:prstGeom>
        </p:spPr>
        <p:txBody>
          <a:bodyPr wrap="square">
            <a:spAutoFit/>
          </a:bodyPr>
          <a:lstStyle/>
          <a:p>
            <a:pPr algn="r">
              <a:spcAft>
                <a:spcPts val="600"/>
              </a:spcAft>
              <a:buSzPct val="100000"/>
            </a:pPr>
            <a:r>
              <a:rPr lang="en-US" sz="1400" b="1" dirty="0">
                <a:solidFill>
                  <a:schemeClr val="bg1"/>
                </a:solidFill>
                <a:effectLst/>
                <a:ea typeface="Arial" panose="020B0604020202020204" pitchFamily="34" charset="0"/>
              </a:rPr>
              <a:t>02</a:t>
            </a:r>
          </a:p>
        </p:txBody>
      </p:sp>
      <p:sp>
        <p:nvSpPr>
          <p:cNvPr id="63" name="Rectangle 62">
            <a:extLst>
              <a:ext uri="{FF2B5EF4-FFF2-40B4-BE49-F238E27FC236}">
                <a16:creationId xmlns:a16="http://schemas.microsoft.com/office/drawing/2014/main" id="{418E131A-5B8D-F3D9-F73D-9EB9D74D36D8}"/>
              </a:ext>
            </a:extLst>
          </p:cNvPr>
          <p:cNvSpPr/>
          <p:nvPr/>
        </p:nvSpPr>
        <p:spPr>
          <a:xfrm>
            <a:off x="4304875" y="2628990"/>
            <a:ext cx="411235" cy="307777"/>
          </a:xfrm>
          <a:prstGeom prst="rect">
            <a:avLst/>
          </a:prstGeom>
        </p:spPr>
        <p:txBody>
          <a:bodyPr wrap="square">
            <a:spAutoFit/>
          </a:bodyPr>
          <a:lstStyle/>
          <a:p>
            <a:pPr algn="r">
              <a:spcAft>
                <a:spcPts val="600"/>
              </a:spcAft>
              <a:buSzPct val="100000"/>
            </a:pPr>
            <a:r>
              <a:rPr lang="en-US" sz="1400" b="1" dirty="0">
                <a:solidFill>
                  <a:schemeClr val="bg1"/>
                </a:solidFill>
                <a:effectLst/>
                <a:ea typeface="Arial" panose="020B0604020202020204" pitchFamily="34" charset="0"/>
              </a:rPr>
              <a:t>03</a:t>
            </a:r>
          </a:p>
        </p:txBody>
      </p:sp>
      <p:sp>
        <p:nvSpPr>
          <p:cNvPr id="128" name="Rectangle 127">
            <a:extLst>
              <a:ext uri="{FF2B5EF4-FFF2-40B4-BE49-F238E27FC236}">
                <a16:creationId xmlns:a16="http://schemas.microsoft.com/office/drawing/2014/main" id="{F97D792B-6A2C-6DC1-E352-6742D465A2FB}"/>
              </a:ext>
            </a:extLst>
          </p:cNvPr>
          <p:cNvSpPr/>
          <p:nvPr/>
        </p:nvSpPr>
        <p:spPr>
          <a:xfrm>
            <a:off x="7457728" y="2628990"/>
            <a:ext cx="411235" cy="307777"/>
          </a:xfrm>
          <a:prstGeom prst="rect">
            <a:avLst/>
          </a:prstGeom>
        </p:spPr>
        <p:txBody>
          <a:bodyPr wrap="square">
            <a:spAutoFit/>
          </a:bodyPr>
          <a:lstStyle/>
          <a:p>
            <a:pPr algn="r">
              <a:spcAft>
                <a:spcPts val="600"/>
              </a:spcAft>
              <a:buSzPct val="100000"/>
            </a:pPr>
            <a:r>
              <a:rPr lang="en-US" sz="1400" b="1" dirty="0">
                <a:solidFill>
                  <a:schemeClr val="bg1"/>
                </a:solidFill>
                <a:effectLst/>
                <a:ea typeface="Arial" panose="020B0604020202020204" pitchFamily="34" charset="0"/>
              </a:rPr>
              <a:t>05</a:t>
            </a:r>
          </a:p>
        </p:txBody>
      </p:sp>
      <p:sp>
        <p:nvSpPr>
          <p:cNvPr id="130" name="Rectangle 129">
            <a:extLst>
              <a:ext uri="{FF2B5EF4-FFF2-40B4-BE49-F238E27FC236}">
                <a16:creationId xmlns:a16="http://schemas.microsoft.com/office/drawing/2014/main" id="{70998AE0-AE9C-D7BC-D091-63CF50F31D3F}"/>
              </a:ext>
            </a:extLst>
          </p:cNvPr>
          <p:cNvSpPr/>
          <p:nvPr/>
        </p:nvSpPr>
        <p:spPr>
          <a:xfrm>
            <a:off x="5874579" y="2017664"/>
            <a:ext cx="411235" cy="307777"/>
          </a:xfrm>
          <a:prstGeom prst="rect">
            <a:avLst/>
          </a:prstGeom>
        </p:spPr>
        <p:txBody>
          <a:bodyPr wrap="square">
            <a:spAutoFit/>
          </a:bodyPr>
          <a:lstStyle/>
          <a:p>
            <a:pPr algn="r">
              <a:spcAft>
                <a:spcPts val="600"/>
              </a:spcAft>
              <a:buSzPct val="100000"/>
            </a:pPr>
            <a:r>
              <a:rPr lang="en-US" sz="1400" b="1" dirty="0">
                <a:effectLst/>
                <a:ea typeface="Arial" panose="020B0604020202020204" pitchFamily="34" charset="0"/>
              </a:rPr>
              <a:t>04</a:t>
            </a:r>
          </a:p>
        </p:txBody>
      </p:sp>
      <p:sp>
        <p:nvSpPr>
          <p:cNvPr id="6" name="Rectangle 5">
            <a:extLst>
              <a:ext uri="{FF2B5EF4-FFF2-40B4-BE49-F238E27FC236}">
                <a16:creationId xmlns:a16="http://schemas.microsoft.com/office/drawing/2014/main" id="{CDE00A04-57BA-3138-BED7-A93596B778A9}"/>
              </a:ext>
            </a:extLst>
          </p:cNvPr>
          <p:cNvSpPr/>
          <p:nvPr/>
        </p:nvSpPr>
        <p:spPr>
          <a:xfrm>
            <a:off x="4419600" y="1248824"/>
            <a:ext cx="3314393" cy="523220"/>
          </a:xfrm>
          <a:prstGeom prst="rect">
            <a:avLst/>
          </a:prstGeom>
        </p:spPr>
        <p:txBody>
          <a:bodyPr wrap="square">
            <a:spAutoFit/>
          </a:bodyPr>
          <a:lstStyle/>
          <a:p>
            <a:pPr algn="ctr">
              <a:spcAft>
                <a:spcPts val="600"/>
              </a:spcAft>
              <a:buSzPct val="100000"/>
            </a:pPr>
            <a:r>
              <a:rPr lang="en-US" sz="1400" dirty="0">
                <a:ea typeface="Arial" panose="020B0604020202020204" pitchFamily="34" charset="0"/>
              </a:rPr>
              <a:t>Exposure to clients in high/medium-high clients such as gems and jewellery</a:t>
            </a:r>
            <a:endParaRPr lang="en-US" sz="1400" dirty="0">
              <a:effectLst/>
              <a:ea typeface="Arial" panose="020B0604020202020204" pitchFamily="34" charset="0"/>
            </a:endParaRPr>
          </a:p>
        </p:txBody>
      </p:sp>
    </p:spTree>
    <p:custDataLst>
      <p:custData r:id="rId2"/>
    </p:custDataLst>
    <p:extLst>
      <p:ext uri="{BB962C8B-B14F-4D97-AF65-F5344CB8AC3E}">
        <p14:creationId xmlns:p14="http://schemas.microsoft.com/office/powerpoint/2010/main" val="22130100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4DA136-1EA4-F7C5-200C-77C4257A5B8E}"/>
              </a:ext>
            </a:extLst>
          </p:cNvPr>
          <p:cNvGraphicFramePr>
            <a:graphicFrameLocks noChangeAspect="1"/>
          </p:cNvGraphicFramePr>
          <p:nvPr>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8691" name="think-cell Slide" r:id="rId6" imgW="7772400" imgH="10058400" progId="TCLayout.ActiveDocument.1">
                  <p:embed/>
                </p:oleObj>
              </mc:Choice>
              <mc:Fallback>
                <p:oleObj name="think-cell Slide" r:id="rId6" imgW="7772400" imgH="10058400" progId="TCLayout.ActiveDocument.1">
                  <p:embed/>
                  <p:pic>
                    <p:nvPicPr>
                      <p:cNvPr id="10" name="Object 9" hidden="1">
                        <a:extLst>
                          <a:ext uri="{FF2B5EF4-FFF2-40B4-BE49-F238E27FC236}">
                            <a16:creationId xmlns:a16="http://schemas.microsoft.com/office/drawing/2014/main" id="{2D4DA136-1EA4-F7C5-200C-77C4257A5B8E}"/>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2F8DBAD9-2FB4-3D45-BD3C-AE82E5DD780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Date Placeholder 4">
            <a:extLst>
              <a:ext uri="{FF2B5EF4-FFF2-40B4-BE49-F238E27FC236}">
                <a16:creationId xmlns:a16="http://schemas.microsoft.com/office/drawing/2014/main" id="{99D8C669-2260-864E-AB40-EDF5D4FEF749}"/>
              </a:ext>
            </a:extLst>
          </p:cNvPr>
          <p:cNvSpPr>
            <a:spLocks noGrp="1"/>
          </p:cNvSpPr>
          <p:nvPr>
            <p:ph type="dt" sz="half" idx="12"/>
          </p:nvPr>
        </p:nvSpPr>
        <p:spPr>
          <a:xfrm>
            <a:off x="9984296" y="6355080"/>
            <a:ext cx="1764792" cy="137160"/>
          </a:xfrm>
        </p:spPr>
        <p:txBody>
          <a:bodyPr/>
          <a:lstStyle/>
          <a:p>
            <a:r>
              <a:rPr kumimoji="0" lang="en-IN" sz="750" i="0" u="none" strike="noStrike" kern="1200" cap="none" spc="0" normalizeH="0" baseline="0" noProof="0" dirty="0">
                <a:ln>
                  <a:noFill/>
                </a:ln>
                <a:solidFill>
                  <a:srgbClr val="000000"/>
                </a:solidFill>
                <a:effectLst/>
                <a:uLnTx/>
                <a:uFillTx/>
                <a:latin typeface="Arial"/>
                <a:ea typeface="+mn-ea"/>
                <a:cs typeface="+mn-cs"/>
              </a:rPr>
              <a:t>May</a:t>
            </a:r>
            <a:r>
              <a:rPr kumimoji="0" lang="en-IN" sz="750" b="0" i="0" u="none" strike="noStrike" kern="1200" cap="none" spc="0" normalizeH="0" baseline="0" noProof="0" dirty="0">
                <a:ln>
                  <a:noFill/>
                </a:ln>
                <a:solidFill>
                  <a:srgbClr val="000000"/>
                </a:solidFill>
                <a:effectLst/>
                <a:uLnTx/>
                <a:uFillTx/>
                <a:latin typeface="Arial"/>
                <a:ea typeface="+mn-ea"/>
                <a:cs typeface="+mn-cs"/>
              </a:rPr>
              <a:t> 2023 </a:t>
            </a:r>
            <a:endParaRPr kumimoji="0" lang="en-US"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169" name="TextBox 168">
            <a:extLst>
              <a:ext uri="{FF2B5EF4-FFF2-40B4-BE49-F238E27FC236}">
                <a16:creationId xmlns:a16="http://schemas.microsoft.com/office/drawing/2014/main" id="{20452E5A-2247-49EF-A923-10AF3F688F10}"/>
              </a:ext>
            </a:extLst>
          </p:cNvPr>
          <p:cNvSpPr txBox="1"/>
          <p:nvPr/>
        </p:nvSpPr>
        <p:spPr>
          <a:xfrm>
            <a:off x="349820" y="318107"/>
            <a:ext cx="11380218" cy="523220"/>
          </a:xfrm>
          <a:prstGeom prst="rect">
            <a:avLst/>
          </a:prstGeom>
          <a:noFill/>
        </p:spPr>
        <p:txBody>
          <a:bodyPr wrap="square">
            <a:spAutoFit/>
          </a:bodyPr>
          <a:lstStyle/>
          <a:p>
            <a:pPr lvl="0">
              <a:defRPr/>
            </a:pPr>
            <a:r>
              <a:rPr lang="en-US" sz="2800" dirty="0">
                <a:solidFill>
                  <a:srgbClr val="000000"/>
                </a:solidFill>
                <a:latin typeface="Georgia"/>
                <a:ea typeface="Georgia"/>
                <a:cs typeface="Georgia"/>
                <a:sym typeface="Georgia"/>
              </a:rPr>
              <a:t>Risk assessment for the Sector</a:t>
            </a:r>
          </a:p>
        </p:txBody>
      </p:sp>
      <p:sp>
        <p:nvSpPr>
          <p:cNvPr id="2" name="Rectangle 1">
            <a:extLst>
              <a:ext uri="{FF2B5EF4-FFF2-40B4-BE49-F238E27FC236}">
                <a16:creationId xmlns:a16="http://schemas.microsoft.com/office/drawing/2014/main" id="{D3E82E12-CB3F-8998-950F-A2D45F6DB6BF}"/>
              </a:ext>
            </a:extLst>
          </p:cNvPr>
          <p:cNvSpPr/>
          <p:nvPr/>
        </p:nvSpPr>
        <p:spPr bwMode="gray">
          <a:xfrm>
            <a:off x="0" y="0"/>
            <a:ext cx="12192000" cy="137160"/>
          </a:xfrm>
          <a:prstGeom prst="rect">
            <a:avLst/>
          </a:prstGeom>
          <a:solidFill>
            <a:schemeClr val="accent3"/>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56" name="Rectangle 55">
            <a:extLst>
              <a:ext uri="{FF2B5EF4-FFF2-40B4-BE49-F238E27FC236}">
                <a16:creationId xmlns:a16="http://schemas.microsoft.com/office/drawing/2014/main" id="{062CC770-83BE-DCC4-FDA3-4FCA52D47AD2}"/>
              </a:ext>
            </a:extLst>
          </p:cNvPr>
          <p:cNvSpPr/>
          <p:nvPr/>
        </p:nvSpPr>
        <p:spPr>
          <a:xfrm>
            <a:off x="2539069" y="5167898"/>
            <a:ext cx="411235" cy="307777"/>
          </a:xfrm>
          <a:prstGeom prst="rect">
            <a:avLst/>
          </a:prstGeom>
        </p:spPr>
        <p:txBody>
          <a:bodyPr wrap="square">
            <a:spAutoFit/>
          </a:bodyPr>
          <a:lstStyle/>
          <a:p>
            <a:pPr>
              <a:spcAft>
                <a:spcPts val="600"/>
              </a:spcAft>
              <a:buSzPct val="100000"/>
            </a:pPr>
            <a:r>
              <a:rPr lang="en-US" sz="1400" b="1" dirty="0">
                <a:solidFill>
                  <a:schemeClr val="bg1"/>
                </a:solidFill>
                <a:effectLst/>
                <a:ea typeface="Arial" panose="020B0604020202020204" pitchFamily="34" charset="0"/>
              </a:rPr>
              <a:t>01</a:t>
            </a:r>
          </a:p>
        </p:txBody>
      </p:sp>
      <p:sp>
        <p:nvSpPr>
          <p:cNvPr id="58" name="Rectangle 57">
            <a:extLst>
              <a:ext uri="{FF2B5EF4-FFF2-40B4-BE49-F238E27FC236}">
                <a16:creationId xmlns:a16="http://schemas.microsoft.com/office/drawing/2014/main" id="{C0C5C12A-6CC1-6739-0402-50049D0449C1}"/>
              </a:ext>
            </a:extLst>
          </p:cNvPr>
          <p:cNvSpPr/>
          <p:nvPr/>
        </p:nvSpPr>
        <p:spPr>
          <a:xfrm>
            <a:off x="5630761" y="5167898"/>
            <a:ext cx="411235" cy="307777"/>
          </a:xfrm>
          <a:prstGeom prst="rect">
            <a:avLst/>
          </a:prstGeom>
        </p:spPr>
        <p:txBody>
          <a:bodyPr wrap="square">
            <a:spAutoFit/>
          </a:bodyPr>
          <a:lstStyle/>
          <a:p>
            <a:pPr algn="r">
              <a:spcAft>
                <a:spcPts val="600"/>
              </a:spcAft>
              <a:buSzPct val="100000"/>
            </a:pPr>
            <a:r>
              <a:rPr lang="en-US" sz="1400" b="1" dirty="0">
                <a:solidFill>
                  <a:schemeClr val="bg1"/>
                </a:solidFill>
                <a:effectLst/>
                <a:ea typeface="Arial" panose="020B0604020202020204" pitchFamily="34" charset="0"/>
              </a:rPr>
              <a:t>07</a:t>
            </a:r>
          </a:p>
        </p:txBody>
      </p:sp>
      <p:sp>
        <p:nvSpPr>
          <p:cNvPr id="61" name="Rectangle 60">
            <a:extLst>
              <a:ext uri="{FF2B5EF4-FFF2-40B4-BE49-F238E27FC236}">
                <a16:creationId xmlns:a16="http://schemas.microsoft.com/office/drawing/2014/main" id="{FFA2E290-F7A6-AD41-09B9-FC79283336F6}"/>
              </a:ext>
            </a:extLst>
          </p:cNvPr>
          <p:cNvSpPr/>
          <p:nvPr/>
        </p:nvSpPr>
        <p:spPr>
          <a:xfrm>
            <a:off x="1855067" y="3578867"/>
            <a:ext cx="411235" cy="307777"/>
          </a:xfrm>
          <a:prstGeom prst="rect">
            <a:avLst/>
          </a:prstGeom>
        </p:spPr>
        <p:txBody>
          <a:bodyPr wrap="square">
            <a:spAutoFit/>
          </a:bodyPr>
          <a:lstStyle/>
          <a:p>
            <a:pPr algn="r">
              <a:spcAft>
                <a:spcPts val="600"/>
              </a:spcAft>
              <a:buSzPct val="100000"/>
            </a:pPr>
            <a:r>
              <a:rPr lang="en-US" sz="1400" b="1" dirty="0">
                <a:solidFill>
                  <a:schemeClr val="bg1"/>
                </a:solidFill>
                <a:effectLst/>
                <a:ea typeface="Arial" panose="020B0604020202020204" pitchFamily="34" charset="0"/>
              </a:rPr>
              <a:t>02</a:t>
            </a:r>
          </a:p>
        </p:txBody>
      </p:sp>
      <p:sp>
        <p:nvSpPr>
          <p:cNvPr id="41" name="Rectangle 40">
            <a:extLst>
              <a:ext uri="{FF2B5EF4-FFF2-40B4-BE49-F238E27FC236}">
                <a16:creationId xmlns:a16="http://schemas.microsoft.com/office/drawing/2014/main" id="{0A2CB694-90BA-442D-8AB1-9FFD38454584}"/>
              </a:ext>
            </a:extLst>
          </p:cNvPr>
          <p:cNvSpPr/>
          <p:nvPr/>
        </p:nvSpPr>
        <p:spPr bwMode="gray">
          <a:xfrm>
            <a:off x="533400" y="1271612"/>
            <a:ext cx="6795367" cy="381000"/>
          </a:xfrm>
          <a:prstGeom prst="rect">
            <a:avLst/>
          </a:prstGeom>
          <a:solidFill>
            <a:schemeClr val="accent3"/>
          </a:solidFill>
          <a:ln w="3175">
            <a:noFill/>
            <a:round/>
            <a:headEnd/>
            <a:tailEnd/>
          </a:ln>
        </p:spPr>
        <p:txBody>
          <a:bodyPr lIns="0" tIns="0" rIns="0" bIns="0" rtlCol="0" anchor="ctr"/>
          <a:lstStyle/>
          <a:p>
            <a:pPr marL="95250">
              <a:lnSpc>
                <a:spcPct val="100000"/>
              </a:lnSpc>
              <a:spcAft>
                <a:spcPts val="1200"/>
              </a:spcAft>
            </a:pPr>
            <a:r>
              <a:rPr lang="en-US" sz="1600" b="1" dirty="0">
                <a:solidFill>
                  <a:schemeClr val="bg1"/>
                </a:solidFill>
              </a:rPr>
              <a:t>Other High Risk Components – Illustrative list</a:t>
            </a:r>
          </a:p>
        </p:txBody>
      </p:sp>
      <p:sp>
        <p:nvSpPr>
          <p:cNvPr id="42" name="Rectangle 41">
            <a:extLst>
              <a:ext uri="{FF2B5EF4-FFF2-40B4-BE49-F238E27FC236}">
                <a16:creationId xmlns:a16="http://schemas.microsoft.com/office/drawing/2014/main" id="{823D9B67-368A-4361-9FCC-1BAB55CCCBBE}"/>
              </a:ext>
            </a:extLst>
          </p:cNvPr>
          <p:cNvSpPr/>
          <p:nvPr/>
        </p:nvSpPr>
        <p:spPr bwMode="gray">
          <a:xfrm>
            <a:off x="533400" y="1728812"/>
            <a:ext cx="6795367" cy="3429000"/>
          </a:xfrm>
          <a:prstGeom prst="rect">
            <a:avLst/>
          </a:prstGeom>
          <a:solidFill>
            <a:schemeClr val="bg1">
              <a:lumMod val="95000"/>
            </a:schemeClr>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43" name="TextBox 42">
            <a:extLst>
              <a:ext uri="{FF2B5EF4-FFF2-40B4-BE49-F238E27FC236}">
                <a16:creationId xmlns:a16="http://schemas.microsoft.com/office/drawing/2014/main" id="{48D90865-A8ED-45D8-AEDE-489160272BD6}"/>
              </a:ext>
            </a:extLst>
          </p:cNvPr>
          <p:cNvSpPr txBox="1"/>
          <p:nvPr/>
        </p:nvSpPr>
        <p:spPr>
          <a:xfrm>
            <a:off x="685800" y="2004826"/>
            <a:ext cx="3334730" cy="2802466"/>
          </a:xfrm>
          <a:prstGeom prst="rect">
            <a:avLst/>
          </a:prstGeom>
          <a:solidFill>
            <a:srgbClr val="FFFFFF">
              <a:lumMod val="95000"/>
            </a:srgbClr>
          </a:solidFill>
          <a:ln w="0">
            <a:noFill/>
            <a:prstDash val="solid"/>
          </a:ln>
        </p:spPr>
        <p:txBody>
          <a:bodyPr wrap="square" lIns="91440" tIns="91440" rIns="91440" bIns="91440" rtlCol="0" anchor="ctr">
            <a:noAutofit/>
          </a:bodyPr>
          <a:lstStyle/>
          <a:p>
            <a:pPr indent="-274320" algn="l">
              <a:spcAft>
                <a:spcPts val="900"/>
              </a:spcAft>
            </a:pPr>
            <a:r>
              <a:rPr lang="en-US" sz="1400" b="1" kern="0" dirty="0">
                <a:solidFill>
                  <a:srgbClr val="000000"/>
                </a:solidFill>
              </a:rPr>
              <a:t>Entity Type</a:t>
            </a:r>
          </a:p>
          <a:p>
            <a:pPr marL="285750" indent="-285750" algn="l">
              <a:spcAft>
                <a:spcPts val="900"/>
              </a:spcAft>
              <a:buFont typeface="Arial" panose="020B0604020202020204" pitchFamily="34" charset="0"/>
              <a:buChar char="•"/>
            </a:pPr>
            <a:r>
              <a:rPr lang="en-US" sz="1400" kern="0" dirty="0">
                <a:solidFill>
                  <a:srgbClr val="000000"/>
                </a:solidFill>
              </a:rPr>
              <a:t>Trusts</a:t>
            </a:r>
          </a:p>
          <a:p>
            <a:pPr marL="285750" indent="-285750" algn="l">
              <a:spcAft>
                <a:spcPts val="900"/>
              </a:spcAft>
              <a:buFont typeface="Arial" panose="020B0604020202020204" pitchFamily="34" charset="0"/>
              <a:buChar char="•"/>
            </a:pPr>
            <a:r>
              <a:rPr lang="en-US" sz="1400" kern="0" dirty="0">
                <a:solidFill>
                  <a:srgbClr val="000000"/>
                </a:solidFill>
              </a:rPr>
              <a:t>Charities</a:t>
            </a:r>
          </a:p>
          <a:p>
            <a:pPr marL="285750" indent="-285750" algn="l">
              <a:spcAft>
                <a:spcPts val="900"/>
              </a:spcAft>
              <a:buFont typeface="Arial" panose="020B0604020202020204" pitchFamily="34" charset="0"/>
              <a:buChar char="•"/>
            </a:pPr>
            <a:r>
              <a:rPr lang="en-US" sz="1400" kern="0" dirty="0">
                <a:solidFill>
                  <a:srgbClr val="000000"/>
                </a:solidFill>
              </a:rPr>
              <a:t>NGOs and Organizations receiving donations</a:t>
            </a:r>
          </a:p>
          <a:p>
            <a:pPr marL="285750" indent="-285750" algn="l">
              <a:spcAft>
                <a:spcPts val="900"/>
              </a:spcAft>
              <a:buFont typeface="Arial" panose="020B0604020202020204" pitchFamily="34" charset="0"/>
              <a:buChar char="•"/>
            </a:pPr>
            <a:r>
              <a:rPr lang="en-US" sz="1400" kern="0" dirty="0">
                <a:solidFill>
                  <a:srgbClr val="000000"/>
                </a:solidFill>
              </a:rPr>
              <a:t>Family-Owned Business</a:t>
            </a:r>
          </a:p>
          <a:p>
            <a:pPr marL="285750" indent="-285750" algn="l">
              <a:spcAft>
                <a:spcPts val="900"/>
              </a:spcAft>
              <a:buFont typeface="Arial" panose="020B0604020202020204" pitchFamily="34" charset="0"/>
              <a:buChar char="•"/>
            </a:pPr>
            <a:r>
              <a:rPr lang="en-US" sz="1400" kern="0" dirty="0">
                <a:solidFill>
                  <a:srgbClr val="000000"/>
                </a:solidFill>
              </a:rPr>
              <a:t>Firms with sleeping partners</a:t>
            </a:r>
          </a:p>
          <a:p>
            <a:pPr marL="285750" indent="-285750" algn="l">
              <a:spcAft>
                <a:spcPts val="900"/>
              </a:spcAft>
              <a:buFont typeface="Arial" panose="020B0604020202020204" pitchFamily="34" charset="0"/>
              <a:buChar char="•"/>
            </a:pPr>
            <a:r>
              <a:rPr lang="en-US" sz="1400" kern="0" dirty="0">
                <a:solidFill>
                  <a:srgbClr val="000000"/>
                </a:solidFill>
              </a:rPr>
              <a:t>Special Purpose Vehicles (SPV)</a:t>
            </a:r>
          </a:p>
          <a:p>
            <a:pPr indent="-274320" algn="l">
              <a:spcAft>
                <a:spcPts val="900"/>
              </a:spcAft>
            </a:pPr>
            <a:endParaRPr lang="en-US" sz="1400" b="1" kern="0" dirty="0">
              <a:solidFill>
                <a:srgbClr val="000000"/>
              </a:solidFill>
            </a:endParaRPr>
          </a:p>
        </p:txBody>
      </p:sp>
      <p:sp>
        <p:nvSpPr>
          <p:cNvPr id="44" name="TextBox 43">
            <a:extLst>
              <a:ext uri="{FF2B5EF4-FFF2-40B4-BE49-F238E27FC236}">
                <a16:creationId xmlns:a16="http://schemas.microsoft.com/office/drawing/2014/main" id="{311E6E16-FDC2-4C59-BC72-ADA091C386CD}"/>
              </a:ext>
            </a:extLst>
          </p:cNvPr>
          <p:cNvSpPr txBox="1"/>
          <p:nvPr/>
        </p:nvSpPr>
        <p:spPr>
          <a:xfrm>
            <a:off x="4172931" y="1892531"/>
            <a:ext cx="3045540" cy="2802466"/>
          </a:xfrm>
          <a:prstGeom prst="rect">
            <a:avLst/>
          </a:prstGeom>
          <a:noFill/>
          <a:ln w="0">
            <a:noFill/>
            <a:prstDash val="solid"/>
          </a:ln>
        </p:spPr>
        <p:txBody>
          <a:bodyPr wrap="square" lIns="91440" tIns="91440" rIns="91440" bIns="91440" rtlCol="0" anchor="ctr">
            <a:noAutofit/>
          </a:bodyPr>
          <a:lstStyle/>
          <a:p>
            <a:pPr indent="-274320" algn="l">
              <a:spcAft>
                <a:spcPts val="900"/>
              </a:spcAft>
            </a:pPr>
            <a:r>
              <a:rPr lang="en-US" sz="1400" b="1" kern="0" dirty="0">
                <a:solidFill>
                  <a:srgbClr val="000000"/>
                </a:solidFill>
              </a:rPr>
              <a:t>Others</a:t>
            </a:r>
          </a:p>
          <a:p>
            <a:pPr marL="285750" indent="-285750" algn="l">
              <a:spcAft>
                <a:spcPts val="900"/>
              </a:spcAft>
              <a:buFont typeface="Arial" panose="020B0604020202020204" pitchFamily="34" charset="0"/>
              <a:buChar char="•"/>
            </a:pPr>
            <a:r>
              <a:rPr lang="en-US" sz="1400" dirty="0">
                <a:solidFill>
                  <a:srgbClr val="000000"/>
                </a:solidFill>
                <a:effectLst/>
                <a:ea typeface="Times New Roman" panose="02020603050405020304" pitchFamily="18" charset="0"/>
                <a:cs typeface="Calibri" panose="020F0502020204030204" pitchFamily="34" charset="0"/>
              </a:rPr>
              <a:t>NRI - Non-Resident of India</a:t>
            </a:r>
          </a:p>
          <a:p>
            <a:pPr marL="285750" indent="-285750" algn="l">
              <a:spcAft>
                <a:spcPts val="900"/>
              </a:spcAft>
              <a:buFont typeface="Arial" panose="020B0604020202020204" pitchFamily="34" charset="0"/>
              <a:buChar char="•"/>
            </a:pPr>
            <a:r>
              <a:rPr lang="en-US" sz="1400" dirty="0">
                <a:solidFill>
                  <a:srgbClr val="000000"/>
                </a:solidFill>
                <a:effectLst/>
                <a:ea typeface="Times New Roman" panose="02020603050405020304" pitchFamily="18" charset="0"/>
                <a:cs typeface="Calibri" panose="020F0502020204030204" pitchFamily="34" charset="0"/>
              </a:rPr>
              <a:t>High Net Worth Individuals </a:t>
            </a:r>
            <a:endParaRPr lang="en-US" sz="1400" dirty="0">
              <a:solidFill>
                <a:srgbClr val="000000"/>
              </a:solidFill>
              <a:ea typeface="Times New Roman" panose="02020603050405020304" pitchFamily="18" charset="0"/>
              <a:cs typeface="Calibri" panose="020F0502020204030204" pitchFamily="34" charset="0"/>
            </a:endParaRPr>
          </a:p>
          <a:p>
            <a:pPr marL="285750" indent="-285750" algn="l">
              <a:spcAft>
                <a:spcPts val="900"/>
              </a:spcAft>
              <a:buFont typeface="Arial" panose="020B0604020202020204" pitchFamily="34" charset="0"/>
              <a:buChar char="•"/>
            </a:pPr>
            <a:r>
              <a:rPr lang="en-US" sz="1400" dirty="0">
                <a:solidFill>
                  <a:srgbClr val="000000"/>
                </a:solidFill>
                <a:effectLst/>
                <a:ea typeface="Times New Roman" panose="02020603050405020304" pitchFamily="18" charset="0"/>
                <a:cs typeface="Calibri" panose="020F0502020204030204" pitchFamily="34" charset="0"/>
              </a:rPr>
              <a:t>PEP/Related Close Associate</a:t>
            </a:r>
          </a:p>
          <a:p>
            <a:pPr marL="285750" indent="-285750" algn="l">
              <a:spcAft>
                <a:spcPts val="900"/>
              </a:spcAft>
              <a:buFont typeface="Arial" panose="020B0604020202020204" pitchFamily="34" charset="0"/>
              <a:buChar char="•"/>
            </a:pPr>
            <a:r>
              <a:rPr lang="en-US" sz="1400" dirty="0">
                <a:solidFill>
                  <a:srgbClr val="000000"/>
                </a:solidFill>
                <a:effectLst/>
                <a:ea typeface="Times New Roman" panose="02020603050405020304" pitchFamily="18" charset="0"/>
                <a:cs typeface="Calibri" panose="020F0502020204030204" pitchFamily="34" charset="0"/>
              </a:rPr>
              <a:t>Negative Media - True Alert</a:t>
            </a:r>
            <a:endParaRPr lang="en-US" sz="1400" dirty="0">
              <a:solidFill>
                <a:srgbClr val="000000"/>
              </a:solidFill>
              <a:ea typeface="Times New Roman" panose="02020603050405020304" pitchFamily="18" charset="0"/>
              <a:cs typeface="Calibri" panose="020F0502020204030204" pitchFamily="34" charset="0"/>
            </a:endParaRPr>
          </a:p>
          <a:p>
            <a:pPr marL="285750" indent="-285750" algn="l">
              <a:spcAft>
                <a:spcPts val="900"/>
              </a:spcAft>
              <a:buFont typeface="Arial" panose="020B0604020202020204" pitchFamily="34" charset="0"/>
              <a:buChar char="•"/>
            </a:pPr>
            <a:r>
              <a:rPr lang="en-US" sz="1400" dirty="0">
                <a:solidFill>
                  <a:srgbClr val="000000"/>
                </a:solidFill>
                <a:effectLst/>
                <a:ea typeface="Times New Roman" panose="02020603050405020304" pitchFamily="18" charset="0"/>
                <a:cs typeface="Calibri" panose="020F0502020204030204" pitchFamily="34" charset="0"/>
              </a:rPr>
              <a:t>Insufficient information provided by customer</a:t>
            </a:r>
            <a:endParaRPr lang="en-US" sz="1400" b="1" kern="0" dirty="0">
              <a:solidFill>
                <a:srgbClr val="000000"/>
              </a:solidFill>
            </a:endParaRPr>
          </a:p>
        </p:txBody>
      </p:sp>
    </p:spTree>
    <p:custDataLst>
      <p:custData r:id="rId2"/>
    </p:custDataLst>
    <p:extLst>
      <p:ext uri="{BB962C8B-B14F-4D97-AF65-F5344CB8AC3E}">
        <p14:creationId xmlns:p14="http://schemas.microsoft.com/office/powerpoint/2010/main" val="40214792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4DA136-1EA4-F7C5-200C-77C4257A5B8E}"/>
              </a:ext>
            </a:extLst>
          </p:cNvPr>
          <p:cNvGraphicFramePr>
            <a:graphicFrameLocks noChangeAspect="1"/>
          </p:cNvGraphicFramePr>
          <p:nvPr>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3574" name="think-cell Slide" r:id="rId6" imgW="7772400" imgH="10058400" progId="TCLayout.ActiveDocument.1">
                  <p:embed/>
                </p:oleObj>
              </mc:Choice>
              <mc:Fallback>
                <p:oleObj name="think-cell Slide" r:id="rId6" imgW="7772400" imgH="10058400" progId="TCLayout.ActiveDocument.1">
                  <p:embed/>
                  <p:pic>
                    <p:nvPicPr>
                      <p:cNvPr id="10" name="Object 9" hidden="1">
                        <a:extLst>
                          <a:ext uri="{FF2B5EF4-FFF2-40B4-BE49-F238E27FC236}">
                            <a16:creationId xmlns:a16="http://schemas.microsoft.com/office/drawing/2014/main" id="{2D4DA136-1EA4-F7C5-200C-77C4257A5B8E}"/>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2F8DBAD9-2FB4-3D45-BD3C-AE82E5DD780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169" name="TextBox 168">
            <a:extLst>
              <a:ext uri="{FF2B5EF4-FFF2-40B4-BE49-F238E27FC236}">
                <a16:creationId xmlns:a16="http://schemas.microsoft.com/office/drawing/2014/main" id="{20452E5A-2247-49EF-A923-10AF3F688F10}"/>
              </a:ext>
            </a:extLst>
          </p:cNvPr>
          <p:cNvSpPr txBox="1"/>
          <p:nvPr/>
        </p:nvSpPr>
        <p:spPr>
          <a:xfrm>
            <a:off x="349820" y="318107"/>
            <a:ext cx="11380218" cy="523220"/>
          </a:xfrm>
          <a:prstGeom prst="rect">
            <a:avLst/>
          </a:prstGeom>
          <a:noFill/>
        </p:spPr>
        <p:txBody>
          <a:bodyPr wrap="square">
            <a:spAutoFit/>
          </a:bodyPr>
          <a:lstStyle/>
          <a:p>
            <a:pPr lvl="0">
              <a:defRPr/>
            </a:pPr>
            <a:r>
              <a:rPr lang="en-US" sz="2800" dirty="0">
                <a:solidFill>
                  <a:srgbClr val="000000"/>
                </a:solidFill>
                <a:latin typeface="Georgia"/>
                <a:ea typeface="Georgia"/>
                <a:cs typeface="Georgia"/>
                <a:sym typeface="Georgia"/>
              </a:rPr>
              <a:t>Enhanced Due Diligence Procedure</a:t>
            </a:r>
          </a:p>
        </p:txBody>
      </p:sp>
      <p:sp>
        <p:nvSpPr>
          <p:cNvPr id="2" name="Rectangle 1">
            <a:extLst>
              <a:ext uri="{FF2B5EF4-FFF2-40B4-BE49-F238E27FC236}">
                <a16:creationId xmlns:a16="http://schemas.microsoft.com/office/drawing/2014/main" id="{D3E82E12-CB3F-8998-950F-A2D45F6DB6BF}"/>
              </a:ext>
            </a:extLst>
          </p:cNvPr>
          <p:cNvSpPr/>
          <p:nvPr/>
        </p:nvSpPr>
        <p:spPr bwMode="gray">
          <a:xfrm>
            <a:off x="0" y="0"/>
            <a:ext cx="12192000" cy="137160"/>
          </a:xfrm>
          <a:prstGeom prst="rect">
            <a:avLst/>
          </a:prstGeom>
          <a:solidFill>
            <a:schemeClr val="accent3"/>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7" name="Rectangle 6">
            <a:extLst>
              <a:ext uri="{FF2B5EF4-FFF2-40B4-BE49-F238E27FC236}">
                <a16:creationId xmlns:a16="http://schemas.microsoft.com/office/drawing/2014/main" id="{07F9E398-83F5-6639-8E30-89DDFB0903E3}"/>
              </a:ext>
            </a:extLst>
          </p:cNvPr>
          <p:cNvSpPr/>
          <p:nvPr/>
        </p:nvSpPr>
        <p:spPr bwMode="gray">
          <a:xfrm>
            <a:off x="442913" y="1181100"/>
            <a:ext cx="11306175" cy="952500"/>
          </a:xfrm>
          <a:prstGeom prst="rect">
            <a:avLst/>
          </a:prstGeom>
          <a:solidFill>
            <a:srgbClr val="2D2D2D"/>
          </a:solidFill>
          <a:ln w="3175">
            <a:noFill/>
            <a:round/>
            <a:headEnd/>
            <a:tailEnd/>
          </a:ln>
        </p:spPr>
        <p:txBody>
          <a:bodyPr lIns="0" tIns="0" rIns="0" bIns="0" rtlCol="0" anchor="ctr"/>
          <a:lstStyle/>
          <a:p>
            <a:pPr marL="95250" marR="0" lvl="0" algn="l" rtl="0">
              <a:spcBef>
                <a:spcPts val="0"/>
              </a:spcBef>
              <a:spcAft>
                <a:spcPts val="0"/>
              </a:spcAft>
              <a:buNone/>
            </a:pPr>
            <a:r>
              <a:rPr lang="en-GB" sz="1400" dirty="0">
                <a:solidFill>
                  <a:schemeClr val="bg1"/>
                </a:solidFill>
                <a:effectLst/>
                <a:ea typeface="Calibri" panose="020F0502020204030204" pitchFamily="34" charset="0"/>
                <a:cs typeface="Times New Roman" panose="02020603050405020304" pitchFamily="18" charset="0"/>
              </a:rPr>
              <a:t>Enhanced due diligence (EDD) is a step-up KYC process that provides a greater level of scrutiny to the customers who are deemed to be high risk.  EDD procedures are performed on higher-risk clients, business relationships and transactions. In the case of EDD, the following are the additional steps that need to be performed.</a:t>
            </a:r>
            <a:endParaRPr lang="en-US" sz="1400" dirty="0">
              <a:solidFill>
                <a:schemeClr val="bg1"/>
              </a:solidFill>
            </a:endParaRPr>
          </a:p>
        </p:txBody>
      </p:sp>
      <p:sp>
        <p:nvSpPr>
          <p:cNvPr id="8" name="Google Shape;204;p18">
            <a:extLst>
              <a:ext uri="{FF2B5EF4-FFF2-40B4-BE49-F238E27FC236}">
                <a16:creationId xmlns:a16="http://schemas.microsoft.com/office/drawing/2014/main" id="{3F31DCC2-0190-15A7-120D-276CFF792582}"/>
              </a:ext>
            </a:extLst>
          </p:cNvPr>
          <p:cNvSpPr/>
          <p:nvPr/>
        </p:nvSpPr>
        <p:spPr>
          <a:xfrm>
            <a:off x="440436" y="2585832"/>
            <a:ext cx="3500156" cy="1758264"/>
          </a:xfrm>
          <a:custGeom>
            <a:avLst/>
            <a:gdLst/>
            <a:ahLst/>
            <a:cxnLst/>
            <a:rect l="l" t="t" r="r" b="b"/>
            <a:pathLst>
              <a:path w="465" h="233" extrusionOk="0">
                <a:moveTo>
                  <a:pt x="233" y="0"/>
                </a:moveTo>
                <a:cubicBezTo>
                  <a:pt x="104" y="0"/>
                  <a:pt x="0" y="104"/>
                  <a:pt x="0" y="233"/>
                </a:cubicBezTo>
                <a:cubicBezTo>
                  <a:pt x="465" y="233"/>
                  <a:pt x="465" y="233"/>
                  <a:pt x="465" y="233"/>
                </a:cubicBezTo>
                <a:cubicBezTo>
                  <a:pt x="465" y="104"/>
                  <a:pt x="361" y="0"/>
                  <a:pt x="233" y="0"/>
                </a:cubicBezTo>
                <a:close/>
              </a:path>
            </a:pathLst>
          </a:custGeom>
          <a:solidFill>
            <a:schemeClr val="accent3"/>
          </a:solidFill>
          <a:ln w="9525"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Arial" panose="020B0604020202020204" pitchFamily="34" charset="0"/>
              <a:ea typeface="Calibri"/>
              <a:cs typeface="Arial" panose="020B0604020202020204" pitchFamily="34" charset="0"/>
              <a:sym typeface="Calibri"/>
            </a:endParaRPr>
          </a:p>
        </p:txBody>
      </p:sp>
      <p:sp>
        <p:nvSpPr>
          <p:cNvPr id="9" name="Google Shape;205;p18">
            <a:extLst>
              <a:ext uri="{FF2B5EF4-FFF2-40B4-BE49-F238E27FC236}">
                <a16:creationId xmlns:a16="http://schemas.microsoft.com/office/drawing/2014/main" id="{492E00F7-EE4E-8E70-FF24-7E04EA13D8F4}"/>
              </a:ext>
            </a:extLst>
          </p:cNvPr>
          <p:cNvSpPr txBox="1"/>
          <p:nvPr/>
        </p:nvSpPr>
        <p:spPr>
          <a:xfrm>
            <a:off x="1389388" y="3535037"/>
            <a:ext cx="1602253" cy="576748"/>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200" b="1" i="0" u="none" strike="noStrike" kern="0" cap="none" spc="0" normalizeH="0" baseline="0" noProof="0" dirty="0">
                <a:ln>
                  <a:noFill/>
                </a:ln>
                <a:solidFill>
                  <a:srgbClr val="FFFFFF"/>
                </a:solidFill>
                <a:effectLst/>
                <a:uLnTx/>
                <a:uFillTx/>
                <a:latin typeface="Arial" panose="020B0604020202020204" pitchFamily="34" charset="0"/>
                <a:ea typeface="Calibri"/>
                <a:cs typeface="Arial" panose="020B0604020202020204" pitchFamily="34" charset="0"/>
                <a:sym typeface="Calibri"/>
              </a:rPr>
              <a:t>01</a:t>
            </a:r>
            <a:endParaRPr kumimoji="0" sz="3200" b="1" i="0" u="none" strike="noStrike" kern="0" cap="none" spc="0" normalizeH="0" baseline="0" noProof="0" dirty="0">
              <a:ln>
                <a:noFill/>
              </a:ln>
              <a:solidFill>
                <a:srgbClr val="FFFFFF"/>
              </a:solidFill>
              <a:effectLst/>
              <a:uLnTx/>
              <a:uFillTx/>
              <a:latin typeface="Arial" panose="020B0604020202020204" pitchFamily="34" charset="0"/>
              <a:ea typeface="Calibri"/>
              <a:cs typeface="Arial" panose="020B0604020202020204" pitchFamily="34" charset="0"/>
              <a:sym typeface="Calibri"/>
            </a:endParaRPr>
          </a:p>
        </p:txBody>
      </p:sp>
      <p:sp>
        <p:nvSpPr>
          <p:cNvPr id="11" name="Google Shape;207;p18">
            <a:extLst>
              <a:ext uri="{FF2B5EF4-FFF2-40B4-BE49-F238E27FC236}">
                <a16:creationId xmlns:a16="http://schemas.microsoft.com/office/drawing/2014/main" id="{544D7CFF-A659-C0A4-811F-953AE59909FA}"/>
              </a:ext>
            </a:extLst>
          </p:cNvPr>
          <p:cNvSpPr/>
          <p:nvPr/>
        </p:nvSpPr>
        <p:spPr>
          <a:xfrm>
            <a:off x="4347511" y="4344094"/>
            <a:ext cx="3496976" cy="1751906"/>
          </a:xfrm>
          <a:custGeom>
            <a:avLst/>
            <a:gdLst/>
            <a:ahLst/>
            <a:cxnLst/>
            <a:rect l="l" t="t" r="r" b="b"/>
            <a:pathLst>
              <a:path w="465" h="232" extrusionOk="0">
                <a:moveTo>
                  <a:pt x="233" y="232"/>
                </a:moveTo>
                <a:cubicBezTo>
                  <a:pt x="361" y="232"/>
                  <a:pt x="465" y="128"/>
                  <a:pt x="465" y="0"/>
                </a:cubicBezTo>
                <a:cubicBezTo>
                  <a:pt x="0" y="0"/>
                  <a:pt x="0" y="0"/>
                  <a:pt x="0" y="0"/>
                </a:cubicBezTo>
                <a:cubicBezTo>
                  <a:pt x="0" y="128"/>
                  <a:pt x="104" y="232"/>
                  <a:pt x="233" y="232"/>
                </a:cubicBezTo>
                <a:close/>
              </a:path>
            </a:pathLst>
          </a:custGeom>
          <a:solidFill>
            <a:schemeClr val="accent2"/>
          </a:solidFill>
          <a:ln w="9525"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Arial" panose="020B0604020202020204" pitchFamily="34" charset="0"/>
              <a:ea typeface="Calibri"/>
              <a:cs typeface="Arial" panose="020B0604020202020204" pitchFamily="34" charset="0"/>
              <a:sym typeface="Calibri"/>
            </a:endParaRPr>
          </a:p>
        </p:txBody>
      </p:sp>
      <p:sp>
        <p:nvSpPr>
          <p:cNvPr id="12" name="Google Shape;208;p18">
            <a:extLst>
              <a:ext uri="{FF2B5EF4-FFF2-40B4-BE49-F238E27FC236}">
                <a16:creationId xmlns:a16="http://schemas.microsoft.com/office/drawing/2014/main" id="{4F0A441E-8444-FF7E-61DC-BE7F872BC08F}"/>
              </a:ext>
            </a:extLst>
          </p:cNvPr>
          <p:cNvSpPr txBox="1"/>
          <p:nvPr/>
        </p:nvSpPr>
        <p:spPr>
          <a:xfrm>
            <a:off x="5294873" y="4631207"/>
            <a:ext cx="1602253" cy="954611"/>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200" b="1" i="0" u="none" strike="noStrike" kern="0" cap="none" spc="0" normalizeH="0" baseline="0" noProof="0">
                <a:ln>
                  <a:noFill/>
                </a:ln>
                <a:effectLst/>
                <a:uLnTx/>
                <a:uFillTx/>
                <a:latin typeface="Arial" panose="020B0604020202020204" pitchFamily="34" charset="0"/>
                <a:ea typeface="Calibri"/>
                <a:cs typeface="Arial" panose="020B0604020202020204" pitchFamily="34" charset="0"/>
                <a:sym typeface="Calibri"/>
              </a:rPr>
              <a:t>02</a:t>
            </a:r>
            <a:endParaRPr kumimoji="0" sz="3200" b="1" i="0" u="none" strike="noStrike" kern="0" cap="none" spc="0" normalizeH="0" baseline="0" noProof="0">
              <a:ln>
                <a:noFill/>
              </a:ln>
              <a:effectLst/>
              <a:uLnTx/>
              <a:uFillTx/>
              <a:latin typeface="Arial" panose="020B0604020202020204" pitchFamily="34" charset="0"/>
              <a:ea typeface="Calibri"/>
              <a:cs typeface="Arial" panose="020B0604020202020204" pitchFamily="34" charset="0"/>
              <a:sym typeface="Calibri"/>
            </a:endParaRPr>
          </a:p>
        </p:txBody>
      </p:sp>
      <p:sp>
        <p:nvSpPr>
          <p:cNvPr id="14" name="Google Shape;210;p18">
            <a:extLst>
              <a:ext uri="{FF2B5EF4-FFF2-40B4-BE49-F238E27FC236}">
                <a16:creationId xmlns:a16="http://schemas.microsoft.com/office/drawing/2014/main" id="{B18D8862-4DAD-0652-5474-25DE5D47AFC3}"/>
              </a:ext>
            </a:extLst>
          </p:cNvPr>
          <p:cNvSpPr/>
          <p:nvPr/>
        </p:nvSpPr>
        <p:spPr>
          <a:xfrm>
            <a:off x="8257766" y="2585832"/>
            <a:ext cx="3493798" cy="1758264"/>
          </a:xfrm>
          <a:custGeom>
            <a:avLst/>
            <a:gdLst/>
            <a:ahLst/>
            <a:cxnLst/>
            <a:rect l="l" t="t" r="r" b="b"/>
            <a:pathLst>
              <a:path w="464" h="233" extrusionOk="0">
                <a:moveTo>
                  <a:pt x="232" y="0"/>
                </a:moveTo>
                <a:cubicBezTo>
                  <a:pt x="104" y="0"/>
                  <a:pt x="0" y="104"/>
                  <a:pt x="0" y="233"/>
                </a:cubicBezTo>
                <a:cubicBezTo>
                  <a:pt x="464" y="233"/>
                  <a:pt x="464" y="233"/>
                  <a:pt x="464" y="233"/>
                </a:cubicBezTo>
                <a:cubicBezTo>
                  <a:pt x="464" y="104"/>
                  <a:pt x="360" y="0"/>
                  <a:pt x="232" y="0"/>
                </a:cubicBezTo>
                <a:close/>
              </a:path>
            </a:pathLst>
          </a:custGeom>
          <a:solidFill>
            <a:schemeClr val="accent3"/>
          </a:solidFill>
          <a:ln w="9525"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800" b="0" i="0" u="none" strike="noStrike" kern="0" cap="none" spc="0" normalizeH="0" baseline="0" noProof="0">
              <a:ln>
                <a:noFill/>
              </a:ln>
              <a:solidFill>
                <a:srgbClr val="FFFFFF"/>
              </a:solidFill>
              <a:effectLst/>
              <a:uLnTx/>
              <a:uFillTx/>
              <a:latin typeface="Arial" panose="020B0604020202020204" pitchFamily="34" charset="0"/>
              <a:ea typeface="Calibri"/>
              <a:cs typeface="Arial" panose="020B0604020202020204" pitchFamily="34" charset="0"/>
              <a:sym typeface="Calibri"/>
            </a:endParaRPr>
          </a:p>
        </p:txBody>
      </p:sp>
      <p:sp>
        <p:nvSpPr>
          <p:cNvPr id="18" name="Google Shape;211;p18">
            <a:extLst>
              <a:ext uri="{FF2B5EF4-FFF2-40B4-BE49-F238E27FC236}">
                <a16:creationId xmlns:a16="http://schemas.microsoft.com/office/drawing/2014/main" id="{BBD9A5C4-D3BF-B05D-52DD-B1B1D181CA68}"/>
              </a:ext>
            </a:extLst>
          </p:cNvPr>
          <p:cNvSpPr txBox="1"/>
          <p:nvPr/>
        </p:nvSpPr>
        <p:spPr>
          <a:xfrm>
            <a:off x="9203539" y="3549722"/>
            <a:ext cx="1602253" cy="547378"/>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200" b="1" i="0" u="none" strike="noStrike" kern="0" cap="none" spc="0" normalizeH="0" baseline="0" noProof="0" dirty="0">
                <a:ln>
                  <a:noFill/>
                </a:ln>
                <a:solidFill>
                  <a:srgbClr val="FFFFFF"/>
                </a:solidFill>
                <a:effectLst/>
                <a:uLnTx/>
                <a:uFillTx/>
                <a:latin typeface="Arial" panose="020B0604020202020204" pitchFamily="34" charset="0"/>
                <a:ea typeface="Calibri"/>
                <a:cs typeface="Arial" panose="020B0604020202020204" pitchFamily="34" charset="0"/>
                <a:sym typeface="Calibri"/>
              </a:rPr>
              <a:t>03</a:t>
            </a:r>
            <a:endParaRPr kumimoji="0" sz="3200" b="1" i="0" u="none" strike="noStrike" kern="0" cap="none" spc="0" normalizeH="0" baseline="0" noProof="0" dirty="0">
              <a:ln>
                <a:noFill/>
              </a:ln>
              <a:solidFill>
                <a:srgbClr val="FFFFFF"/>
              </a:solidFill>
              <a:effectLst/>
              <a:uLnTx/>
              <a:uFillTx/>
              <a:latin typeface="Arial" panose="020B0604020202020204" pitchFamily="34" charset="0"/>
              <a:ea typeface="Calibri"/>
              <a:cs typeface="Arial" panose="020B0604020202020204" pitchFamily="34" charset="0"/>
              <a:sym typeface="Calibri"/>
            </a:endParaRPr>
          </a:p>
        </p:txBody>
      </p:sp>
      <p:sp>
        <p:nvSpPr>
          <p:cNvPr id="19" name="Google Shape;212;p18">
            <a:extLst>
              <a:ext uri="{FF2B5EF4-FFF2-40B4-BE49-F238E27FC236}">
                <a16:creationId xmlns:a16="http://schemas.microsoft.com/office/drawing/2014/main" id="{EDAF67DE-6D4E-1FE7-3216-4C437949D941}"/>
              </a:ext>
            </a:extLst>
          </p:cNvPr>
          <p:cNvSpPr txBox="1"/>
          <p:nvPr/>
        </p:nvSpPr>
        <p:spPr>
          <a:xfrm>
            <a:off x="449973" y="4326407"/>
            <a:ext cx="3373711" cy="896496"/>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3F3F3F"/>
              </a:buClr>
              <a:buSzPts val="1600"/>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Calibri"/>
                <a:cs typeface="Arial" panose="020B0604020202020204" pitchFamily="34" charset="0"/>
                <a:sym typeface="Calibri"/>
              </a:rPr>
              <a:t>Identify the source of funds (</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Calibri"/>
                <a:cs typeface="Arial" panose="020B0604020202020204" pitchFamily="34" charset="0"/>
                <a:sym typeface="Calibri"/>
              </a:rPr>
              <a:t>SoF</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Calibri"/>
                <a:cs typeface="Arial" panose="020B0604020202020204" pitchFamily="34" charset="0"/>
                <a:sym typeface="Calibri"/>
              </a:rPr>
              <a:t>) and source of wealth (SoW) </a:t>
            </a:r>
            <a:b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Calibri"/>
                <a:cs typeface="Arial" panose="020B0604020202020204" pitchFamily="34" charset="0"/>
                <a:sym typeface="Calibri"/>
              </a:rPr>
            </a:b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Calibri"/>
                <a:cs typeface="Arial" panose="020B0604020202020204" pitchFamily="34" charset="0"/>
                <a:sym typeface="Calibri"/>
              </a:rPr>
              <a:t>of the customer.</a:t>
            </a:r>
          </a:p>
        </p:txBody>
      </p:sp>
      <p:sp>
        <p:nvSpPr>
          <p:cNvPr id="21" name="Google Shape;213;p18">
            <a:extLst>
              <a:ext uri="{FF2B5EF4-FFF2-40B4-BE49-F238E27FC236}">
                <a16:creationId xmlns:a16="http://schemas.microsoft.com/office/drawing/2014/main" id="{1B87B016-C4C1-78E3-00B1-EA056BD49E24}"/>
              </a:ext>
            </a:extLst>
          </p:cNvPr>
          <p:cNvSpPr txBox="1"/>
          <p:nvPr/>
        </p:nvSpPr>
        <p:spPr>
          <a:xfrm>
            <a:off x="4412324" y="3172980"/>
            <a:ext cx="3373711" cy="1153427"/>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3F3F3F"/>
              </a:buClr>
              <a:buSzPts val="1600"/>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Calibri"/>
                <a:cs typeface="Arial" panose="020B0604020202020204" pitchFamily="34" charset="0"/>
                <a:sym typeface="Calibri"/>
              </a:rPr>
              <a:t>Obtain approval from the Senior Management on initiating/continuing the relationship with the customer.</a:t>
            </a:r>
          </a:p>
        </p:txBody>
      </p:sp>
      <p:sp>
        <p:nvSpPr>
          <p:cNvPr id="22" name="Google Shape;214;p18">
            <a:extLst>
              <a:ext uri="{FF2B5EF4-FFF2-40B4-BE49-F238E27FC236}">
                <a16:creationId xmlns:a16="http://schemas.microsoft.com/office/drawing/2014/main" id="{3B703543-71D4-624B-AC7B-311BA33951BF}"/>
              </a:ext>
            </a:extLst>
          </p:cNvPr>
          <p:cNvSpPr txBox="1"/>
          <p:nvPr/>
        </p:nvSpPr>
        <p:spPr>
          <a:xfrm>
            <a:off x="8305800" y="4326407"/>
            <a:ext cx="3373711" cy="1491773"/>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3F3F3F"/>
              </a:buClr>
              <a:buSzPts val="1600"/>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Calibri"/>
                <a:cs typeface="Arial" panose="020B0604020202020204" pitchFamily="34" charset="0"/>
                <a:sym typeface="Calibri"/>
              </a:rPr>
              <a:t>Retain all KYC documents, screening results and Senior Management approvals as part of the record retention policy.</a:t>
            </a:r>
          </a:p>
        </p:txBody>
      </p:sp>
      <p:sp>
        <p:nvSpPr>
          <p:cNvPr id="23" name="Google Shape;205;p18">
            <a:extLst>
              <a:ext uri="{FF2B5EF4-FFF2-40B4-BE49-F238E27FC236}">
                <a16:creationId xmlns:a16="http://schemas.microsoft.com/office/drawing/2014/main" id="{8D8ACDB0-9ECB-D802-CA5D-DC37AB14E89E}"/>
              </a:ext>
            </a:extLst>
          </p:cNvPr>
          <p:cNvSpPr txBox="1"/>
          <p:nvPr/>
        </p:nvSpPr>
        <p:spPr>
          <a:xfrm>
            <a:off x="1389388" y="3069234"/>
            <a:ext cx="1602253" cy="412582"/>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FFFFFF"/>
                </a:solidFill>
                <a:effectLst/>
                <a:uLnTx/>
                <a:uFillTx/>
                <a:latin typeface="Arial" panose="020B0604020202020204" pitchFamily="34" charset="0"/>
                <a:ea typeface="Calibri"/>
                <a:cs typeface="Arial" panose="020B0604020202020204" pitchFamily="34" charset="0"/>
                <a:sym typeface="Calibri"/>
              </a:rPr>
              <a:t>Step</a:t>
            </a:r>
            <a:endParaRPr kumimoji="0" sz="2000" b="1" i="0" u="none" strike="noStrike" kern="0" cap="none" spc="0" normalizeH="0" baseline="0" noProof="0" dirty="0">
              <a:ln>
                <a:noFill/>
              </a:ln>
              <a:solidFill>
                <a:srgbClr val="FFFFFF"/>
              </a:solidFill>
              <a:effectLst/>
              <a:uLnTx/>
              <a:uFillTx/>
              <a:latin typeface="Arial" panose="020B0604020202020204" pitchFamily="34" charset="0"/>
              <a:ea typeface="Calibri"/>
              <a:cs typeface="Arial" panose="020B0604020202020204" pitchFamily="34" charset="0"/>
              <a:sym typeface="Calibri"/>
            </a:endParaRPr>
          </a:p>
        </p:txBody>
      </p:sp>
      <p:sp>
        <p:nvSpPr>
          <p:cNvPr id="25" name="Google Shape;205;p18">
            <a:extLst>
              <a:ext uri="{FF2B5EF4-FFF2-40B4-BE49-F238E27FC236}">
                <a16:creationId xmlns:a16="http://schemas.microsoft.com/office/drawing/2014/main" id="{4D4E1ED8-7C80-0472-5EA2-063E6931D62F}"/>
              </a:ext>
            </a:extLst>
          </p:cNvPr>
          <p:cNvSpPr txBox="1"/>
          <p:nvPr/>
        </p:nvSpPr>
        <p:spPr>
          <a:xfrm>
            <a:off x="5294873" y="5161884"/>
            <a:ext cx="1602253" cy="412582"/>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effectLst/>
                <a:uLnTx/>
                <a:uFillTx/>
                <a:latin typeface="Arial" panose="020B0604020202020204" pitchFamily="34" charset="0"/>
                <a:ea typeface="Calibri"/>
                <a:cs typeface="Arial" panose="020B0604020202020204" pitchFamily="34" charset="0"/>
                <a:sym typeface="Calibri"/>
              </a:rPr>
              <a:t>Step</a:t>
            </a:r>
            <a:endParaRPr kumimoji="0" sz="2000" b="1" i="0" u="none" strike="noStrike" kern="0" cap="none" spc="0" normalizeH="0" baseline="0" noProof="0" dirty="0">
              <a:ln>
                <a:noFill/>
              </a:ln>
              <a:effectLst/>
              <a:uLnTx/>
              <a:uFillTx/>
              <a:latin typeface="Arial" panose="020B0604020202020204" pitchFamily="34" charset="0"/>
              <a:ea typeface="Calibri"/>
              <a:cs typeface="Arial" panose="020B0604020202020204" pitchFamily="34" charset="0"/>
              <a:sym typeface="Calibri"/>
            </a:endParaRPr>
          </a:p>
        </p:txBody>
      </p:sp>
      <p:sp>
        <p:nvSpPr>
          <p:cNvPr id="26" name="Google Shape;205;p18">
            <a:extLst>
              <a:ext uri="{FF2B5EF4-FFF2-40B4-BE49-F238E27FC236}">
                <a16:creationId xmlns:a16="http://schemas.microsoft.com/office/drawing/2014/main" id="{76E2CFC1-24B3-EC10-E9B0-99CBB36F23F8}"/>
              </a:ext>
            </a:extLst>
          </p:cNvPr>
          <p:cNvSpPr txBox="1"/>
          <p:nvPr/>
        </p:nvSpPr>
        <p:spPr>
          <a:xfrm>
            <a:off x="9218005" y="3069234"/>
            <a:ext cx="1602253" cy="412582"/>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FFFFFF"/>
                </a:solidFill>
                <a:effectLst/>
                <a:uLnTx/>
                <a:uFillTx/>
                <a:latin typeface="Arial" panose="020B0604020202020204" pitchFamily="34" charset="0"/>
                <a:ea typeface="Calibri"/>
                <a:cs typeface="Arial" panose="020B0604020202020204" pitchFamily="34" charset="0"/>
                <a:sym typeface="Calibri"/>
              </a:rPr>
              <a:t>Step</a:t>
            </a:r>
            <a:endParaRPr kumimoji="0" sz="2000" b="1" i="0" u="none" strike="noStrike" kern="0" cap="none" spc="0" normalizeH="0" baseline="0" noProof="0" dirty="0">
              <a:ln>
                <a:noFill/>
              </a:ln>
              <a:solidFill>
                <a:srgbClr val="FFFFFF"/>
              </a:solidFill>
              <a:effectLst/>
              <a:uLnTx/>
              <a:uFillTx/>
              <a:latin typeface="Arial" panose="020B0604020202020204" pitchFamily="34" charset="0"/>
              <a:ea typeface="Calibri"/>
              <a:cs typeface="Arial" panose="020B0604020202020204" pitchFamily="34" charset="0"/>
              <a:sym typeface="Calibri"/>
            </a:endParaRPr>
          </a:p>
        </p:txBody>
      </p:sp>
    </p:spTree>
    <p:custDataLst>
      <p:custData r:id="rId2"/>
    </p:custDataLst>
    <p:extLst>
      <p:ext uri="{BB962C8B-B14F-4D97-AF65-F5344CB8AC3E}">
        <p14:creationId xmlns:p14="http://schemas.microsoft.com/office/powerpoint/2010/main" val="26378969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4DA136-1EA4-F7C5-200C-77C4257A5B8E}"/>
              </a:ext>
            </a:extLst>
          </p:cNvPr>
          <p:cNvGraphicFramePr>
            <a:graphicFrameLocks noChangeAspect="1"/>
          </p:cNvGraphicFramePr>
          <p:nvPr>
            <p:custDataLst>
              <p:tags r:id="rId3"/>
            </p:custDataLst>
            <p:extLst>
              <p:ext uri="{D42A27DB-BD31-4B8C-83A1-F6EECF244321}">
                <p14:modId xmlns:p14="http://schemas.microsoft.com/office/powerpoint/2010/main" val="40881079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597" name="think-cell Slide" r:id="rId6" imgW="7772400" imgH="10058400" progId="TCLayout.ActiveDocument.1">
                  <p:embed/>
                </p:oleObj>
              </mc:Choice>
              <mc:Fallback>
                <p:oleObj name="think-cell Slide" r:id="rId6" imgW="7772400" imgH="10058400" progId="TCLayout.ActiveDocument.1">
                  <p:embed/>
                  <p:pic>
                    <p:nvPicPr>
                      <p:cNvPr id="10" name="Object 9" hidden="1">
                        <a:extLst>
                          <a:ext uri="{FF2B5EF4-FFF2-40B4-BE49-F238E27FC236}">
                            <a16:creationId xmlns:a16="http://schemas.microsoft.com/office/drawing/2014/main" id="{2D4DA136-1EA4-F7C5-200C-77C4257A5B8E}"/>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865E62C0-D21A-B4A1-8A85-4051651D6892}"/>
              </a:ext>
            </a:extLst>
          </p:cNvPr>
          <p:cNvSpPr/>
          <p:nvPr/>
        </p:nvSpPr>
        <p:spPr>
          <a:xfrm>
            <a:off x="3779745" y="436784"/>
            <a:ext cx="8412249" cy="1024114"/>
          </a:xfrm>
          <a:prstGeom prst="rect">
            <a:avLst/>
          </a:prstGeom>
          <a:solidFill>
            <a:srgbClr val="26262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13" name="Rectangle 12">
            <a:extLst>
              <a:ext uri="{FF2B5EF4-FFF2-40B4-BE49-F238E27FC236}">
                <a16:creationId xmlns:a16="http://schemas.microsoft.com/office/drawing/2014/main" id="{CD061366-CA2D-7487-5FCA-411D0E9E0BDA}"/>
              </a:ext>
            </a:extLst>
          </p:cNvPr>
          <p:cNvSpPr/>
          <p:nvPr/>
        </p:nvSpPr>
        <p:spPr>
          <a:xfrm>
            <a:off x="1" y="0"/>
            <a:ext cx="3779745" cy="6858000"/>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solidFill>
                <a:schemeClr val="bg1"/>
              </a:solidFill>
            </a:endParaRPr>
          </a:p>
        </p:txBody>
      </p:sp>
      <p:sp>
        <p:nvSpPr>
          <p:cNvPr id="15" name="Title 11">
            <a:extLst>
              <a:ext uri="{FF2B5EF4-FFF2-40B4-BE49-F238E27FC236}">
                <a16:creationId xmlns:a16="http://schemas.microsoft.com/office/drawing/2014/main" id="{189D81AF-B2C4-B0AC-2856-DB6FCDC7D433}"/>
              </a:ext>
            </a:extLst>
          </p:cNvPr>
          <p:cNvSpPr>
            <a:spLocks noGrp="1"/>
          </p:cNvSpPr>
          <p:nvPr>
            <p:ph type="title"/>
          </p:nvPr>
        </p:nvSpPr>
        <p:spPr>
          <a:xfrm>
            <a:off x="4178799" y="749386"/>
            <a:ext cx="7668060" cy="397843"/>
          </a:xfrm>
        </p:spPr>
        <p:txBody>
          <a:bodyPr vert="horz">
            <a:noAutofit/>
          </a:bodyPr>
          <a:lstStyle/>
          <a:p>
            <a:pPr lvl="0">
              <a:defRPr/>
            </a:pPr>
            <a:r>
              <a:rPr lang="en-US" sz="2800" kern="0" dirty="0">
                <a:solidFill>
                  <a:schemeClr val="bg1"/>
                </a:solidFill>
                <a:ea typeface="Helvetica Neue Light"/>
                <a:cs typeface="Helvetica Neue Light"/>
                <a:sym typeface="Helvetica Neue Light"/>
              </a:rPr>
              <a:t>Monitoring of transactions</a:t>
            </a:r>
          </a:p>
        </p:txBody>
      </p:sp>
      <p:sp>
        <p:nvSpPr>
          <p:cNvPr id="16" name="Content Placeholder 1">
            <a:extLst>
              <a:ext uri="{FF2B5EF4-FFF2-40B4-BE49-F238E27FC236}">
                <a16:creationId xmlns:a16="http://schemas.microsoft.com/office/drawing/2014/main" id="{EC1FE71F-073E-E187-C610-9ED1E65B1DEA}"/>
              </a:ext>
            </a:extLst>
          </p:cNvPr>
          <p:cNvSpPr txBox="1">
            <a:spLocks/>
          </p:cNvSpPr>
          <p:nvPr/>
        </p:nvSpPr>
        <p:spPr>
          <a:xfrm>
            <a:off x="327907" y="2311921"/>
            <a:ext cx="3013515" cy="3130594"/>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2000"/>
              </a:spcAft>
            </a:pPr>
            <a:r>
              <a:rPr lang="en-US" sz="1600" b="0" dirty="0">
                <a:solidFill>
                  <a:schemeClr val="bg1"/>
                </a:solidFill>
                <a:cs typeface="Times New Roman" panose="02020603050405020304" pitchFamily="18" charset="0"/>
              </a:rPr>
              <a:t>Sanctions laws impose certain prohibitions and restrictions that should be considered before initiating any transaction.</a:t>
            </a:r>
          </a:p>
        </p:txBody>
      </p:sp>
      <p:sp>
        <p:nvSpPr>
          <p:cNvPr id="17" name="Freeform 40">
            <a:extLst>
              <a:ext uri="{FF2B5EF4-FFF2-40B4-BE49-F238E27FC236}">
                <a16:creationId xmlns:a16="http://schemas.microsoft.com/office/drawing/2014/main" id="{6ADC1861-B136-F704-88BC-208EFB4DC101}"/>
              </a:ext>
            </a:extLst>
          </p:cNvPr>
          <p:cNvSpPr>
            <a:spLocks noChangeAspect="1" noEditPoints="1"/>
          </p:cNvSpPr>
          <p:nvPr/>
        </p:nvSpPr>
        <p:spPr bwMode="auto">
          <a:xfrm>
            <a:off x="327907" y="1194115"/>
            <a:ext cx="888582" cy="891106"/>
          </a:xfrm>
          <a:custGeom>
            <a:avLst/>
            <a:gdLst>
              <a:gd name="T0" fmla="*/ 0 w 704"/>
              <a:gd name="T1" fmla="*/ 0 h 706"/>
              <a:gd name="T2" fmla="*/ 0 w 704"/>
              <a:gd name="T3" fmla="*/ 706 h 706"/>
              <a:gd name="T4" fmla="*/ 98 w 704"/>
              <a:gd name="T5" fmla="*/ 706 h 706"/>
              <a:gd name="T6" fmla="*/ 98 w 704"/>
              <a:gd name="T7" fmla="*/ 608 h 706"/>
              <a:gd name="T8" fmla="*/ 208 w 704"/>
              <a:gd name="T9" fmla="*/ 608 h 706"/>
              <a:gd name="T10" fmla="*/ 208 w 704"/>
              <a:gd name="T11" fmla="*/ 706 h 706"/>
              <a:gd name="T12" fmla="*/ 297 w 704"/>
              <a:gd name="T13" fmla="*/ 706 h 706"/>
              <a:gd name="T14" fmla="*/ 297 w 704"/>
              <a:gd name="T15" fmla="*/ 482 h 706"/>
              <a:gd name="T16" fmla="*/ 407 w 704"/>
              <a:gd name="T17" fmla="*/ 482 h 706"/>
              <a:gd name="T18" fmla="*/ 407 w 704"/>
              <a:gd name="T19" fmla="*/ 706 h 706"/>
              <a:gd name="T20" fmla="*/ 496 w 704"/>
              <a:gd name="T21" fmla="*/ 706 h 706"/>
              <a:gd name="T22" fmla="*/ 496 w 704"/>
              <a:gd name="T23" fmla="*/ 313 h 706"/>
              <a:gd name="T24" fmla="*/ 606 w 704"/>
              <a:gd name="T25" fmla="*/ 313 h 706"/>
              <a:gd name="T26" fmla="*/ 606 w 704"/>
              <a:gd name="T27" fmla="*/ 706 h 706"/>
              <a:gd name="T28" fmla="*/ 704 w 704"/>
              <a:gd name="T29" fmla="*/ 706 h 706"/>
              <a:gd name="T30" fmla="*/ 704 w 704"/>
              <a:gd name="T31" fmla="*/ 0 h 706"/>
              <a:gd name="T32" fmla="*/ 0 w 704"/>
              <a:gd name="T33" fmla="*/ 0 h 706"/>
              <a:gd name="T34" fmla="*/ 673 w 704"/>
              <a:gd name="T35" fmla="*/ 675 h 706"/>
              <a:gd name="T36" fmla="*/ 636 w 704"/>
              <a:gd name="T37" fmla="*/ 675 h 706"/>
              <a:gd name="T38" fmla="*/ 636 w 704"/>
              <a:gd name="T39" fmla="*/ 282 h 706"/>
              <a:gd name="T40" fmla="*/ 467 w 704"/>
              <a:gd name="T41" fmla="*/ 282 h 706"/>
              <a:gd name="T42" fmla="*/ 467 w 704"/>
              <a:gd name="T43" fmla="*/ 675 h 706"/>
              <a:gd name="T44" fmla="*/ 436 w 704"/>
              <a:gd name="T45" fmla="*/ 675 h 706"/>
              <a:gd name="T46" fmla="*/ 436 w 704"/>
              <a:gd name="T47" fmla="*/ 451 h 706"/>
              <a:gd name="T48" fmla="*/ 268 w 704"/>
              <a:gd name="T49" fmla="*/ 451 h 706"/>
              <a:gd name="T50" fmla="*/ 268 w 704"/>
              <a:gd name="T51" fmla="*/ 675 h 706"/>
              <a:gd name="T52" fmla="*/ 237 w 704"/>
              <a:gd name="T53" fmla="*/ 675 h 706"/>
              <a:gd name="T54" fmla="*/ 237 w 704"/>
              <a:gd name="T55" fmla="*/ 577 h 706"/>
              <a:gd name="T56" fmla="*/ 68 w 704"/>
              <a:gd name="T57" fmla="*/ 577 h 706"/>
              <a:gd name="T58" fmla="*/ 68 w 704"/>
              <a:gd name="T59" fmla="*/ 675 h 706"/>
              <a:gd name="T60" fmla="*/ 31 w 704"/>
              <a:gd name="T61" fmla="*/ 675 h 706"/>
              <a:gd name="T62" fmla="*/ 31 w 704"/>
              <a:gd name="T63" fmla="*/ 569 h 706"/>
              <a:gd name="T64" fmla="*/ 259 w 704"/>
              <a:gd name="T65" fmla="*/ 342 h 706"/>
              <a:gd name="T66" fmla="*/ 299 w 704"/>
              <a:gd name="T67" fmla="*/ 381 h 706"/>
              <a:gd name="T68" fmla="*/ 538 w 704"/>
              <a:gd name="T69" fmla="*/ 143 h 706"/>
              <a:gd name="T70" fmla="*/ 538 w 704"/>
              <a:gd name="T71" fmla="*/ 213 h 706"/>
              <a:gd name="T72" fmla="*/ 567 w 704"/>
              <a:gd name="T73" fmla="*/ 213 h 706"/>
              <a:gd name="T74" fmla="*/ 567 w 704"/>
              <a:gd name="T75" fmla="*/ 92 h 706"/>
              <a:gd name="T76" fmla="*/ 446 w 704"/>
              <a:gd name="T77" fmla="*/ 92 h 706"/>
              <a:gd name="T78" fmla="*/ 446 w 704"/>
              <a:gd name="T79" fmla="*/ 123 h 706"/>
              <a:gd name="T80" fmla="*/ 516 w 704"/>
              <a:gd name="T81" fmla="*/ 123 h 706"/>
              <a:gd name="T82" fmla="*/ 299 w 704"/>
              <a:gd name="T83" fmla="*/ 340 h 706"/>
              <a:gd name="T84" fmla="*/ 258 w 704"/>
              <a:gd name="T85" fmla="*/ 299 h 706"/>
              <a:gd name="T86" fmla="*/ 31 w 704"/>
              <a:gd name="T87" fmla="*/ 527 h 706"/>
              <a:gd name="T88" fmla="*/ 31 w 704"/>
              <a:gd name="T89" fmla="*/ 31 h 706"/>
              <a:gd name="T90" fmla="*/ 673 w 704"/>
              <a:gd name="T91" fmla="*/ 31 h 706"/>
              <a:gd name="T92" fmla="*/ 673 w 704"/>
              <a:gd name="T93" fmla="*/ 675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4" h="706">
                <a:moveTo>
                  <a:pt x="0" y="0"/>
                </a:moveTo>
                <a:lnTo>
                  <a:pt x="0" y="706"/>
                </a:lnTo>
                <a:lnTo>
                  <a:pt x="98" y="706"/>
                </a:lnTo>
                <a:lnTo>
                  <a:pt x="98" y="608"/>
                </a:lnTo>
                <a:lnTo>
                  <a:pt x="208" y="608"/>
                </a:lnTo>
                <a:lnTo>
                  <a:pt x="208" y="706"/>
                </a:lnTo>
                <a:lnTo>
                  <a:pt x="297" y="706"/>
                </a:lnTo>
                <a:lnTo>
                  <a:pt x="297" y="482"/>
                </a:lnTo>
                <a:lnTo>
                  <a:pt x="407" y="482"/>
                </a:lnTo>
                <a:lnTo>
                  <a:pt x="407" y="706"/>
                </a:lnTo>
                <a:lnTo>
                  <a:pt x="496" y="706"/>
                </a:lnTo>
                <a:lnTo>
                  <a:pt x="496" y="313"/>
                </a:lnTo>
                <a:lnTo>
                  <a:pt x="606" y="313"/>
                </a:lnTo>
                <a:lnTo>
                  <a:pt x="606" y="706"/>
                </a:lnTo>
                <a:lnTo>
                  <a:pt x="704" y="706"/>
                </a:lnTo>
                <a:lnTo>
                  <a:pt x="704" y="0"/>
                </a:lnTo>
                <a:lnTo>
                  <a:pt x="0" y="0"/>
                </a:lnTo>
                <a:close/>
                <a:moveTo>
                  <a:pt x="673" y="675"/>
                </a:moveTo>
                <a:lnTo>
                  <a:pt x="636" y="675"/>
                </a:lnTo>
                <a:lnTo>
                  <a:pt x="636" y="282"/>
                </a:lnTo>
                <a:lnTo>
                  <a:pt x="467" y="282"/>
                </a:lnTo>
                <a:lnTo>
                  <a:pt x="467" y="675"/>
                </a:lnTo>
                <a:lnTo>
                  <a:pt x="436" y="675"/>
                </a:lnTo>
                <a:lnTo>
                  <a:pt x="436" y="451"/>
                </a:lnTo>
                <a:lnTo>
                  <a:pt x="268" y="451"/>
                </a:lnTo>
                <a:lnTo>
                  <a:pt x="268" y="675"/>
                </a:lnTo>
                <a:lnTo>
                  <a:pt x="237" y="675"/>
                </a:lnTo>
                <a:lnTo>
                  <a:pt x="237" y="577"/>
                </a:lnTo>
                <a:lnTo>
                  <a:pt x="68" y="577"/>
                </a:lnTo>
                <a:lnTo>
                  <a:pt x="68" y="675"/>
                </a:lnTo>
                <a:lnTo>
                  <a:pt x="31" y="675"/>
                </a:lnTo>
                <a:lnTo>
                  <a:pt x="31" y="569"/>
                </a:lnTo>
                <a:lnTo>
                  <a:pt x="259" y="342"/>
                </a:lnTo>
                <a:lnTo>
                  <a:pt x="299" y="381"/>
                </a:lnTo>
                <a:lnTo>
                  <a:pt x="538" y="143"/>
                </a:lnTo>
                <a:lnTo>
                  <a:pt x="538" y="213"/>
                </a:lnTo>
                <a:lnTo>
                  <a:pt x="567" y="213"/>
                </a:lnTo>
                <a:lnTo>
                  <a:pt x="567" y="92"/>
                </a:lnTo>
                <a:lnTo>
                  <a:pt x="446" y="92"/>
                </a:lnTo>
                <a:lnTo>
                  <a:pt x="446" y="123"/>
                </a:lnTo>
                <a:lnTo>
                  <a:pt x="516" y="123"/>
                </a:lnTo>
                <a:lnTo>
                  <a:pt x="299" y="340"/>
                </a:lnTo>
                <a:lnTo>
                  <a:pt x="258" y="299"/>
                </a:lnTo>
                <a:lnTo>
                  <a:pt x="31" y="527"/>
                </a:lnTo>
                <a:lnTo>
                  <a:pt x="31" y="31"/>
                </a:lnTo>
                <a:lnTo>
                  <a:pt x="673" y="31"/>
                </a:lnTo>
                <a:lnTo>
                  <a:pt x="673" y="67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 name="Slide Number Placeholder 3">
            <a:extLst>
              <a:ext uri="{FF2B5EF4-FFF2-40B4-BE49-F238E27FC236}">
                <a16:creationId xmlns:a16="http://schemas.microsoft.com/office/drawing/2014/main" id="{2F8DBAD9-2FB4-3D45-BD3C-AE82E5DD780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Rectangle 1">
            <a:extLst>
              <a:ext uri="{FF2B5EF4-FFF2-40B4-BE49-F238E27FC236}">
                <a16:creationId xmlns:a16="http://schemas.microsoft.com/office/drawing/2014/main" id="{D3E82E12-CB3F-8998-950F-A2D45F6DB6BF}"/>
              </a:ext>
            </a:extLst>
          </p:cNvPr>
          <p:cNvSpPr/>
          <p:nvPr/>
        </p:nvSpPr>
        <p:spPr bwMode="gray">
          <a:xfrm>
            <a:off x="0" y="0"/>
            <a:ext cx="12192000" cy="137160"/>
          </a:xfrm>
          <a:prstGeom prst="rect">
            <a:avLst/>
          </a:prstGeom>
          <a:solidFill>
            <a:schemeClr val="accent3"/>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133" name="TextBox 132">
            <a:extLst>
              <a:ext uri="{FF2B5EF4-FFF2-40B4-BE49-F238E27FC236}">
                <a16:creationId xmlns:a16="http://schemas.microsoft.com/office/drawing/2014/main" id="{C98855FE-AC59-1908-8CA2-6EC12C2D487C}"/>
              </a:ext>
            </a:extLst>
          </p:cNvPr>
          <p:cNvSpPr txBox="1"/>
          <p:nvPr/>
        </p:nvSpPr>
        <p:spPr>
          <a:xfrm>
            <a:off x="442913" y="6492240"/>
            <a:ext cx="5473700" cy="137160"/>
          </a:xfrm>
          <a:prstGeom prst="rect">
            <a:avLst/>
          </a:prstGeom>
          <a:noFill/>
        </p:spPr>
        <p:txBody>
          <a:bodyPr wrap="square" lIns="0" tIns="0" rIns="0" bIns="0" rtlCol="0" anchor="b" anchorCtr="0">
            <a:noAutofit/>
          </a:bodyPr>
          <a:lstStyle/>
          <a:p>
            <a:pPr algn="l"/>
            <a:r>
              <a:rPr lang="en-US" sz="750" b="0" dirty="0">
                <a:solidFill>
                  <a:schemeClr val="bg1"/>
                </a:solidFill>
              </a:rPr>
              <a:t> </a:t>
            </a:r>
          </a:p>
        </p:txBody>
      </p:sp>
      <p:sp>
        <p:nvSpPr>
          <p:cNvPr id="18" name="Content Placeholder 1">
            <a:extLst>
              <a:ext uri="{FF2B5EF4-FFF2-40B4-BE49-F238E27FC236}">
                <a16:creationId xmlns:a16="http://schemas.microsoft.com/office/drawing/2014/main" id="{87ECA6DB-E680-816C-65CD-3FCCC942F976}"/>
              </a:ext>
            </a:extLst>
          </p:cNvPr>
          <p:cNvSpPr>
            <a:spLocks noGrp="1"/>
          </p:cNvSpPr>
          <p:nvPr>
            <p:ph sz="half" idx="1"/>
          </p:nvPr>
        </p:nvSpPr>
        <p:spPr>
          <a:xfrm>
            <a:off x="4196007" y="1672204"/>
            <a:ext cx="5330806" cy="266075"/>
          </a:xfrm>
        </p:spPr>
        <p:txBody>
          <a:bodyPr/>
          <a:lstStyle/>
          <a:p>
            <a:pPr marL="0" indent="0">
              <a:buNone/>
            </a:pPr>
            <a:r>
              <a:rPr lang="en-US" sz="1400" b="1" i="0" u="none" strike="noStrike" baseline="0" dirty="0">
                <a:solidFill>
                  <a:schemeClr val="tx1"/>
                </a:solidFill>
              </a:rPr>
              <a:t>Each transaction shall be reviewed to ensure the following- </a:t>
            </a:r>
            <a:endParaRPr lang="en-US" sz="1100" b="0" dirty="0">
              <a:solidFill>
                <a:schemeClr val="tx1"/>
              </a:solidFill>
            </a:endParaRPr>
          </a:p>
        </p:txBody>
      </p:sp>
      <p:grpSp>
        <p:nvGrpSpPr>
          <p:cNvPr id="19" name="Group 18">
            <a:extLst>
              <a:ext uri="{FF2B5EF4-FFF2-40B4-BE49-F238E27FC236}">
                <a16:creationId xmlns:a16="http://schemas.microsoft.com/office/drawing/2014/main" id="{1EFBC37B-C89C-CED4-7B1F-C68D80B92CAA}"/>
              </a:ext>
            </a:extLst>
          </p:cNvPr>
          <p:cNvGrpSpPr/>
          <p:nvPr/>
        </p:nvGrpSpPr>
        <p:grpSpPr>
          <a:xfrm>
            <a:off x="4178798" y="2124274"/>
            <a:ext cx="7570288" cy="2093655"/>
            <a:chOff x="3581582" y="3158824"/>
            <a:chExt cx="8134495" cy="1277897"/>
          </a:xfrm>
        </p:grpSpPr>
        <p:sp>
          <p:nvSpPr>
            <p:cNvPr id="21" name="Rectangle 20">
              <a:extLst>
                <a:ext uri="{FF2B5EF4-FFF2-40B4-BE49-F238E27FC236}">
                  <a16:creationId xmlns:a16="http://schemas.microsoft.com/office/drawing/2014/main" id="{CCD92DFB-8936-229C-8149-B3055669520E}"/>
                </a:ext>
              </a:extLst>
            </p:cNvPr>
            <p:cNvSpPr/>
            <p:nvPr/>
          </p:nvSpPr>
          <p:spPr>
            <a:xfrm>
              <a:off x="3581582" y="3158825"/>
              <a:ext cx="3956956" cy="1277896"/>
            </a:xfrm>
            <a:prstGeom prst="rect">
              <a:avLst/>
            </a:prstGeom>
            <a:solidFill>
              <a:schemeClr val="accent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C520CA47-D476-ECA4-1DB0-C02276212274}"/>
                </a:ext>
              </a:extLst>
            </p:cNvPr>
            <p:cNvSpPr/>
            <p:nvPr/>
          </p:nvSpPr>
          <p:spPr>
            <a:xfrm flipH="1">
              <a:off x="7921293" y="3158824"/>
              <a:ext cx="3794784" cy="1277896"/>
            </a:xfrm>
            <a:prstGeom prst="rect">
              <a:avLst/>
            </a:prstGeom>
            <a:solidFill>
              <a:schemeClr val="accent2"/>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ea typeface="+mn-ea"/>
                <a:cs typeface="+mn-cs"/>
              </a:endParaRPr>
            </a:p>
          </p:txBody>
        </p:sp>
      </p:grpSp>
      <p:sp>
        <p:nvSpPr>
          <p:cNvPr id="23" name="TextBox 22">
            <a:extLst>
              <a:ext uri="{FF2B5EF4-FFF2-40B4-BE49-F238E27FC236}">
                <a16:creationId xmlns:a16="http://schemas.microsoft.com/office/drawing/2014/main" id="{CF78AFC5-769F-DE9E-A53D-09DEFEB822AE}"/>
              </a:ext>
            </a:extLst>
          </p:cNvPr>
          <p:cNvSpPr txBox="1"/>
          <p:nvPr/>
        </p:nvSpPr>
        <p:spPr>
          <a:xfrm>
            <a:off x="4314077" y="2269787"/>
            <a:ext cx="3460515" cy="1384995"/>
          </a:xfrm>
          <a:prstGeom prst="rect">
            <a:avLst/>
          </a:prstGeom>
          <a:noFill/>
          <a:ln w="0">
            <a:noFill/>
            <a:prstDash val="solid"/>
          </a:ln>
        </p:spPr>
        <p:txBody>
          <a:bodyPr wrap="square">
            <a:spAutoFit/>
          </a:bodyPr>
          <a:lstStyle/>
          <a:p>
            <a:pPr lvl="0" algn="l"/>
            <a:r>
              <a:rPr lang="en-US" sz="1400" b="0" dirty="0"/>
              <a:t>Screening of the parties involved in the transaction or with whom the transaction is agreed upon. </a:t>
            </a:r>
          </a:p>
          <a:p>
            <a:pPr lvl="0" algn="l"/>
            <a:r>
              <a:rPr lang="en-US" sz="1400" b="0" dirty="0"/>
              <a:t>If there is a third party involved, that party should be screened as well against the Sanctions lists</a:t>
            </a:r>
            <a:endParaRPr lang="en-GB" sz="1400" b="0" dirty="0"/>
          </a:p>
        </p:txBody>
      </p:sp>
      <p:sp>
        <p:nvSpPr>
          <p:cNvPr id="25" name="TextBox 24">
            <a:extLst>
              <a:ext uri="{FF2B5EF4-FFF2-40B4-BE49-F238E27FC236}">
                <a16:creationId xmlns:a16="http://schemas.microsoft.com/office/drawing/2014/main" id="{D091AA79-9F82-6BB2-0BD7-9094934A8D04}"/>
              </a:ext>
            </a:extLst>
          </p:cNvPr>
          <p:cNvSpPr txBox="1"/>
          <p:nvPr/>
        </p:nvSpPr>
        <p:spPr>
          <a:xfrm>
            <a:off x="8412250" y="2269787"/>
            <a:ext cx="3140414" cy="1815882"/>
          </a:xfrm>
          <a:prstGeom prst="rect">
            <a:avLst/>
          </a:prstGeom>
          <a:noFill/>
          <a:ln w="0">
            <a:noFill/>
            <a:prstDash val="solid"/>
          </a:ln>
        </p:spPr>
        <p:txBody>
          <a:bodyPr wrap="square">
            <a:spAutoFit/>
          </a:bodyPr>
          <a:lstStyle/>
          <a:p>
            <a:pPr lvl="0" algn="l"/>
            <a:r>
              <a:rPr lang="en-US" sz="1400" dirty="0"/>
              <a:t>Transactions that are allowed under applicable Sanctions based on the guidance issued by OFAC, UN, EU, and any applicable local jurisdictions. </a:t>
            </a:r>
          </a:p>
          <a:p>
            <a:pPr lvl="0" algn="l"/>
            <a:r>
              <a:rPr lang="en-US" sz="1400" dirty="0"/>
              <a:t>This will require the product type(hardware or software)/ license to be screened against any applicable Sanctions lists as well. </a:t>
            </a:r>
            <a:endParaRPr lang="en-GB" sz="1400" dirty="0"/>
          </a:p>
        </p:txBody>
      </p:sp>
    </p:spTree>
    <p:custDataLst>
      <p:custData r:id="rId2"/>
    </p:custDataLst>
    <p:extLst>
      <p:ext uri="{BB962C8B-B14F-4D97-AF65-F5344CB8AC3E}">
        <p14:creationId xmlns:p14="http://schemas.microsoft.com/office/powerpoint/2010/main" val="34934282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38">
            <a:extLst>
              <a:ext uri="{FF2B5EF4-FFF2-40B4-BE49-F238E27FC236}">
                <a16:creationId xmlns:a16="http://schemas.microsoft.com/office/drawing/2014/main" id="{AFFC74B1-755A-A372-C221-04245C8C3114}"/>
              </a:ext>
            </a:extLst>
          </p:cNvPr>
          <p:cNvSpPr>
            <a:spLocks/>
          </p:cNvSpPr>
          <p:nvPr/>
        </p:nvSpPr>
        <p:spPr bwMode="gray">
          <a:xfrm>
            <a:off x="5221665" y="4100428"/>
            <a:ext cx="1758097" cy="1371598"/>
          </a:xfrm>
          <a:custGeom>
            <a:avLst/>
            <a:gdLst>
              <a:gd name="T0" fmla="*/ 470874256 w 241"/>
              <a:gd name="T1" fmla="*/ 0 h 188"/>
              <a:gd name="T2" fmla="*/ 0 w 241"/>
              <a:gd name="T3" fmla="*/ 978165209 h 188"/>
              <a:gd name="T4" fmla="*/ 724422004 w 241"/>
              <a:gd name="T5" fmla="*/ 1135153606 h 188"/>
              <a:gd name="T6" fmla="*/ 1454880855 w 241"/>
              <a:gd name="T7" fmla="*/ 978165209 h 188"/>
              <a:gd name="T8" fmla="*/ 984006445 w 241"/>
              <a:gd name="T9" fmla="*/ 0 h 188"/>
              <a:gd name="T10" fmla="*/ 905527428 w 241"/>
              <a:gd name="T11" fmla="*/ 24152260 h 188"/>
              <a:gd name="T12" fmla="*/ 470874256 w 241"/>
              <a:gd name="T13" fmla="*/ 0 h 188"/>
              <a:gd name="T14" fmla="*/ 0 60000 65536"/>
              <a:gd name="T15" fmla="*/ 0 60000 65536"/>
              <a:gd name="T16" fmla="*/ 0 60000 65536"/>
              <a:gd name="T17" fmla="*/ 0 60000 65536"/>
              <a:gd name="T18" fmla="*/ 0 60000 65536"/>
              <a:gd name="T19" fmla="*/ 0 60000 65536"/>
              <a:gd name="T20" fmla="*/ 0 60000 65536"/>
              <a:gd name="T21" fmla="*/ 0 w 241"/>
              <a:gd name="T22" fmla="*/ 0 h 188"/>
              <a:gd name="T23" fmla="*/ 241 w 241"/>
              <a:gd name="T24" fmla="*/ 188 h 18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1" h="188">
                <a:moveTo>
                  <a:pt x="78" y="0"/>
                </a:moveTo>
                <a:cubicBezTo>
                  <a:pt x="0" y="162"/>
                  <a:pt x="0" y="162"/>
                  <a:pt x="0" y="162"/>
                </a:cubicBezTo>
                <a:cubicBezTo>
                  <a:pt x="36" y="179"/>
                  <a:pt x="77" y="188"/>
                  <a:pt x="120" y="188"/>
                </a:cubicBezTo>
                <a:cubicBezTo>
                  <a:pt x="163" y="188"/>
                  <a:pt x="204" y="179"/>
                  <a:pt x="241" y="162"/>
                </a:cubicBezTo>
                <a:cubicBezTo>
                  <a:pt x="163" y="0"/>
                  <a:pt x="163" y="0"/>
                  <a:pt x="163" y="0"/>
                </a:cubicBezTo>
                <a:cubicBezTo>
                  <a:pt x="159" y="1"/>
                  <a:pt x="154" y="3"/>
                  <a:pt x="150" y="4"/>
                </a:cubicBezTo>
                <a:cubicBezTo>
                  <a:pt x="125" y="11"/>
                  <a:pt x="101" y="9"/>
                  <a:pt x="78" y="0"/>
                </a:cubicBezTo>
                <a:close/>
              </a:path>
            </a:pathLst>
          </a:custGeom>
          <a:solidFill>
            <a:schemeClr val="tx2"/>
          </a:solidFill>
          <a:ln w="9525">
            <a:noFill/>
            <a:round/>
            <a:headEnd/>
            <a:tailEnd/>
          </a:ln>
        </p:spPr>
        <p:txBody>
          <a:bodyPr/>
          <a:lstStyle/>
          <a:p>
            <a:pPr defTabSz="781835">
              <a:defRPr/>
            </a:pPr>
            <a:endParaRPr lang="en-GB" sz="900" kern="0" dirty="0">
              <a:solidFill>
                <a:sysClr val="windowText" lastClr="000000"/>
              </a:solidFill>
            </a:endParaRPr>
          </a:p>
        </p:txBody>
      </p:sp>
      <p:sp>
        <p:nvSpPr>
          <p:cNvPr id="54" name="Freeform 42">
            <a:extLst>
              <a:ext uri="{FF2B5EF4-FFF2-40B4-BE49-F238E27FC236}">
                <a16:creationId xmlns:a16="http://schemas.microsoft.com/office/drawing/2014/main" id="{E2840EC2-7111-E711-12B7-C83C1BD8090A}"/>
              </a:ext>
            </a:extLst>
          </p:cNvPr>
          <p:cNvSpPr>
            <a:spLocks/>
          </p:cNvSpPr>
          <p:nvPr/>
        </p:nvSpPr>
        <p:spPr bwMode="gray">
          <a:xfrm>
            <a:off x="3958474" y="2045385"/>
            <a:ext cx="1470581" cy="1710963"/>
          </a:xfrm>
          <a:custGeom>
            <a:avLst/>
            <a:gdLst>
              <a:gd name="T0" fmla="*/ 1190146706 w 201"/>
              <a:gd name="T1" fmla="*/ 727595875 h 235"/>
              <a:gd name="T2" fmla="*/ 1220507848 w 201"/>
              <a:gd name="T3" fmla="*/ 673476305 h 235"/>
              <a:gd name="T4" fmla="*/ 364331388 w 201"/>
              <a:gd name="T5" fmla="*/ 0 h 235"/>
              <a:gd name="T6" fmla="*/ 0 w 201"/>
              <a:gd name="T7" fmla="*/ 1064333874 h 235"/>
              <a:gd name="T8" fmla="*/ 36432887 w 201"/>
              <a:gd name="T9" fmla="*/ 1413097662 h 235"/>
              <a:gd name="T10" fmla="*/ 1105137481 w 201"/>
              <a:gd name="T11" fmla="*/ 1172570563 h 235"/>
              <a:gd name="T12" fmla="*/ 1190146706 w 201"/>
              <a:gd name="T13" fmla="*/ 727595875 h 235"/>
              <a:gd name="T14" fmla="*/ 0 60000 65536"/>
              <a:gd name="T15" fmla="*/ 0 60000 65536"/>
              <a:gd name="T16" fmla="*/ 0 60000 65536"/>
              <a:gd name="T17" fmla="*/ 0 60000 65536"/>
              <a:gd name="T18" fmla="*/ 0 60000 65536"/>
              <a:gd name="T19" fmla="*/ 0 60000 65536"/>
              <a:gd name="T20" fmla="*/ 0 60000 65536"/>
              <a:gd name="T21" fmla="*/ 0 w 201"/>
              <a:gd name="T22" fmla="*/ 0 h 235"/>
              <a:gd name="T23" fmla="*/ 201 w 201"/>
              <a:gd name="T24" fmla="*/ 235 h 2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1" h="235">
                <a:moveTo>
                  <a:pt x="196" y="121"/>
                </a:moveTo>
                <a:cubicBezTo>
                  <a:pt x="197" y="118"/>
                  <a:pt x="199" y="115"/>
                  <a:pt x="201" y="112"/>
                </a:cubicBezTo>
                <a:cubicBezTo>
                  <a:pt x="60" y="0"/>
                  <a:pt x="60" y="0"/>
                  <a:pt x="60" y="0"/>
                </a:cubicBezTo>
                <a:cubicBezTo>
                  <a:pt x="23" y="49"/>
                  <a:pt x="0" y="111"/>
                  <a:pt x="0" y="177"/>
                </a:cubicBezTo>
                <a:cubicBezTo>
                  <a:pt x="0" y="197"/>
                  <a:pt x="2" y="216"/>
                  <a:pt x="6" y="235"/>
                </a:cubicBezTo>
                <a:cubicBezTo>
                  <a:pt x="182" y="195"/>
                  <a:pt x="182" y="195"/>
                  <a:pt x="182" y="195"/>
                </a:cubicBezTo>
                <a:cubicBezTo>
                  <a:pt x="178" y="170"/>
                  <a:pt x="182" y="144"/>
                  <a:pt x="196" y="121"/>
                </a:cubicBezTo>
                <a:close/>
              </a:path>
            </a:pathLst>
          </a:custGeom>
          <a:solidFill>
            <a:schemeClr val="accent2"/>
          </a:solidFill>
          <a:ln w="9525">
            <a:noFill/>
            <a:round/>
            <a:headEnd/>
            <a:tailEnd/>
          </a:ln>
        </p:spPr>
        <p:txBody>
          <a:bodyPr/>
          <a:lstStyle/>
          <a:p>
            <a:pPr defTabSz="781835">
              <a:defRPr/>
            </a:pPr>
            <a:endParaRPr lang="en-GB" sz="900" kern="0" dirty="0">
              <a:solidFill>
                <a:sysClr val="windowText" lastClr="000000"/>
              </a:solidFill>
            </a:endParaRPr>
          </a:p>
        </p:txBody>
      </p:sp>
      <p:cxnSp>
        <p:nvCxnSpPr>
          <p:cNvPr id="59" name="Straight Connector 58">
            <a:extLst>
              <a:ext uri="{FF2B5EF4-FFF2-40B4-BE49-F238E27FC236}">
                <a16:creationId xmlns:a16="http://schemas.microsoft.com/office/drawing/2014/main" id="{63E55159-8DA5-195A-9BDC-25E290259B22}"/>
              </a:ext>
            </a:extLst>
          </p:cNvPr>
          <p:cNvCxnSpPr>
            <a:cxnSpLocks/>
          </p:cNvCxnSpPr>
          <p:nvPr/>
        </p:nvCxnSpPr>
        <p:spPr>
          <a:xfrm>
            <a:off x="442912" y="3745443"/>
            <a:ext cx="3581550" cy="0"/>
          </a:xfrm>
          <a:prstGeom prst="line">
            <a:avLst/>
          </a:prstGeom>
          <a:ln w="6350" cap="sq">
            <a:solidFill>
              <a:schemeClr val="tx1"/>
            </a:solidFill>
          </a:ln>
        </p:spPr>
        <p:style>
          <a:lnRef idx="1">
            <a:schemeClr val="accent1"/>
          </a:lnRef>
          <a:fillRef idx="0">
            <a:schemeClr val="accent1"/>
          </a:fillRef>
          <a:effectRef idx="0">
            <a:schemeClr val="dk1"/>
          </a:effectRef>
          <a:fontRef idx="minor">
            <a:schemeClr val="lt1"/>
          </a:fontRef>
        </p:style>
      </p:cxnSp>
      <p:sp>
        <p:nvSpPr>
          <p:cNvPr id="3" name="Title 2">
            <a:extLst>
              <a:ext uri="{FF2B5EF4-FFF2-40B4-BE49-F238E27FC236}">
                <a16:creationId xmlns:a16="http://schemas.microsoft.com/office/drawing/2014/main" id="{4F900F07-FDDD-942D-9E6C-BF420082F3B6}"/>
              </a:ext>
            </a:extLst>
          </p:cNvPr>
          <p:cNvSpPr>
            <a:spLocks noGrp="1"/>
          </p:cNvSpPr>
          <p:nvPr>
            <p:ph type="title"/>
          </p:nvPr>
        </p:nvSpPr>
        <p:spPr>
          <a:xfrm>
            <a:off x="442913" y="430513"/>
            <a:ext cx="11306175" cy="766461"/>
          </a:xfrm>
        </p:spPr>
        <p:txBody>
          <a:bodyPr vert="horz" lIns="0" tIns="0" rIns="0" bIns="0" rtlCol="0" anchor="t" anchorCtr="0">
            <a:normAutofit/>
          </a:bodyPr>
          <a:lstStyle/>
          <a:p>
            <a:pPr lvl="0">
              <a:defRPr/>
            </a:pPr>
            <a:r>
              <a:rPr lang="en-US" sz="2800" dirty="0">
                <a:solidFill>
                  <a:srgbClr val="000000"/>
                </a:solidFill>
                <a:latin typeface="Georgia"/>
                <a:ea typeface="Georgia"/>
                <a:cs typeface="Georgia"/>
                <a:sym typeface="Georgia"/>
              </a:rPr>
              <a:t>Transactions covered for Professionals (Illustrative)</a:t>
            </a:r>
          </a:p>
        </p:txBody>
      </p:sp>
      <p:sp>
        <p:nvSpPr>
          <p:cNvPr id="4" name="Slide Number Placeholder 3">
            <a:extLst>
              <a:ext uri="{FF2B5EF4-FFF2-40B4-BE49-F238E27FC236}">
                <a16:creationId xmlns:a16="http://schemas.microsoft.com/office/drawing/2014/main" id="{447C024C-9670-9C92-2B9A-5400F0BADC80}"/>
              </a:ext>
            </a:extLst>
          </p:cNvPr>
          <p:cNvSpPr>
            <a:spLocks noGrp="1"/>
          </p:cNvSpPr>
          <p:nvPr>
            <p:ph type="sldNum" sz="quarter" idx="15"/>
          </p:nvPr>
        </p:nvSpPr>
        <p:spPr/>
        <p:txBody>
          <a:bodyPr/>
          <a:lstStyle/>
          <a:p>
            <a:fld id="{7870704B-CE94-48CC-AF30-84932A1262A7}" type="slidenum">
              <a:rPr lang="en-GB" smtClean="0">
                <a:latin typeface="Arial" panose="020B0604020202020204" pitchFamily="34" charset="0"/>
                <a:cs typeface="Arial" panose="020B0604020202020204" pitchFamily="34" charset="0"/>
              </a:rPr>
              <a:pPr/>
              <a:t>27</a:t>
            </a:fld>
            <a:endParaRPr lang="en-GB" dirty="0">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D873065D-9B5A-A3C7-2E5E-DCD4200D42BC}"/>
              </a:ext>
            </a:extLst>
          </p:cNvPr>
          <p:cNvSpPr txBox="1"/>
          <p:nvPr/>
        </p:nvSpPr>
        <p:spPr>
          <a:xfrm>
            <a:off x="8414656" y="3260268"/>
            <a:ext cx="3334431" cy="430887"/>
          </a:xfrm>
          <a:prstGeom prst="rect">
            <a:avLst/>
          </a:prstGeom>
          <a:noFill/>
        </p:spPr>
        <p:txBody>
          <a:bodyPr wrap="square" lIns="0" tIns="0" rIns="0" bIns="0">
            <a:spAutoFit/>
          </a:bodyPr>
          <a:lstStyle>
            <a:defPPr>
              <a:defRPr lang="en-US"/>
            </a:defPPr>
            <a:lvl1pPr marR="0" lvl="0" indent="0">
              <a:spcBef>
                <a:spcPts val="0"/>
              </a:spcBef>
              <a:spcAft>
                <a:spcPts val="0"/>
              </a:spcAft>
              <a:buNone/>
              <a:defRPr sz="1200"/>
            </a:lvl1pPr>
          </a:lstStyle>
          <a:p>
            <a:r>
              <a:rPr lang="en-US" sz="1400" dirty="0">
                <a:solidFill>
                  <a:schemeClr val="dk1"/>
                </a:solidFill>
              </a:rPr>
              <a:t>Creating, operating or management of legal persons</a:t>
            </a:r>
            <a:endParaRPr lang="en-US" sz="1400" dirty="0"/>
          </a:p>
        </p:txBody>
      </p:sp>
      <p:sp>
        <p:nvSpPr>
          <p:cNvPr id="51" name="Freeform 39">
            <a:extLst>
              <a:ext uri="{FF2B5EF4-FFF2-40B4-BE49-F238E27FC236}">
                <a16:creationId xmlns:a16="http://schemas.microsoft.com/office/drawing/2014/main" id="{E8367894-24CE-9E5B-319D-E556F463A5ED}"/>
              </a:ext>
            </a:extLst>
          </p:cNvPr>
          <p:cNvSpPr>
            <a:spLocks/>
          </p:cNvSpPr>
          <p:nvPr/>
        </p:nvSpPr>
        <p:spPr bwMode="gray">
          <a:xfrm>
            <a:off x="6777088" y="2045385"/>
            <a:ext cx="1456439" cy="1710963"/>
          </a:xfrm>
          <a:custGeom>
            <a:avLst/>
            <a:gdLst>
              <a:gd name="T0" fmla="*/ 114297577 w 200"/>
              <a:gd name="T1" fmla="*/ 1172570563 h 235"/>
              <a:gd name="T2" fmla="*/ 1167038980 w 200"/>
              <a:gd name="T3" fmla="*/ 1413097662 h 235"/>
              <a:gd name="T4" fmla="*/ 1203132681 w 200"/>
              <a:gd name="T5" fmla="*/ 1064333874 h 235"/>
              <a:gd name="T6" fmla="*/ 848209649 w 200"/>
              <a:gd name="T7" fmla="*/ 0 h 235"/>
              <a:gd name="T8" fmla="*/ 0 w 200"/>
              <a:gd name="T9" fmla="*/ 673476305 h 235"/>
              <a:gd name="T10" fmla="*/ 96250726 w 200"/>
              <a:gd name="T11" fmla="*/ 889952134 h 235"/>
              <a:gd name="T12" fmla="*/ 114297577 w 200"/>
              <a:gd name="T13" fmla="*/ 1172570563 h 235"/>
              <a:gd name="T14" fmla="*/ 0 60000 65536"/>
              <a:gd name="T15" fmla="*/ 0 60000 65536"/>
              <a:gd name="T16" fmla="*/ 0 60000 65536"/>
              <a:gd name="T17" fmla="*/ 0 60000 65536"/>
              <a:gd name="T18" fmla="*/ 0 60000 65536"/>
              <a:gd name="T19" fmla="*/ 0 60000 65536"/>
              <a:gd name="T20" fmla="*/ 0 60000 65536"/>
              <a:gd name="T21" fmla="*/ 0 w 200"/>
              <a:gd name="T22" fmla="*/ 0 h 235"/>
              <a:gd name="T23" fmla="*/ 200 w 200"/>
              <a:gd name="T24" fmla="*/ 235 h 2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 h="235">
                <a:moveTo>
                  <a:pt x="19" y="195"/>
                </a:moveTo>
                <a:cubicBezTo>
                  <a:pt x="194" y="235"/>
                  <a:pt x="194" y="235"/>
                  <a:pt x="194" y="235"/>
                </a:cubicBezTo>
                <a:cubicBezTo>
                  <a:pt x="198" y="216"/>
                  <a:pt x="200" y="197"/>
                  <a:pt x="200" y="177"/>
                </a:cubicBezTo>
                <a:cubicBezTo>
                  <a:pt x="200" y="111"/>
                  <a:pt x="178" y="49"/>
                  <a:pt x="141" y="0"/>
                </a:cubicBezTo>
                <a:cubicBezTo>
                  <a:pt x="0" y="112"/>
                  <a:pt x="0" y="112"/>
                  <a:pt x="0" y="112"/>
                </a:cubicBezTo>
                <a:cubicBezTo>
                  <a:pt x="7" y="123"/>
                  <a:pt x="13" y="135"/>
                  <a:pt x="16" y="148"/>
                </a:cubicBezTo>
                <a:cubicBezTo>
                  <a:pt x="20" y="164"/>
                  <a:pt x="21" y="179"/>
                  <a:pt x="19" y="195"/>
                </a:cubicBezTo>
                <a:close/>
              </a:path>
            </a:pathLst>
          </a:custGeom>
          <a:solidFill>
            <a:schemeClr val="accent2"/>
          </a:solidFill>
          <a:ln w="9525">
            <a:noFill/>
            <a:round/>
            <a:headEnd/>
            <a:tailEnd/>
          </a:ln>
        </p:spPr>
        <p:txBody>
          <a:bodyPr/>
          <a:lstStyle/>
          <a:p>
            <a:pPr defTabSz="781835">
              <a:defRPr/>
            </a:pPr>
            <a:endParaRPr lang="en-GB" sz="900" kern="0">
              <a:solidFill>
                <a:sysClr val="windowText" lastClr="000000"/>
              </a:solidFill>
            </a:endParaRPr>
          </a:p>
        </p:txBody>
      </p:sp>
      <p:sp>
        <p:nvSpPr>
          <p:cNvPr id="52" name="Freeform 40">
            <a:extLst>
              <a:ext uri="{FF2B5EF4-FFF2-40B4-BE49-F238E27FC236}">
                <a16:creationId xmlns:a16="http://schemas.microsoft.com/office/drawing/2014/main" id="{F5E3A4F0-A8D0-AE58-A517-BC40C8FB28B1}"/>
              </a:ext>
            </a:extLst>
          </p:cNvPr>
          <p:cNvSpPr>
            <a:spLocks/>
          </p:cNvSpPr>
          <p:nvPr/>
        </p:nvSpPr>
        <p:spPr bwMode="gray">
          <a:xfrm>
            <a:off x="4462806" y="1186904"/>
            <a:ext cx="1583703" cy="1583703"/>
          </a:xfrm>
          <a:custGeom>
            <a:avLst/>
            <a:gdLst>
              <a:gd name="T0" fmla="*/ 1178206834 w 217"/>
              <a:gd name="T1" fmla="*/ 1111743246 h 217"/>
              <a:gd name="T2" fmla="*/ 1311131859 w 217"/>
              <a:gd name="T3" fmla="*/ 1093617484 h 217"/>
              <a:gd name="T4" fmla="*/ 1311131859 w 217"/>
              <a:gd name="T5" fmla="*/ 0 h 217"/>
              <a:gd name="T6" fmla="*/ 0 w 217"/>
              <a:gd name="T7" fmla="*/ 634419053 h 217"/>
              <a:gd name="T8" fmla="*/ 851933274 w 217"/>
              <a:gd name="T9" fmla="*/ 1311131859 h 217"/>
              <a:gd name="T10" fmla="*/ 1178206834 w 217"/>
              <a:gd name="T11" fmla="*/ 1111743246 h 217"/>
              <a:gd name="T12" fmla="*/ 0 60000 65536"/>
              <a:gd name="T13" fmla="*/ 0 60000 65536"/>
              <a:gd name="T14" fmla="*/ 0 60000 65536"/>
              <a:gd name="T15" fmla="*/ 0 60000 65536"/>
              <a:gd name="T16" fmla="*/ 0 60000 65536"/>
              <a:gd name="T17" fmla="*/ 0 60000 65536"/>
              <a:gd name="T18" fmla="*/ 0 w 217"/>
              <a:gd name="T19" fmla="*/ 0 h 217"/>
              <a:gd name="T20" fmla="*/ 217 w 217"/>
              <a:gd name="T21" fmla="*/ 217 h 217"/>
            </a:gdLst>
            <a:ahLst/>
            <a:cxnLst>
              <a:cxn ang="T12">
                <a:pos x="T0" y="T1"/>
              </a:cxn>
              <a:cxn ang="T13">
                <a:pos x="T2" y="T3"/>
              </a:cxn>
              <a:cxn ang="T14">
                <a:pos x="T4" y="T5"/>
              </a:cxn>
              <a:cxn ang="T15">
                <a:pos x="T6" y="T7"/>
              </a:cxn>
              <a:cxn ang="T16">
                <a:pos x="T8" y="T9"/>
              </a:cxn>
              <a:cxn ang="T17">
                <a:pos x="T10" y="T11"/>
              </a:cxn>
            </a:cxnLst>
            <a:rect l="T18" t="T19" r="T20" b="T21"/>
            <a:pathLst>
              <a:path w="217" h="217">
                <a:moveTo>
                  <a:pt x="195" y="184"/>
                </a:moveTo>
                <a:cubicBezTo>
                  <a:pt x="202" y="182"/>
                  <a:pt x="210" y="181"/>
                  <a:pt x="217" y="181"/>
                </a:cubicBezTo>
                <a:cubicBezTo>
                  <a:pt x="217" y="0"/>
                  <a:pt x="217" y="0"/>
                  <a:pt x="217" y="0"/>
                </a:cubicBezTo>
                <a:cubicBezTo>
                  <a:pt x="130" y="3"/>
                  <a:pt x="52" y="43"/>
                  <a:pt x="0" y="105"/>
                </a:cubicBezTo>
                <a:cubicBezTo>
                  <a:pt x="141" y="217"/>
                  <a:pt x="141" y="217"/>
                  <a:pt x="141" y="217"/>
                </a:cubicBezTo>
                <a:cubicBezTo>
                  <a:pt x="155" y="201"/>
                  <a:pt x="174" y="190"/>
                  <a:pt x="195" y="184"/>
                </a:cubicBezTo>
                <a:close/>
              </a:path>
            </a:pathLst>
          </a:custGeom>
          <a:solidFill>
            <a:schemeClr val="tx1"/>
          </a:solidFill>
          <a:ln w="9525">
            <a:noFill/>
            <a:round/>
            <a:headEnd/>
            <a:tailEnd/>
          </a:ln>
        </p:spPr>
        <p:txBody>
          <a:bodyPr/>
          <a:lstStyle/>
          <a:p>
            <a:pPr defTabSz="781835">
              <a:defRPr/>
            </a:pPr>
            <a:endParaRPr lang="en-GB" sz="900" kern="0">
              <a:solidFill>
                <a:sysClr val="windowText" lastClr="000000"/>
              </a:solidFill>
            </a:endParaRPr>
          </a:p>
        </p:txBody>
      </p:sp>
      <p:sp>
        <p:nvSpPr>
          <p:cNvPr id="53" name="Freeform 41">
            <a:extLst>
              <a:ext uri="{FF2B5EF4-FFF2-40B4-BE49-F238E27FC236}">
                <a16:creationId xmlns:a16="http://schemas.microsoft.com/office/drawing/2014/main" id="{BF062251-6E54-46C7-459B-A7C1F750933B}"/>
              </a:ext>
            </a:extLst>
          </p:cNvPr>
          <p:cNvSpPr>
            <a:spLocks/>
          </p:cNvSpPr>
          <p:nvPr/>
        </p:nvSpPr>
        <p:spPr bwMode="gray">
          <a:xfrm>
            <a:off x="6503710" y="3567812"/>
            <a:ext cx="1663829" cy="1668544"/>
          </a:xfrm>
          <a:custGeom>
            <a:avLst/>
            <a:gdLst>
              <a:gd name="T0" fmla="*/ 0 w 228"/>
              <a:gd name="T1" fmla="*/ 397473431 h 229"/>
              <a:gd name="T2" fmla="*/ 471194554 w 228"/>
              <a:gd name="T3" fmla="*/ 1379108982 h 229"/>
              <a:gd name="T4" fmla="*/ 1377340552 w 228"/>
              <a:gd name="T5" fmla="*/ 240893418 h 229"/>
              <a:gd name="T6" fmla="*/ 320170222 w 228"/>
              <a:gd name="T7" fmla="*/ 0 h 229"/>
              <a:gd name="T8" fmla="*/ 253720139 w 228"/>
              <a:gd name="T9" fmla="*/ 150557763 h 229"/>
              <a:gd name="T10" fmla="*/ 0 w 228"/>
              <a:gd name="T11" fmla="*/ 397473431 h 229"/>
              <a:gd name="T12" fmla="*/ 0 60000 65536"/>
              <a:gd name="T13" fmla="*/ 0 60000 65536"/>
              <a:gd name="T14" fmla="*/ 0 60000 65536"/>
              <a:gd name="T15" fmla="*/ 0 60000 65536"/>
              <a:gd name="T16" fmla="*/ 0 60000 65536"/>
              <a:gd name="T17" fmla="*/ 0 60000 65536"/>
              <a:gd name="T18" fmla="*/ 0 w 228"/>
              <a:gd name="T19" fmla="*/ 0 h 229"/>
              <a:gd name="T20" fmla="*/ 228 w 228"/>
              <a:gd name="T21" fmla="*/ 229 h 229"/>
            </a:gdLst>
            <a:ahLst/>
            <a:cxnLst>
              <a:cxn ang="T12">
                <a:pos x="T0" y="T1"/>
              </a:cxn>
              <a:cxn ang="T13">
                <a:pos x="T2" y="T3"/>
              </a:cxn>
              <a:cxn ang="T14">
                <a:pos x="T4" y="T5"/>
              </a:cxn>
              <a:cxn ang="T15">
                <a:pos x="T6" y="T7"/>
              </a:cxn>
              <a:cxn ang="T16">
                <a:pos x="T8" y="T9"/>
              </a:cxn>
              <a:cxn ang="T17">
                <a:pos x="T10" y="T11"/>
              </a:cxn>
            </a:cxnLst>
            <a:rect l="T18" t="T19" r="T20" b="T21"/>
            <a:pathLst>
              <a:path w="228" h="229">
                <a:moveTo>
                  <a:pt x="0" y="66"/>
                </a:moveTo>
                <a:cubicBezTo>
                  <a:pt x="78" y="229"/>
                  <a:pt x="78" y="229"/>
                  <a:pt x="78" y="229"/>
                </a:cubicBezTo>
                <a:cubicBezTo>
                  <a:pt x="152" y="191"/>
                  <a:pt x="208" y="122"/>
                  <a:pt x="228" y="40"/>
                </a:cubicBezTo>
                <a:cubicBezTo>
                  <a:pt x="53" y="0"/>
                  <a:pt x="53" y="0"/>
                  <a:pt x="53" y="0"/>
                </a:cubicBezTo>
                <a:cubicBezTo>
                  <a:pt x="50" y="8"/>
                  <a:pt x="47" y="17"/>
                  <a:pt x="42" y="25"/>
                </a:cubicBezTo>
                <a:cubicBezTo>
                  <a:pt x="32" y="42"/>
                  <a:pt x="17" y="57"/>
                  <a:pt x="0" y="66"/>
                </a:cubicBezTo>
                <a:close/>
              </a:path>
            </a:pathLst>
          </a:custGeom>
          <a:solidFill>
            <a:schemeClr val="tx1"/>
          </a:solidFill>
          <a:ln w="9525">
            <a:noFill/>
            <a:round/>
            <a:headEnd/>
            <a:tailEnd/>
          </a:ln>
        </p:spPr>
        <p:txBody>
          <a:bodyPr/>
          <a:lstStyle/>
          <a:p>
            <a:pPr defTabSz="781835">
              <a:defRPr/>
            </a:pPr>
            <a:endParaRPr lang="en-GB" sz="900" kern="0">
              <a:solidFill>
                <a:sysClr val="windowText" lastClr="000000"/>
              </a:solidFill>
            </a:endParaRPr>
          </a:p>
        </p:txBody>
      </p:sp>
      <p:sp>
        <p:nvSpPr>
          <p:cNvPr id="55" name="Freeform 43">
            <a:extLst>
              <a:ext uri="{FF2B5EF4-FFF2-40B4-BE49-F238E27FC236}">
                <a16:creationId xmlns:a16="http://schemas.microsoft.com/office/drawing/2014/main" id="{162A115D-47F3-93D1-7770-325101AD7F91}"/>
              </a:ext>
            </a:extLst>
          </p:cNvPr>
          <p:cNvSpPr>
            <a:spLocks/>
          </p:cNvSpPr>
          <p:nvPr/>
        </p:nvSpPr>
        <p:spPr bwMode="gray">
          <a:xfrm>
            <a:off x="4024462" y="3567812"/>
            <a:ext cx="1673256" cy="1668544"/>
          </a:xfrm>
          <a:custGeom>
            <a:avLst/>
            <a:gdLst>
              <a:gd name="T0" fmla="*/ 1065922175 w 229"/>
              <a:gd name="T1" fmla="*/ 0 h 229"/>
              <a:gd name="T2" fmla="*/ 0 w 229"/>
              <a:gd name="T3" fmla="*/ 240893418 h 229"/>
              <a:gd name="T4" fmla="*/ 914511071 w 229"/>
              <a:gd name="T5" fmla="*/ 1379108982 h 229"/>
              <a:gd name="T6" fmla="*/ 1386909101 w 229"/>
              <a:gd name="T7" fmla="*/ 397473431 h 229"/>
              <a:gd name="T8" fmla="*/ 1380852657 w 229"/>
              <a:gd name="T9" fmla="*/ 397473431 h 229"/>
              <a:gd name="T10" fmla="*/ 1065922175 w 229"/>
              <a:gd name="T11" fmla="*/ 0 h 229"/>
              <a:gd name="T12" fmla="*/ 0 60000 65536"/>
              <a:gd name="T13" fmla="*/ 0 60000 65536"/>
              <a:gd name="T14" fmla="*/ 0 60000 65536"/>
              <a:gd name="T15" fmla="*/ 0 60000 65536"/>
              <a:gd name="T16" fmla="*/ 0 60000 65536"/>
              <a:gd name="T17" fmla="*/ 0 60000 65536"/>
              <a:gd name="T18" fmla="*/ 0 w 229"/>
              <a:gd name="T19" fmla="*/ 0 h 229"/>
              <a:gd name="T20" fmla="*/ 229 w 229"/>
              <a:gd name="T21" fmla="*/ 229 h 229"/>
            </a:gdLst>
            <a:ahLst/>
            <a:cxnLst>
              <a:cxn ang="T12">
                <a:pos x="T0" y="T1"/>
              </a:cxn>
              <a:cxn ang="T13">
                <a:pos x="T2" y="T3"/>
              </a:cxn>
              <a:cxn ang="T14">
                <a:pos x="T4" y="T5"/>
              </a:cxn>
              <a:cxn ang="T15">
                <a:pos x="T6" y="T7"/>
              </a:cxn>
              <a:cxn ang="T16">
                <a:pos x="T8" y="T9"/>
              </a:cxn>
              <a:cxn ang="T17">
                <a:pos x="T10" y="T11"/>
              </a:cxn>
            </a:cxnLst>
            <a:rect l="T18" t="T19" r="T20" b="T21"/>
            <a:pathLst>
              <a:path w="229" h="229">
                <a:moveTo>
                  <a:pt x="176" y="0"/>
                </a:moveTo>
                <a:cubicBezTo>
                  <a:pt x="0" y="40"/>
                  <a:pt x="0" y="40"/>
                  <a:pt x="0" y="40"/>
                </a:cubicBezTo>
                <a:cubicBezTo>
                  <a:pt x="21" y="122"/>
                  <a:pt x="77" y="191"/>
                  <a:pt x="151" y="229"/>
                </a:cubicBezTo>
                <a:cubicBezTo>
                  <a:pt x="229" y="66"/>
                  <a:pt x="229" y="66"/>
                  <a:pt x="229" y="66"/>
                </a:cubicBezTo>
                <a:cubicBezTo>
                  <a:pt x="229" y="66"/>
                  <a:pt x="228" y="66"/>
                  <a:pt x="228" y="66"/>
                </a:cubicBezTo>
                <a:cubicBezTo>
                  <a:pt x="202" y="51"/>
                  <a:pt x="184" y="27"/>
                  <a:pt x="176" y="0"/>
                </a:cubicBezTo>
                <a:close/>
              </a:path>
            </a:pathLst>
          </a:custGeom>
          <a:solidFill>
            <a:schemeClr val="accent3"/>
          </a:solidFill>
          <a:ln w="9525">
            <a:noFill/>
            <a:round/>
            <a:headEnd/>
            <a:tailEnd/>
          </a:ln>
        </p:spPr>
        <p:txBody>
          <a:bodyPr/>
          <a:lstStyle/>
          <a:p>
            <a:pPr defTabSz="781835">
              <a:defRPr/>
            </a:pPr>
            <a:endParaRPr lang="en-GB" sz="900" kern="0">
              <a:solidFill>
                <a:sysClr val="windowText" lastClr="000000"/>
              </a:solidFill>
            </a:endParaRPr>
          </a:p>
        </p:txBody>
      </p:sp>
      <p:sp>
        <p:nvSpPr>
          <p:cNvPr id="56" name="Freeform 44">
            <a:extLst>
              <a:ext uri="{FF2B5EF4-FFF2-40B4-BE49-F238E27FC236}">
                <a16:creationId xmlns:a16="http://schemas.microsoft.com/office/drawing/2014/main" id="{3DB691FC-5B57-0868-4D24-2C801DAD6409}"/>
              </a:ext>
            </a:extLst>
          </p:cNvPr>
          <p:cNvSpPr>
            <a:spLocks/>
          </p:cNvSpPr>
          <p:nvPr/>
        </p:nvSpPr>
        <p:spPr bwMode="gray">
          <a:xfrm>
            <a:off x="6154919" y="1196973"/>
            <a:ext cx="1583703" cy="1583703"/>
          </a:xfrm>
          <a:custGeom>
            <a:avLst/>
            <a:gdLst>
              <a:gd name="T0" fmla="*/ 459198431 w 217"/>
              <a:gd name="T1" fmla="*/ 1311131859 h 217"/>
              <a:gd name="T2" fmla="*/ 1311131859 w 217"/>
              <a:gd name="T3" fmla="*/ 634419053 h 217"/>
              <a:gd name="T4" fmla="*/ 0 w 217"/>
              <a:gd name="T5" fmla="*/ 0 h 217"/>
              <a:gd name="T6" fmla="*/ 0 w 217"/>
              <a:gd name="T7" fmla="*/ 1093617484 h 217"/>
              <a:gd name="T8" fmla="*/ 296061574 w 217"/>
              <a:gd name="T9" fmla="*/ 1178206834 h 217"/>
              <a:gd name="T10" fmla="*/ 459198431 w 217"/>
              <a:gd name="T11" fmla="*/ 1311131859 h 217"/>
              <a:gd name="T12" fmla="*/ 0 60000 65536"/>
              <a:gd name="T13" fmla="*/ 0 60000 65536"/>
              <a:gd name="T14" fmla="*/ 0 60000 65536"/>
              <a:gd name="T15" fmla="*/ 0 60000 65536"/>
              <a:gd name="T16" fmla="*/ 0 60000 65536"/>
              <a:gd name="T17" fmla="*/ 0 60000 65536"/>
              <a:gd name="T18" fmla="*/ 0 w 217"/>
              <a:gd name="T19" fmla="*/ 0 h 217"/>
              <a:gd name="T20" fmla="*/ 217 w 217"/>
              <a:gd name="T21" fmla="*/ 217 h 217"/>
            </a:gdLst>
            <a:ahLst/>
            <a:cxnLst>
              <a:cxn ang="T12">
                <a:pos x="T0" y="T1"/>
              </a:cxn>
              <a:cxn ang="T13">
                <a:pos x="T2" y="T3"/>
              </a:cxn>
              <a:cxn ang="T14">
                <a:pos x="T4" y="T5"/>
              </a:cxn>
              <a:cxn ang="T15">
                <a:pos x="T6" y="T7"/>
              </a:cxn>
              <a:cxn ang="T16">
                <a:pos x="T8" y="T9"/>
              </a:cxn>
              <a:cxn ang="T17">
                <a:pos x="T10" y="T11"/>
              </a:cxn>
            </a:cxnLst>
            <a:rect l="T18" t="T19" r="T20" b="T21"/>
            <a:pathLst>
              <a:path w="217" h="217">
                <a:moveTo>
                  <a:pt x="76" y="217"/>
                </a:moveTo>
                <a:cubicBezTo>
                  <a:pt x="217" y="105"/>
                  <a:pt x="217" y="105"/>
                  <a:pt x="217" y="105"/>
                </a:cubicBezTo>
                <a:cubicBezTo>
                  <a:pt x="164" y="43"/>
                  <a:pt x="87" y="3"/>
                  <a:pt x="0" y="0"/>
                </a:cubicBezTo>
                <a:cubicBezTo>
                  <a:pt x="0" y="181"/>
                  <a:pt x="0" y="181"/>
                  <a:pt x="0" y="181"/>
                </a:cubicBezTo>
                <a:cubicBezTo>
                  <a:pt x="17" y="182"/>
                  <a:pt x="33" y="187"/>
                  <a:pt x="49" y="195"/>
                </a:cubicBezTo>
                <a:cubicBezTo>
                  <a:pt x="59" y="201"/>
                  <a:pt x="68" y="209"/>
                  <a:pt x="76" y="217"/>
                </a:cubicBezTo>
                <a:close/>
              </a:path>
            </a:pathLst>
          </a:custGeom>
          <a:solidFill>
            <a:schemeClr val="accent3"/>
          </a:solidFill>
          <a:ln w="3175">
            <a:noFill/>
            <a:round/>
            <a:headEnd/>
            <a:tailEnd/>
          </a:ln>
        </p:spPr>
        <p:txBody>
          <a:bodyPr/>
          <a:lstStyle/>
          <a:p>
            <a:pPr defTabSz="781835">
              <a:defRPr/>
            </a:pPr>
            <a:endParaRPr lang="en-GB" sz="900" kern="0">
              <a:solidFill>
                <a:sysClr val="windowText" lastClr="000000"/>
              </a:solidFill>
            </a:endParaRPr>
          </a:p>
        </p:txBody>
      </p:sp>
      <p:cxnSp>
        <p:nvCxnSpPr>
          <p:cNvPr id="62" name="Straight Connector 61">
            <a:extLst>
              <a:ext uri="{FF2B5EF4-FFF2-40B4-BE49-F238E27FC236}">
                <a16:creationId xmlns:a16="http://schemas.microsoft.com/office/drawing/2014/main" id="{88ED54AF-FBE4-A8EF-25E9-C3B7A13C7179}"/>
              </a:ext>
            </a:extLst>
          </p:cNvPr>
          <p:cNvCxnSpPr>
            <a:cxnSpLocks/>
          </p:cNvCxnSpPr>
          <p:nvPr/>
        </p:nvCxnSpPr>
        <p:spPr>
          <a:xfrm>
            <a:off x="8167538" y="3745443"/>
            <a:ext cx="3581550" cy="0"/>
          </a:xfrm>
          <a:prstGeom prst="line">
            <a:avLst/>
          </a:prstGeom>
          <a:ln w="6350" cap="sq">
            <a:solidFill>
              <a:schemeClr val="tx1"/>
            </a:solidFill>
          </a:ln>
        </p:spPr>
        <p:style>
          <a:lnRef idx="1">
            <a:schemeClr val="accent1"/>
          </a:lnRef>
          <a:fillRef idx="0">
            <a:schemeClr val="accent1"/>
          </a:fillRef>
          <a:effectRef idx="0">
            <a:schemeClr val="dk1"/>
          </a:effectRef>
          <a:fontRef idx="minor">
            <a:schemeClr val="lt1"/>
          </a:fontRef>
        </p:style>
      </p:cxnSp>
      <p:cxnSp>
        <p:nvCxnSpPr>
          <p:cNvPr id="63" name="Straight Connector 62">
            <a:extLst>
              <a:ext uri="{FF2B5EF4-FFF2-40B4-BE49-F238E27FC236}">
                <a16:creationId xmlns:a16="http://schemas.microsoft.com/office/drawing/2014/main" id="{6AE20602-F34D-BA68-4FAC-FCD0E9ABA405}"/>
              </a:ext>
            </a:extLst>
          </p:cNvPr>
          <p:cNvCxnSpPr>
            <a:cxnSpLocks/>
          </p:cNvCxnSpPr>
          <p:nvPr/>
        </p:nvCxnSpPr>
        <p:spPr>
          <a:xfrm>
            <a:off x="442912" y="1966522"/>
            <a:ext cx="4019894" cy="0"/>
          </a:xfrm>
          <a:prstGeom prst="line">
            <a:avLst/>
          </a:prstGeom>
          <a:ln w="6350" cap="sq">
            <a:solidFill>
              <a:schemeClr val="tx1"/>
            </a:solidFill>
          </a:ln>
        </p:spPr>
        <p:style>
          <a:lnRef idx="1">
            <a:schemeClr val="accent1"/>
          </a:lnRef>
          <a:fillRef idx="0">
            <a:schemeClr val="accent1"/>
          </a:fillRef>
          <a:effectRef idx="0">
            <a:schemeClr val="dk1"/>
          </a:effectRef>
          <a:fontRef idx="minor">
            <a:schemeClr val="lt1"/>
          </a:fontRef>
        </p:style>
      </p:cxnSp>
      <p:cxnSp>
        <p:nvCxnSpPr>
          <p:cNvPr id="66" name="Straight Connector 65">
            <a:extLst>
              <a:ext uri="{FF2B5EF4-FFF2-40B4-BE49-F238E27FC236}">
                <a16:creationId xmlns:a16="http://schemas.microsoft.com/office/drawing/2014/main" id="{EA5D2D2E-1A62-3780-2344-C550979BBB46}"/>
              </a:ext>
            </a:extLst>
          </p:cNvPr>
          <p:cNvCxnSpPr>
            <a:cxnSpLocks/>
          </p:cNvCxnSpPr>
          <p:nvPr/>
        </p:nvCxnSpPr>
        <p:spPr>
          <a:xfrm>
            <a:off x="7738622" y="1966522"/>
            <a:ext cx="4010466" cy="0"/>
          </a:xfrm>
          <a:prstGeom prst="line">
            <a:avLst/>
          </a:prstGeom>
          <a:ln w="6350" cap="sq">
            <a:solidFill>
              <a:schemeClr val="tx1"/>
            </a:solidFill>
          </a:ln>
        </p:spPr>
        <p:style>
          <a:lnRef idx="1">
            <a:schemeClr val="accent1"/>
          </a:lnRef>
          <a:fillRef idx="0">
            <a:schemeClr val="accent1"/>
          </a:fillRef>
          <a:effectRef idx="0">
            <a:schemeClr val="dk1"/>
          </a:effectRef>
          <a:fontRef idx="minor">
            <a:schemeClr val="lt1"/>
          </a:fontRef>
        </p:style>
      </p:cxnSp>
      <p:cxnSp>
        <p:nvCxnSpPr>
          <p:cNvPr id="71" name="Straight Connector 70">
            <a:extLst>
              <a:ext uri="{FF2B5EF4-FFF2-40B4-BE49-F238E27FC236}">
                <a16:creationId xmlns:a16="http://schemas.microsoft.com/office/drawing/2014/main" id="{37CCAFBB-F664-11A4-A37C-66FCC08B3451}"/>
              </a:ext>
            </a:extLst>
          </p:cNvPr>
          <p:cNvCxnSpPr>
            <a:cxnSpLocks/>
          </p:cNvCxnSpPr>
          <p:nvPr/>
        </p:nvCxnSpPr>
        <p:spPr>
          <a:xfrm>
            <a:off x="442912" y="5234989"/>
            <a:ext cx="4671781" cy="0"/>
          </a:xfrm>
          <a:prstGeom prst="line">
            <a:avLst/>
          </a:prstGeom>
          <a:ln w="6350" cap="sq">
            <a:solidFill>
              <a:schemeClr val="tx1"/>
            </a:solidFill>
          </a:ln>
        </p:spPr>
        <p:style>
          <a:lnRef idx="1">
            <a:schemeClr val="accent1"/>
          </a:lnRef>
          <a:fillRef idx="0">
            <a:schemeClr val="accent1"/>
          </a:fillRef>
          <a:effectRef idx="0">
            <a:schemeClr val="dk1"/>
          </a:effectRef>
          <a:fontRef idx="minor">
            <a:schemeClr val="lt1"/>
          </a:fontRef>
        </p:style>
      </p:cxnSp>
      <p:cxnSp>
        <p:nvCxnSpPr>
          <p:cNvPr id="72" name="Straight Connector 71">
            <a:extLst>
              <a:ext uri="{FF2B5EF4-FFF2-40B4-BE49-F238E27FC236}">
                <a16:creationId xmlns:a16="http://schemas.microsoft.com/office/drawing/2014/main" id="{0EBBCBDA-4823-E18A-6778-0FF84D41F0C9}"/>
              </a:ext>
            </a:extLst>
          </p:cNvPr>
          <p:cNvCxnSpPr>
            <a:cxnSpLocks/>
          </p:cNvCxnSpPr>
          <p:nvPr/>
        </p:nvCxnSpPr>
        <p:spPr>
          <a:xfrm>
            <a:off x="7084741" y="5234989"/>
            <a:ext cx="4664347" cy="0"/>
          </a:xfrm>
          <a:prstGeom prst="line">
            <a:avLst/>
          </a:prstGeom>
          <a:ln w="6350" cap="sq">
            <a:solidFill>
              <a:schemeClr val="tx1"/>
            </a:solidFill>
          </a:ln>
        </p:spPr>
        <p:style>
          <a:lnRef idx="1">
            <a:schemeClr val="accent1"/>
          </a:lnRef>
          <a:fillRef idx="0">
            <a:schemeClr val="accent1"/>
          </a:fillRef>
          <a:effectRef idx="0">
            <a:schemeClr val="dk1"/>
          </a:effectRef>
          <a:fontRef idx="minor">
            <a:schemeClr val="lt1"/>
          </a:fontRef>
        </p:style>
      </p:cxnSp>
      <p:sp>
        <p:nvSpPr>
          <p:cNvPr id="77" name="TextBox 76">
            <a:extLst>
              <a:ext uri="{FF2B5EF4-FFF2-40B4-BE49-F238E27FC236}">
                <a16:creationId xmlns:a16="http://schemas.microsoft.com/office/drawing/2014/main" id="{44C678F6-72B4-5ADA-4851-6299AFF11CFB}"/>
              </a:ext>
            </a:extLst>
          </p:cNvPr>
          <p:cNvSpPr txBox="1"/>
          <p:nvPr/>
        </p:nvSpPr>
        <p:spPr>
          <a:xfrm>
            <a:off x="8414655" y="4523465"/>
            <a:ext cx="3334431" cy="646331"/>
          </a:xfrm>
          <a:prstGeom prst="rect">
            <a:avLst/>
          </a:prstGeom>
          <a:noFill/>
        </p:spPr>
        <p:txBody>
          <a:bodyPr wrap="square" lIns="0" tIns="0" rIns="0" bIns="0">
            <a:spAutoFit/>
          </a:bodyPr>
          <a:lstStyle>
            <a:defPPr>
              <a:defRPr lang="en-US"/>
            </a:defPPr>
            <a:lvl1pPr marR="0" lvl="0" indent="0">
              <a:spcBef>
                <a:spcPts val="0"/>
              </a:spcBef>
              <a:spcAft>
                <a:spcPts val="0"/>
              </a:spcAft>
              <a:buNone/>
              <a:defRPr sz="1200"/>
            </a:lvl1pPr>
          </a:lstStyle>
          <a:p>
            <a:r>
              <a:rPr lang="en-US" sz="1400" dirty="0">
                <a:solidFill>
                  <a:schemeClr val="dk1"/>
                </a:solidFill>
              </a:rPr>
              <a:t>Organisation of contributions for the creation, operation or management of companies</a:t>
            </a:r>
          </a:p>
        </p:txBody>
      </p:sp>
      <p:sp>
        <p:nvSpPr>
          <p:cNvPr id="78" name="TextBox 77">
            <a:extLst>
              <a:ext uri="{FF2B5EF4-FFF2-40B4-BE49-F238E27FC236}">
                <a16:creationId xmlns:a16="http://schemas.microsoft.com/office/drawing/2014/main" id="{275035F7-1F90-E61F-3D51-3040348A97C9}"/>
              </a:ext>
            </a:extLst>
          </p:cNvPr>
          <p:cNvSpPr txBox="1"/>
          <p:nvPr/>
        </p:nvSpPr>
        <p:spPr>
          <a:xfrm>
            <a:off x="442911" y="3237600"/>
            <a:ext cx="3515563" cy="215444"/>
          </a:xfrm>
          <a:prstGeom prst="rect">
            <a:avLst/>
          </a:prstGeom>
          <a:noFill/>
        </p:spPr>
        <p:txBody>
          <a:bodyPr wrap="square" lIns="0" tIns="0" rIns="0" bIns="0">
            <a:spAutoFit/>
          </a:bodyPr>
          <a:lstStyle>
            <a:defPPr>
              <a:defRPr lang="en-US"/>
            </a:defPPr>
            <a:lvl1pPr marR="0" lvl="0" indent="0">
              <a:spcBef>
                <a:spcPts val="0"/>
              </a:spcBef>
              <a:spcAft>
                <a:spcPts val="0"/>
              </a:spcAft>
              <a:buNone/>
              <a:defRPr sz="1200"/>
            </a:lvl1pPr>
          </a:lstStyle>
          <a:p>
            <a:pPr marL="0" marR="0" lvl="0" indent="0" algn="l" rtl="0">
              <a:spcBef>
                <a:spcPts val="0"/>
              </a:spcBef>
              <a:spcAft>
                <a:spcPts val="0"/>
              </a:spcAft>
              <a:buNone/>
            </a:pPr>
            <a:r>
              <a:rPr lang="en-US" sz="1400" dirty="0">
                <a:solidFill>
                  <a:schemeClr val="dk1"/>
                </a:solidFill>
              </a:rPr>
              <a:t>Buying and selling of business entities</a:t>
            </a:r>
            <a:endParaRPr lang="en-US" sz="1400" dirty="0"/>
          </a:p>
        </p:txBody>
      </p:sp>
      <p:sp>
        <p:nvSpPr>
          <p:cNvPr id="79" name="TextBox 78">
            <a:extLst>
              <a:ext uri="{FF2B5EF4-FFF2-40B4-BE49-F238E27FC236}">
                <a16:creationId xmlns:a16="http://schemas.microsoft.com/office/drawing/2014/main" id="{5928076D-4A43-E9BC-D3F1-D228E793DD57}"/>
              </a:ext>
            </a:extLst>
          </p:cNvPr>
          <p:cNvSpPr txBox="1"/>
          <p:nvPr/>
        </p:nvSpPr>
        <p:spPr>
          <a:xfrm>
            <a:off x="7797237" y="1517381"/>
            <a:ext cx="3478190" cy="215444"/>
          </a:xfrm>
          <a:prstGeom prst="rect">
            <a:avLst/>
          </a:prstGeom>
          <a:noFill/>
        </p:spPr>
        <p:txBody>
          <a:bodyPr wrap="square" lIns="0" tIns="0" rIns="0" bIns="0">
            <a:spAutoFit/>
          </a:bodyPr>
          <a:lstStyle>
            <a:defPPr>
              <a:defRPr lang="en-US"/>
            </a:defPPr>
            <a:lvl1pPr marR="0" lvl="0" indent="0">
              <a:spcBef>
                <a:spcPts val="0"/>
              </a:spcBef>
              <a:spcAft>
                <a:spcPts val="0"/>
              </a:spcAft>
              <a:buNone/>
              <a:defRPr sz="1200"/>
            </a:lvl1pPr>
          </a:lstStyle>
          <a:p>
            <a:r>
              <a:rPr lang="en-US" sz="1400" dirty="0">
                <a:solidFill>
                  <a:schemeClr val="dk1"/>
                </a:solidFill>
              </a:rPr>
              <a:t>Buying and Selling of Real Estate</a:t>
            </a:r>
          </a:p>
        </p:txBody>
      </p:sp>
      <p:sp>
        <p:nvSpPr>
          <p:cNvPr id="80" name="TextBox 79">
            <a:extLst>
              <a:ext uri="{FF2B5EF4-FFF2-40B4-BE49-F238E27FC236}">
                <a16:creationId xmlns:a16="http://schemas.microsoft.com/office/drawing/2014/main" id="{604B7238-AA8B-9A31-A563-3209FF83DBF7}"/>
              </a:ext>
            </a:extLst>
          </p:cNvPr>
          <p:cNvSpPr txBox="1"/>
          <p:nvPr/>
        </p:nvSpPr>
        <p:spPr>
          <a:xfrm>
            <a:off x="442912" y="4676125"/>
            <a:ext cx="3478190" cy="430887"/>
          </a:xfrm>
          <a:prstGeom prst="rect">
            <a:avLst/>
          </a:prstGeom>
          <a:noFill/>
        </p:spPr>
        <p:txBody>
          <a:bodyPr wrap="square" lIns="0" tIns="0" rIns="0" bIns="0">
            <a:spAutoFit/>
          </a:bodyPr>
          <a:lstStyle>
            <a:defPPr>
              <a:defRPr lang="en-US"/>
            </a:defPPr>
            <a:lvl1pPr marR="0" lvl="0" indent="0">
              <a:spcBef>
                <a:spcPts val="0"/>
              </a:spcBef>
              <a:spcAft>
                <a:spcPts val="0"/>
              </a:spcAft>
              <a:buNone/>
              <a:defRPr sz="1200"/>
            </a:lvl1pPr>
          </a:lstStyle>
          <a:p>
            <a:r>
              <a:rPr lang="en-US" sz="1400" dirty="0">
                <a:solidFill>
                  <a:schemeClr val="dk1"/>
                </a:solidFill>
              </a:rPr>
              <a:t>Financial transactions for or on behalf of client concerning all the other activities</a:t>
            </a:r>
            <a:endParaRPr lang="en-US" sz="1400" dirty="0"/>
          </a:p>
        </p:txBody>
      </p:sp>
      <p:sp>
        <p:nvSpPr>
          <p:cNvPr id="86" name="Freeform 25">
            <a:extLst>
              <a:ext uri="{FF2B5EF4-FFF2-40B4-BE49-F238E27FC236}">
                <a16:creationId xmlns:a16="http://schemas.microsoft.com/office/drawing/2014/main" id="{2A37A0F6-86E8-43E6-3FE9-CDDD1B92E772}"/>
              </a:ext>
            </a:extLst>
          </p:cNvPr>
          <p:cNvSpPr>
            <a:spLocks noChangeAspect="1" noEditPoints="1"/>
          </p:cNvSpPr>
          <p:nvPr/>
        </p:nvSpPr>
        <p:spPr bwMode="auto">
          <a:xfrm>
            <a:off x="4629035" y="4040782"/>
            <a:ext cx="553212" cy="551818"/>
          </a:xfrm>
          <a:custGeom>
            <a:avLst/>
            <a:gdLst>
              <a:gd name="T0" fmla="*/ 0 w 347"/>
              <a:gd name="T1" fmla="*/ 0 h 346"/>
              <a:gd name="T2" fmla="*/ 0 w 347"/>
              <a:gd name="T3" fmla="*/ 346 h 346"/>
              <a:gd name="T4" fmla="*/ 347 w 347"/>
              <a:gd name="T5" fmla="*/ 346 h 346"/>
              <a:gd name="T6" fmla="*/ 347 w 347"/>
              <a:gd name="T7" fmla="*/ 0 h 346"/>
              <a:gd name="T8" fmla="*/ 0 w 347"/>
              <a:gd name="T9" fmla="*/ 0 h 346"/>
              <a:gd name="T10" fmla="*/ 332 w 347"/>
              <a:gd name="T11" fmla="*/ 332 h 346"/>
              <a:gd name="T12" fmla="*/ 15 w 347"/>
              <a:gd name="T13" fmla="*/ 332 h 346"/>
              <a:gd name="T14" fmla="*/ 15 w 347"/>
              <a:gd name="T15" fmla="*/ 15 h 346"/>
              <a:gd name="T16" fmla="*/ 332 w 347"/>
              <a:gd name="T17" fmla="*/ 15 h 346"/>
              <a:gd name="T18" fmla="*/ 332 w 347"/>
              <a:gd name="T19" fmla="*/ 332 h 346"/>
              <a:gd name="T20" fmla="*/ 48 w 347"/>
              <a:gd name="T21" fmla="*/ 309 h 346"/>
              <a:gd name="T22" fmla="*/ 133 w 347"/>
              <a:gd name="T23" fmla="*/ 224 h 346"/>
              <a:gd name="T24" fmla="*/ 204 w 347"/>
              <a:gd name="T25" fmla="*/ 250 h 346"/>
              <a:gd name="T26" fmla="*/ 280 w 347"/>
              <a:gd name="T27" fmla="*/ 219 h 346"/>
              <a:gd name="T28" fmla="*/ 280 w 347"/>
              <a:gd name="T29" fmla="*/ 67 h 346"/>
              <a:gd name="T30" fmla="*/ 204 w 347"/>
              <a:gd name="T31" fmla="*/ 35 h 346"/>
              <a:gd name="T32" fmla="*/ 128 w 347"/>
              <a:gd name="T33" fmla="*/ 67 h 346"/>
              <a:gd name="T34" fmla="*/ 123 w 347"/>
              <a:gd name="T35" fmla="*/ 214 h 346"/>
              <a:gd name="T36" fmla="*/ 37 w 347"/>
              <a:gd name="T37" fmla="*/ 299 h 346"/>
              <a:gd name="T38" fmla="*/ 48 w 347"/>
              <a:gd name="T39" fmla="*/ 309 h 346"/>
              <a:gd name="T40" fmla="*/ 270 w 347"/>
              <a:gd name="T41" fmla="*/ 208 h 346"/>
              <a:gd name="T42" fmla="*/ 204 w 347"/>
              <a:gd name="T43" fmla="*/ 236 h 346"/>
              <a:gd name="T44" fmla="*/ 138 w 347"/>
              <a:gd name="T45" fmla="*/ 208 h 346"/>
              <a:gd name="T46" fmla="*/ 126 w 347"/>
              <a:gd name="T47" fmla="*/ 193 h 346"/>
              <a:gd name="T48" fmla="*/ 139 w 347"/>
              <a:gd name="T49" fmla="*/ 193 h 346"/>
              <a:gd name="T50" fmla="*/ 178 w 347"/>
              <a:gd name="T51" fmla="*/ 193 h 346"/>
              <a:gd name="T52" fmla="*/ 193 w 347"/>
              <a:gd name="T53" fmla="*/ 193 h 346"/>
              <a:gd name="T54" fmla="*/ 217 w 347"/>
              <a:gd name="T55" fmla="*/ 193 h 346"/>
              <a:gd name="T56" fmla="*/ 231 w 347"/>
              <a:gd name="T57" fmla="*/ 193 h 346"/>
              <a:gd name="T58" fmla="*/ 270 w 347"/>
              <a:gd name="T59" fmla="*/ 193 h 346"/>
              <a:gd name="T60" fmla="*/ 282 w 347"/>
              <a:gd name="T61" fmla="*/ 193 h 346"/>
              <a:gd name="T62" fmla="*/ 270 w 347"/>
              <a:gd name="T63" fmla="*/ 208 h 346"/>
              <a:gd name="T64" fmla="*/ 193 w 347"/>
              <a:gd name="T65" fmla="*/ 112 h 346"/>
              <a:gd name="T66" fmla="*/ 193 w 347"/>
              <a:gd name="T67" fmla="*/ 97 h 346"/>
              <a:gd name="T68" fmla="*/ 217 w 347"/>
              <a:gd name="T69" fmla="*/ 97 h 346"/>
              <a:gd name="T70" fmla="*/ 217 w 347"/>
              <a:gd name="T71" fmla="*/ 132 h 346"/>
              <a:gd name="T72" fmla="*/ 217 w 347"/>
              <a:gd name="T73" fmla="*/ 179 h 346"/>
              <a:gd name="T74" fmla="*/ 193 w 347"/>
              <a:gd name="T75" fmla="*/ 179 h 346"/>
              <a:gd name="T76" fmla="*/ 193 w 347"/>
              <a:gd name="T77" fmla="*/ 112 h 346"/>
              <a:gd name="T78" fmla="*/ 255 w 347"/>
              <a:gd name="T79" fmla="*/ 179 h 346"/>
              <a:gd name="T80" fmla="*/ 231 w 347"/>
              <a:gd name="T81" fmla="*/ 179 h 346"/>
              <a:gd name="T82" fmla="*/ 231 w 347"/>
              <a:gd name="T83" fmla="*/ 147 h 346"/>
              <a:gd name="T84" fmla="*/ 255 w 347"/>
              <a:gd name="T85" fmla="*/ 147 h 346"/>
              <a:gd name="T86" fmla="*/ 255 w 347"/>
              <a:gd name="T87" fmla="*/ 179 h 346"/>
              <a:gd name="T88" fmla="*/ 178 w 347"/>
              <a:gd name="T89" fmla="*/ 179 h 346"/>
              <a:gd name="T90" fmla="*/ 154 w 347"/>
              <a:gd name="T91" fmla="*/ 179 h 346"/>
              <a:gd name="T92" fmla="*/ 154 w 347"/>
              <a:gd name="T93" fmla="*/ 127 h 346"/>
              <a:gd name="T94" fmla="*/ 178 w 347"/>
              <a:gd name="T95" fmla="*/ 127 h 346"/>
              <a:gd name="T96" fmla="*/ 178 w 347"/>
              <a:gd name="T97" fmla="*/ 179 h 346"/>
              <a:gd name="T98" fmla="*/ 138 w 347"/>
              <a:gd name="T99" fmla="*/ 77 h 346"/>
              <a:gd name="T100" fmla="*/ 204 w 347"/>
              <a:gd name="T101" fmla="*/ 50 h 346"/>
              <a:gd name="T102" fmla="*/ 270 w 347"/>
              <a:gd name="T103" fmla="*/ 77 h 346"/>
              <a:gd name="T104" fmla="*/ 290 w 347"/>
              <a:gd name="T105" fmla="*/ 179 h 346"/>
              <a:gd name="T106" fmla="*/ 270 w 347"/>
              <a:gd name="T107" fmla="*/ 179 h 346"/>
              <a:gd name="T108" fmla="*/ 270 w 347"/>
              <a:gd name="T109" fmla="*/ 132 h 346"/>
              <a:gd name="T110" fmla="*/ 231 w 347"/>
              <a:gd name="T111" fmla="*/ 132 h 346"/>
              <a:gd name="T112" fmla="*/ 231 w 347"/>
              <a:gd name="T113" fmla="*/ 83 h 346"/>
              <a:gd name="T114" fmla="*/ 178 w 347"/>
              <a:gd name="T115" fmla="*/ 83 h 346"/>
              <a:gd name="T116" fmla="*/ 178 w 347"/>
              <a:gd name="T117" fmla="*/ 112 h 346"/>
              <a:gd name="T118" fmla="*/ 139 w 347"/>
              <a:gd name="T119" fmla="*/ 112 h 346"/>
              <a:gd name="T120" fmla="*/ 139 w 347"/>
              <a:gd name="T121" fmla="*/ 179 h 346"/>
              <a:gd name="T122" fmla="*/ 118 w 347"/>
              <a:gd name="T123" fmla="*/ 179 h 346"/>
              <a:gd name="T124" fmla="*/ 138 w 347"/>
              <a:gd name="T125" fmla="*/ 77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7" h="346">
                <a:moveTo>
                  <a:pt x="0" y="0"/>
                </a:moveTo>
                <a:cubicBezTo>
                  <a:pt x="0" y="346"/>
                  <a:pt x="0" y="346"/>
                  <a:pt x="0" y="346"/>
                </a:cubicBezTo>
                <a:cubicBezTo>
                  <a:pt x="347" y="346"/>
                  <a:pt x="347" y="346"/>
                  <a:pt x="347" y="346"/>
                </a:cubicBezTo>
                <a:cubicBezTo>
                  <a:pt x="347" y="0"/>
                  <a:pt x="347" y="0"/>
                  <a:pt x="347" y="0"/>
                </a:cubicBezTo>
                <a:lnTo>
                  <a:pt x="0" y="0"/>
                </a:lnTo>
                <a:close/>
                <a:moveTo>
                  <a:pt x="332" y="332"/>
                </a:moveTo>
                <a:cubicBezTo>
                  <a:pt x="15" y="332"/>
                  <a:pt x="15" y="332"/>
                  <a:pt x="15" y="332"/>
                </a:cubicBezTo>
                <a:cubicBezTo>
                  <a:pt x="15" y="15"/>
                  <a:pt x="15" y="15"/>
                  <a:pt x="15" y="15"/>
                </a:cubicBezTo>
                <a:cubicBezTo>
                  <a:pt x="332" y="15"/>
                  <a:pt x="332" y="15"/>
                  <a:pt x="332" y="15"/>
                </a:cubicBezTo>
                <a:lnTo>
                  <a:pt x="332" y="332"/>
                </a:lnTo>
                <a:close/>
                <a:moveTo>
                  <a:pt x="48" y="309"/>
                </a:moveTo>
                <a:cubicBezTo>
                  <a:pt x="133" y="224"/>
                  <a:pt x="133" y="224"/>
                  <a:pt x="133" y="224"/>
                </a:cubicBezTo>
                <a:cubicBezTo>
                  <a:pt x="153" y="241"/>
                  <a:pt x="178" y="250"/>
                  <a:pt x="204" y="250"/>
                </a:cubicBezTo>
                <a:cubicBezTo>
                  <a:pt x="233" y="250"/>
                  <a:pt x="260" y="239"/>
                  <a:pt x="280" y="219"/>
                </a:cubicBezTo>
                <a:cubicBezTo>
                  <a:pt x="322" y="177"/>
                  <a:pt x="322" y="109"/>
                  <a:pt x="280" y="67"/>
                </a:cubicBezTo>
                <a:cubicBezTo>
                  <a:pt x="260" y="46"/>
                  <a:pt x="233" y="35"/>
                  <a:pt x="204" y="35"/>
                </a:cubicBezTo>
                <a:cubicBezTo>
                  <a:pt x="175" y="35"/>
                  <a:pt x="148" y="46"/>
                  <a:pt x="128" y="67"/>
                </a:cubicBezTo>
                <a:cubicBezTo>
                  <a:pt x="88" y="107"/>
                  <a:pt x="86" y="171"/>
                  <a:pt x="123" y="214"/>
                </a:cubicBezTo>
                <a:cubicBezTo>
                  <a:pt x="37" y="299"/>
                  <a:pt x="37" y="299"/>
                  <a:pt x="37" y="299"/>
                </a:cubicBezTo>
                <a:lnTo>
                  <a:pt x="48" y="309"/>
                </a:lnTo>
                <a:close/>
                <a:moveTo>
                  <a:pt x="270" y="208"/>
                </a:moveTo>
                <a:cubicBezTo>
                  <a:pt x="252" y="226"/>
                  <a:pt x="229" y="236"/>
                  <a:pt x="204" y="236"/>
                </a:cubicBezTo>
                <a:cubicBezTo>
                  <a:pt x="179" y="236"/>
                  <a:pt x="156" y="226"/>
                  <a:pt x="138" y="208"/>
                </a:cubicBezTo>
                <a:cubicBezTo>
                  <a:pt x="134" y="204"/>
                  <a:pt x="129" y="199"/>
                  <a:pt x="126" y="193"/>
                </a:cubicBezTo>
                <a:cubicBezTo>
                  <a:pt x="139" y="193"/>
                  <a:pt x="139" y="193"/>
                  <a:pt x="139" y="193"/>
                </a:cubicBezTo>
                <a:cubicBezTo>
                  <a:pt x="178" y="193"/>
                  <a:pt x="178" y="193"/>
                  <a:pt x="178" y="193"/>
                </a:cubicBezTo>
                <a:cubicBezTo>
                  <a:pt x="193" y="193"/>
                  <a:pt x="193" y="193"/>
                  <a:pt x="193" y="193"/>
                </a:cubicBezTo>
                <a:cubicBezTo>
                  <a:pt x="217" y="193"/>
                  <a:pt x="217" y="193"/>
                  <a:pt x="217" y="193"/>
                </a:cubicBezTo>
                <a:cubicBezTo>
                  <a:pt x="231" y="193"/>
                  <a:pt x="231" y="193"/>
                  <a:pt x="231" y="193"/>
                </a:cubicBezTo>
                <a:cubicBezTo>
                  <a:pt x="270" y="193"/>
                  <a:pt x="270" y="193"/>
                  <a:pt x="270" y="193"/>
                </a:cubicBezTo>
                <a:cubicBezTo>
                  <a:pt x="282" y="193"/>
                  <a:pt x="282" y="193"/>
                  <a:pt x="282" y="193"/>
                </a:cubicBezTo>
                <a:cubicBezTo>
                  <a:pt x="278" y="199"/>
                  <a:pt x="274" y="204"/>
                  <a:pt x="270" y="208"/>
                </a:cubicBezTo>
                <a:close/>
                <a:moveTo>
                  <a:pt x="193" y="112"/>
                </a:moveTo>
                <a:cubicBezTo>
                  <a:pt x="193" y="97"/>
                  <a:pt x="193" y="97"/>
                  <a:pt x="193" y="97"/>
                </a:cubicBezTo>
                <a:cubicBezTo>
                  <a:pt x="217" y="97"/>
                  <a:pt x="217" y="97"/>
                  <a:pt x="217" y="97"/>
                </a:cubicBezTo>
                <a:cubicBezTo>
                  <a:pt x="217" y="132"/>
                  <a:pt x="217" y="132"/>
                  <a:pt x="217" y="132"/>
                </a:cubicBezTo>
                <a:cubicBezTo>
                  <a:pt x="217" y="179"/>
                  <a:pt x="217" y="179"/>
                  <a:pt x="217" y="179"/>
                </a:cubicBezTo>
                <a:cubicBezTo>
                  <a:pt x="193" y="179"/>
                  <a:pt x="193" y="179"/>
                  <a:pt x="193" y="179"/>
                </a:cubicBezTo>
                <a:lnTo>
                  <a:pt x="193" y="112"/>
                </a:lnTo>
                <a:close/>
                <a:moveTo>
                  <a:pt x="255" y="179"/>
                </a:moveTo>
                <a:cubicBezTo>
                  <a:pt x="231" y="179"/>
                  <a:pt x="231" y="179"/>
                  <a:pt x="231" y="179"/>
                </a:cubicBezTo>
                <a:cubicBezTo>
                  <a:pt x="231" y="147"/>
                  <a:pt x="231" y="147"/>
                  <a:pt x="231" y="147"/>
                </a:cubicBezTo>
                <a:cubicBezTo>
                  <a:pt x="255" y="147"/>
                  <a:pt x="255" y="147"/>
                  <a:pt x="255" y="147"/>
                </a:cubicBezTo>
                <a:lnTo>
                  <a:pt x="255" y="179"/>
                </a:lnTo>
                <a:close/>
                <a:moveTo>
                  <a:pt x="178" y="179"/>
                </a:moveTo>
                <a:cubicBezTo>
                  <a:pt x="154" y="179"/>
                  <a:pt x="154" y="179"/>
                  <a:pt x="154" y="179"/>
                </a:cubicBezTo>
                <a:cubicBezTo>
                  <a:pt x="154" y="127"/>
                  <a:pt x="154" y="127"/>
                  <a:pt x="154" y="127"/>
                </a:cubicBezTo>
                <a:cubicBezTo>
                  <a:pt x="178" y="127"/>
                  <a:pt x="178" y="127"/>
                  <a:pt x="178" y="127"/>
                </a:cubicBezTo>
                <a:lnTo>
                  <a:pt x="178" y="179"/>
                </a:lnTo>
                <a:close/>
                <a:moveTo>
                  <a:pt x="138" y="77"/>
                </a:moveTo>
                <a:cubicBezTo>
                  <a:pt x="156" y="59"/>
                  <a:pt x="179" y="50"/>
                  <a:pt x="204" y="50"/>
                </a:cubicBezTo>
                <a:cubicBezTo>
                  <a:pt x="229" y="50"/>
                  <a:pt x="252" y="59"/>
                  <a:pt x="270" y="77"/>
                </a:cubicBezTo>
                <a:cubicBezTo>
                  <a:pt x="297" y="104"/>
                  <a:pt x="304" y="145"/>
                  <a:pt x="290" y="179"/>
                </a:cubicBezTo>
                <a:cubicBezTo>
                  <a:pt x="270" y="179"/>
                  <a:pt x="270" y="179"/>
                  <a:pt x="270" y="179"/>
                </a:cubicBezTo>
                <a:cubicBezTo>
                  <a:pt x="270" y="132"/>
                  <a:pt x="270" y="132"/>
                  <a:pt x="270" y="132"/>
                </a:cubicBezTo>
                <a:cubicBezTo>
                  <a:pt x="231" y="132"/>
                  <a:pt x="231" y="132"/>
                  <a:pt x="231" y="132"/>
                </a:cubicBezTo>
                <a:cubicBezTo>
                  <a:pt x="231" y="83"/>
                  <a:pt x="231" y="83"/>
                  <a:pt x="231" y="83"/>
                </a:cubicBezTo>
                <a:cubicBezTo>
                  <a:pt x="178" y="83"/>
                  <a:pt x="178" y="83"/>
                  <a:pt x="178" y="83"/>
                </a:cubicBezTo>
                <a:cubicBezTo>
                  <a:pt x="178" y="112"/>
                  <a:pt x="178" y="112"/>
                  <a:pt x="178" y="112"/>
                </a:cubicBezTo>
                <a:cubicBezTo>
                  <a:pt x="139" y="112"/>
                  <a:pt x="139" y="112"/>
                  <a:pt x="139" y="112"/>
                </a:cubicBezTo>
                <a:cubicBezTo>
                  <a:pt x="139" y="179"/>
                  <a:pt x="139" y="179"/>
                  <a:pt x="139" y="179"/>
                </a:cubicBezTo>
                <a:cubicBezTo>
                  <a:pt x="118" y="179"/>
                  <a:pt x="118" y="179"/>
                  <a:pt x="118" y="179"/>
                </a:cubicBezTo>
                <a:cubicBezTo>
                  <a:pt x="104" y="145"/>
                  <a:pt x="111" y="104"/>
                  <a:pt x="138" y="77"/>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b="1" dirty="0">
              <a:solidFill>
                <a:schemeClr val="accent1"/>
              </a:solidFill>
            </a:endParaRPr>
          </a:p>
        </p:txBody>
      </p:sp>
      <p:pic>
        <p:nvPicPr>
          <p:cNvPr id="5" name="Graphic 4" descr="Treasure chest with solid fill">
            <a:extLst>
              <a:ext uri="{FF2B5EF4-FFF2-40B4-BE49-F238E27FC236}">
                <a16:creationId xmlns:a16="http://schemas.microsoft.com/office/drawing/2014/main" id="{D7A63830-42FD-85BB-2B70-2C6C444B1A5B}"/>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5089568" y="1570134"/>
            <a:ext cx="778632" cy="766461"/>
          </a:xfrm>
          <a:prstGeom prst="rect">
            <a:avLst/>
          </a:prstGeom>
        </p:spPr>
      </p:pic>
      <p:pic>
        <p:nvPicPr>
          <p:cNvPr id="9" name="Graphic 8" descr="City with solid fill">
            <a:extLst>
              <a:ext uri="{FF2B5EF4-FFF2-40B4-BE49-F238E27FC236}">
                <a16:creationId xmlns:a16="http://schemas.microsoft.com/office/drawing/2014/main" id="{748D01E9-0A16-0453-3F3F-82EA2387C592}"/>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6295983" y="1521363"/>
            <a:ext cx="853122" cy="914400"/>
          </a:xfrm>
          <a:prstGeom prst="rect">
            <a:avLst/>
          </a:prstGeom>
        </p:spPr>
      </p:pic>
      <p:pic>
        <p:nvPicPr>
          <p:cNvPr id="11" name="Graphic 10" descr="Business Growth outline">
            <a:extLst>
              <a:ext uri="{FF2B5EF4-FFF2-40B4-BE49-F238E27FC236}">
                <a16:creationId xmlns:a16="http://schemas.microsoft.com/office/drawing/2014/main" id="{CD4D2F30-433F-8528-73FF-8F5B46A09135}"/>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7242402" y="2696853"/>
            <a:ext cx="809339" cy="809339"/>
          </a:xfrm>
          <a:prstGeom prst="rect">
            <a:avLst/>
          </a:prstGeom>
        </p:spPr>
      </p:pic>
      <p:pic>
        <p:nvPicPr>
          <p:cNvPr id="13" name="Graphic 12" descr="Users outline">
            <a:extLst>
              <a:ext uri="{FF2B5EF4-FFF2-40B4-BE49-F238E27FC236}">
                <a16:creationId xmlns:a16="http://schemas.microsoft.com/office/drawing/2014/main" id="{AB4AD72C-3F2A-0CAC-EA14-92ABE0781E47}"/>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7011943" y="3905921"/>
            <a:ext cx="655253" cy="799893"/>
          </a:xfrm>
          <a:prstGeom prst="rect">
            <a:avLst/>
          </a:prstGeom>
        </p:spPr>
      </p:pic>
      <p:sp>
        <p:nvSpPr>
          <p:cNvPr id="14" name="TextBox 13">
            <a:extLst>
              <a:ext uri="{FF2B5EF4-FFF2-40B4-BE49-F238E27FC236}">
                <a16:creationId xmlns:a16="http://schemas.microsoft.com/office/drawing/2014/main" id="{281F5FF2-0F14-241E-C949-FE4D18B4A944}"/>
              </a:ext>
            </a:extLst>
          </p:cNvPr>
          <p:cNvSpPr txBox="1"/>
          <p:nvPr/>
        </p:nvSpPr>
        <p:spPr>
          <a:xfrm>
            <a:off x="4708568" y="5638800"/>
            <a:ext cx="2911432" cy="430887"/>
          </a:xfrm>
          <a:prstGeom prst="rect">
            <a:avLst/>
          </a:prstGeom>
          <a:noFill/>
        </p:spPr>
        <p:txBody>
          <a:bodyPr wrap="square" lIns="0" tIns="0" rIns="0" bIns="0" rtlCol="0">
            <a:spAutoFit/>
          </a:bodyPr>
          <a:lstStyle/>
          <a:p>
            <a:pPr algn="ctr">
              <a:lnSpc>
                <a:spcPct val="100000"/>
              </a:lnSpc>
              <a:spcAft>
                <a:spcPts val="600"/>
              </a:spcAft>
              <a:buSzPct val="100000"/>
            </a:pPr>
            <a:r>
              <a:rPr lang="en-US" sz="1400" dirty="0"/>
              <a:t>Managing client money securities or other assets</a:t>
            </a:r>
          </a:p>
        </p:txBody>
      </p:sp>
      <p:cxnSp>
        <p:nvCxnSpPr>
          <p:cNvPr id="16" name="Straight Connector 15">
            <a:extLst>
              <a:ext uri="{FF2B5EF4-FFF2-40B4-BE49-F238E27FC236}">
                <a16:creationId xmlns:a16="http://schemas.microsoft.com/office/drawing/2014/main" id="{EF212FEC-45A8-43DF-0A03-17700BF493C5}"/>
              </a:ext>
            </a:extLst>
          </p:cNvPr>
          <p:cNvCxnSpPr/>
          <p:nvPr/>
        </p:nvCxnSpPr>
        <p:spPr>
          <a:xfrm>
            <a:off x="5000786" y="6172200"/>
            <a:ext cx="2390614" cy="0"/>
          </a:xfrm>
          <a:prstGeom prst="line">
            <a:avLst/>
          </a:prstGeom>
          <a:ln/>
        </p:spPr>
        <p:style>
          <a:lnRef idx="1">
            <a:schemeClr val="dk1"/>
          </a:lnRef>
          <a:fillRef idx="0">
            <a:schemeClr val="dk1"/>
          </a:fillRef>
          <a:effectRef idx="0">
            <a:schemeClr val="dk1"/>
          </a:effectRef>
          <a:fontRef idx="minor">
            <a:schemeClr val="tx1"/>
          </a:fontRef>
        </p:style>
      </p:cxnSp>
      <p:grpSp>
        <p:nvGrpSpPr>
          <p:cNvPr id="2" name="Graphic 17" descr="Transfer1 outline">
            <a:extLst>
              <a:ext uri="{FF2B5EF4-FFF2-40B4-BE49-F238E27FC236}">
                <a16:creationId xmlns:a16="http://schemas.microsoft.com/office/drawing/2014/main" id="{E37A262D-9FEF-9174-DCF9-24E6CD99ECD2}"/>
              </a:ext>
            </a:extLst>
          </p:cNvPr>
          <p:cNvGrpSpPr/>
          <p:nvPr/>
        </p:nvGrpSpPr>
        <p:grpSpPr>
          <a:xfrm>
            <a:off x="5652420" y="4488180"/>
            <a:ext cx="795090" cy="496023"/>
            <a:chOff x="5652420" y="4488180"/>
            <a:chExt cx="795090" cy="496023"/>
          </a:xfrm>
          <a:solidFill>
            <a:schemeClr val="bg1"/>
          </a:solidFill>
        </p:grpSpPr>
        <p:sp>
          <p:nvSpPr>
            <p:cNvPr id="6" name="Freeform: Shape 5">
              <a:extLst>
                <a:ext uri="{FF2B5EF4-FFF2-40B4-BE49-F238E27FC236}">
                  <a16:creationId xmlns:a16="http://schemas.microsoft.com/office/drawing/2014/main" id="{DDF9B35A-63DD-7D2D-36E5-073826F93E17}"/>
                </a:ext>
              </a:extLst>
            </p:cNvPr>
            <p:cNvSpPr/>
            <p:nvPr/>
          </p:nvSpPr>
          <p:spPr>
            <a:xfrm>
              <a:off x="6025284" y="4579039"/>
              <a:ext cx="368610" cy="77504"/>
            </a:xfrm>
            <a:custGeom>
              <a:avLst/>
              <a:gdLst>
                <a:gd name="connsiteX0" fmla="*/ 88532 w 368610"/>
                <a:gd name="connsiteY0" fmla="*/ 77505 h 77504"/>
                <a:gd name="connsiteX1" fmla="*/ 341069 w 368610"/>
                <a:gd name="connsiteY1" fmla="*/ 22403 h 77504"/>
                <a:gd name="connsiteX2" fmla="*/ 350921 w 368610"/>
                <a:gd name="connsiteY2" fmla="*/ 77505 h 77504"/>
                <a:gd name="connsiteX3" fmla="*/ 368611 w 368610"/>
                <a:gd name="connsiteY3" fmla="*/ 77505 h 77504"/>
                <a:gd name="connsiteX4" fmla="*/ 354723 w 368610"/>
                <a:gd name="connsiteY4" fmla="*/ 0 h 77504"/>
                <a:gd name="connsiteX5" fmla="*/ 352 w 368610"/>
                <a:gd name="connsiteY5" fmla="*/ 77314 h 77504"/>
                <a:gd name="connsiteX6" fmla="*/ 352 w 368610"/>
                <a:gd name="connsiteY6" fmla="*/ 77505 h 7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8610" h="77504">
                  <a:moveTo>
                    <a:pt x="88532" y="77505"/>
                  </a:moveTo>
                  <a:lnTo>
                    <a:pt x="341069" y="22403"/>
                  </a:lnTo>
                  <a:lnTo>
                    <a:pt x="350921" y="77505"/>
                  </a:lnTo>
                  <a:lnTo>
                    <a:pt x="368611" y="77505"/>
                  </a:lnTo>
                  <a:lnTo>
                    <a:pt x="354723" y="0"/>
                  </a:lnTo>
                  <a:lnTo>
                    <a:pt x="352" y="77314"/>
                  </a:lnTo>
                  <a:cubicBezTo>
                    <a:pt x="-117" y="77419"/>
                    <a:pt x="-117" y="77505"/>
                    <a:pt x="352" y="77505"/>
                  </a:cubicBezTo>
                  <a:close/>
                </a:path>
              </a:pathLst>
            </a:custGeom>
            <a:solidFill>
              <a:schemeClr val="bg1"/>
            </a:solidFill>
            <a:ln w="8632" cap="flat">
              <a:noFill/>
              <a:prstDash val="solid"/>
              <a:miter/>
            </a:ln>
          </p:spPr>
          <p:txBody>
            <a:bodyPr rtlCol="0" anchor="ctr"/>
            <a:lstStyle/>
            <a:p>
              <a:endParaRPr lang="en-IN"/>
            </a:p>
          </p:txBody>
        </p:sp>
        <p:sp>
          <p:nvSpPr>
            <p:cNvPr id="7" name="Freeform: Shape 6">
              <a:extLst>
                <a:ext uri="{FF2B5EF4-FFF2-40B4-BE49-F238E27FC236}">
                  <a16:creationId xmlns:a16="http://schemas.microsoft.com/office/drawing/2014/main" id="{82642578-549F-D9AA-1D1E-C58701D51D30}"/>
                </a:ext>
              </a:extLst>
            </p:cNvPr>
            <p:cNvSpPr/>
            <p:nvPr/>
          </p:nvSpPr>
          <p:spPr>
            <a:xfrm>
              <a:off x="5919130" y="4488180"/>
              <a:ext cx="402034" cy="168363"/>
            </a:xfrm>
            <a:custGeom>
              <a:avLst/>
              <a:gdLst>
                <a:gd name="connsiteX0" fmla="*/ 365213 w 402034"/>
                <a:gd name="connsiteY0" fmla="*/ 24975 h 168363"/>
                <a:gd name="connsiteX1" fmla="*/ 384674 w 402034"/>
                <a:gd name="connsiteY1" fmla="*/ 78315 h 168363"/>
                <a:gd name="connsiteX2" fmla="*/ 402034 w 402034"/>
                <a:gd name="connsiteY2" fmla="*/ 74505 h 168363"/>
                <a:gd name="connsiteX3" fmla="*/ 374874 w 402034"/>
                <a:gd name="connsiteY3" fmla="*/ 0 h 168363"/>
                <a:gd name="connsiteX4" fmla="*/ 166 w 402034"/>
                <a:gd name="connsiteY4" fmla="*/ 168183 h 168363"/>
                <a:gd name="connsiteX5" fmla="*/ 166 w 402034"/>
                <a:gd name="connsiteY5" fmla="*/ 168364 h 168363"/>
                <a:gd name="connsiteX6" fmla="*/ 45606 w 402034"/>
                <a:gd name="connsiteY6" fmla="*/ 168364 h 168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034" h="168363">
                  <a:moveTo>
                    <a:pt x="365213" y="24975"/>
                  </a:moveTo>
                  <a:lnTo>
                    <a:pt x="384674" y="78315"/>
                  </a:lnTo>
                  <a:lnTo>
                    <a:pt x="402034" y="74505"/>
                  </a:lnTo>
                  <a:lnTo>
                    <a:pt x="374874" y="0"/>
                  </a:lnTo>
                  <a:lnTo>
                    <a:pt x="166" y="168183"/>
                  </a:lnTo>
                  <a:cubicBezTo>
                    <a:pt x="-60" y="168278"/>
                    <a:pt x="-51" y="168364"/>
                    <a:pt x="166" y="168364"/>
                  </a:cubicBezTo>
                  <a:lnTo>
                    <a:pt x="45606" y="168364"/>
                  </a:lnTo>
                  <a:close/>
                </a:path>
              </a:pathLst>
            </a:custGeom>
            <a:solidFill>
              <a:schemeClr val="bg1"/>
            </a:solidFill>
            <a:ln w="8632" cap="flat">
              <a:noFill/>
              <a:prstDash val="solid"/>
              <a:miter/>
            </a:ln>
          </p:spPr>
          <p:txBody>
            <a:bodyPr rtlCol="0" anchor="ctr"/>
            <a:lstStyle/>
            <a:p>
              <a:endParaRPr lang="en-IN"/>
            </a:p>
          </p:txBody>
        </p:sp>
        <p:sp>
          <p:nvSpPr>
            <p:cNvPr id="8" name="Freeform: Shape 7">
              <a:extLst>
                <a:ext uri="{FF2B5EF4-FFF2-40B4-BE49-F238E27FC236}">
                  <a16:creationId xmlns:a16="http://schemas.microsoft.com/office/drawing/2014/main" id="{FA632E56-44A4-46EA-CE89-D0AC77FD6C79}"/>
                </a:ext>
              </a:extLst>
            </p:cNvPr>
            <p:cNvSpPr/>
            <p:nvPr/>
          </p:nvSpPr>
          <p:spPr>
            <a:xfrm>
              <a:off x="5836332" y="4679404"/>
              <a:ext cx="611178" cy="304800"/>
            </a:xfrm>
            <a:custGeom>
              <a:avLst/>
              <a:gdLst>
                <a:gd name="connsiteX0" fmla="*/ 0 w 611178"/>
                <a:gd name="connsiteY0" fmla="*/ 0 h 304800"/>
                <a:gd name="connsiteX1" fmla="*/ 0 w 611178"/>
                <a:gd name="connsiteY1" fmla="*/ 304800 h 304800"/>
                <a:gd name="connsiteX2" fmla="*/ 611178 w 611178"/>
                <a:gd name="connsiteY2" fmla="*/ 304800 h 304800"/>
                <a:gd name="connsiteX3" fmla="*/ 611178 w 611178"/>
                <a:gd name="connsiteY3" fmla="*/ 0 h 304800"/>
                <a:gd name="connsiteX4" fmla="*/ 593818 w 611178"/>
                <a:gd name="connsiteY4" fmla="*/ 285750 h 304800"/>
                <a:gd name="connsiteX5" fmla="*/ 17360 w 611178"/>
                <a:gd name="connsiteY5" fmla="*/ 285750 h 304800"/>
                <a:gd name="connsiteX6" fmla="*/ 17360 w 611178"/>
                <a:gd name="connsiteY6" fmla="*/ 19050 h 304800"/>
                <a:gd name="connsiteX7" fmla="*/ 593818 w 611178"/>
                <a:gd name="connsiteY7" fmla="*/ 1905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1178" h="304800">
                  <a:moveTo>
                    <a:pt x="0" y="0"/>
                  </a:moveTo>
                  <a:lnTo>
                    <a:pt x="0" y="304800"/>
                  </a:lnTo>
                  <a:lnTo>
                    <a:pt x="611178" y="304800"/>
                  </a:lnTo>
                  <a:lnTo>
                    <a:pt x="611178" y="0"/>
                  </a:lnTo>
                  <a:close/>
                  <a:moveTo>
                    <a:pt x="593818" y="285750"/>
                  </a:moveTo>
                  <a:lnTo>
                    <a:pt x="17360" y="285750"/>
                  </a:lnTo>
                  <a:lnTo>
                    <a:pt x="17360" y="19050"/>
                  </a:lnTo>
                  <a:lnTo>
                    <a:pt x="593818" y="19050"/>
                  </a:lnTo>
                  <a:close/>
                </a:path>
              </a:pathLst>
            </a:custGeom>
            <a:solidFill>
              <a:schemeClr val="bg1"/>
            </a:solidFill>
            <a:ln w="8632" cap="flat">
              <a:noFill/>
              <a:prstDash val="solid"/>
              <a:miter/>
            </a:ln>
          </p:spPr>
          <p:txBody>
            <a:bodyPr rtlCol="0" anchor="ctr"/>
            <a:lstStyle/>
            <a:p>
              <a:endParaRPr lang="en-IN"/>
            </a:p>
          </p:txBody>
        </p:sp>
        <p:sp>
          <p:nvSpPr>
            <p:cNvPr id="10" name="Freeform: Shape 9">
              <a:extLst>
                <a:ext uri="{FF2B5EF4-FFF2-40B4-BE49-F238E27FC236}">
                  <a16:creationId xmlns:a16="http://schemas.microsoft.com/office/drawing/2014/main" id="{F305F499-822F-AF50-4FC4-2E6B9AC00DB5}"/>
                </a:ext>
              </a:extLst>
            </p:cNvPr>
            <p:cNvSpPr/>
            <p:nvPr/>
          </p:nvSpPr>
          <p:spPr>
            <a:xfrm>
              <a:off x="6091916" y="4763224"/>
              <a:ext cx="100011" cy="137159"/>
            </a:xfrm>
            <a:custGeom>
              <a:avLst/>
              <a:gdLst>
                <a:gd name="connsiteX0" fmla="*/ 50006 w 100011"/>
                <a:gd name="connsiteY0" fmla="*/ 137160 h 137159"/>
                <a:gd name="connsiteX1" fmla="*/ 100011 w 100011"/>
                <a:gd name="connsiteY1" fmla="*/ 68580 h 137159"/>
                <a:gd name="connsiteX2" fmla="*/ 50006 w 100011"/>
                <a:gd name="connsiteY2" fmla="*/ 0 h 137159"/>
                <a:gd name="connsiteX3" fmla="*/ 0 w 100011"/>
                <a:gd name="connsiteY3" fmla="*/ 68580 h 137159"/>
                <a:gd name="connsiteX4" fmla="*/ 50006 w 100011"/>
                <a:gd name="connsiteY4" fmla="*/ 137160 h 137159"/>
                <a:gd name="connsiteX5" fmla="*/ 50006 w 100011"/>
                <a:gd name="connsiteY5" fmla="*/ 19050 h 137159"/>
                <a:gd name="connsiteX6" fmla="*/ 82651 w 100011"/>
                <a:gd name="connsiteY6" fmla="*/ 68580 h 137159"/>
                <a:gd name="connsiteX7" fmla="*/ 50006 w 100011"/>
                <a:gd name="connsiteY7" fmla="*/ 118110 h 137159"/>
                <a:gd name="connsiteX8" fmla="*/ 17360 w 100011"/>
                <a:gd name="connsiteY8" fmla="*/ 68580 h 137159"/>
                <a:gd name="connsiteX9" fmla="*/ 50006 w 100011"/>
                <a:gd name="connsiteY9" fmla="*/ 19040 h 13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11" h="137159">
                  <a:moveTo>
                    <a:pt x="50006" y="137160"/>
                  </a:moveTo>
                  <a:cubicBezTo>
                    <a:pt x="77626" y="137160"/>
                    <a:pt x="100011" y="106451"/>
                    <a:pt x="100011" y="68580"/>
                  </a:cubicBezTo>
                  <a:cubicBezTo>
                    <a:pt x="100011" y="30709"/>
                    <a:pt x="77626" y="0"/>
                    <a:pt x="50006" y="0"/>
                  </a:cubicBezTo>
                  <a:cubicBezTo>
                    <a:pt x="22386" y="0"/>
                    <a:pt x="0" y="30709"/>
                    <a:pt x="0" y="68580"/>
                  </a:cubicBezTo>
                  <a:cubicBezTo>
                    <a:pt x="0" y="106451"/>
                    <a:pt x="22394" y="137160"/>
                    <a:pt x="50006" y="137160"/>
                  </a:cubicBezTo>
                  <a:close/>
                  <a:moveTo>
                    <a:pt x="50006" y="19050"/>
                  </a:moveTo>
                  <a:cubicBezTo>
                    <a:pt x="67704" y="19050"/>
                    <a:pt x="82651" y="41739"/>
                    <a:pt x="82651" y="68580"/>
                  </a:cubicBezTo>
                  <a:cubicBezTo>
                    <a:pt x="82651" y="95421"/>
                    <a:pt x="67704" y="118110"/>
                    <a:pt x="50006" y="118110"/>
                  </a:cubicBezTo>
                  <a:cubicBezTo>
                    <a:pt x="32307" y="118110"/>
                    <a:pt x="17360" y="95421"/>
                    <a:pt x="17360" y="68580"/>
                  </a:cubicBezTo>
                  <a:cubicBezTo>
                    <a:pt x="17360" y="41739"/>
                    <a:pt x="32316" y="19040"/>
                    <a:pt x="50006" y="19040"/>
                  </a:cubicBezTo>
                  <a:close/>
                </a:path>
              </a:pathLst>
            </a:custGeom>
            <a:solidFill>
              <a:schemeClr val="bg1"/>
            </a:solidFill>
            <a:ln w="8632" cap="flat">
              <a:noFill/>
              <a:prstDash val="solid"/>
              <a:miter/>
            </a:ln>
          </p:spPr>
          <p:txBody>
            <a:bodyPr rtlCol="0" anchor="ctr"/>
            <a:lstStyle/>
            <a:p>
              <a:endParaRPr lang="en-IN"/>
            </a:p>
          </p:txBody>
        </p:sp>
        <p:sp>
          <p:nvSpPr>
            <p:cNvPr id="12" name="Freeform: Shape 11">
              <a:extLst>
                <a:ext uri="{FF2B5EF4-FFF2-40B4-BE49-F238E27FC236}">
                  <a16:creationId xmlns:a16="http://schemas.microsoft.com/office/drawing/2014/main" id="{9219411F-21BC-E657-5411-0D082DCC5730}"/>
                </a:ext>
              </a:extLst>
            </p:cNvPr>
            <p:cNvSpPr/>
            <p:nvPr/>
          </p:nvSpPr>
          <p:spPr>
            <a:xfrm>
              <a:off x="5938757" y="4799436"/>
              <a:ext cx="59030" cy="64782"/>
            </a:xfrm>
            <a:custGeom>
              <a:avLst/>
              <a:gdLst>
                <a:gd name="connsiteX0" fmla="*/ 23748 w 59030"/>
                <a:gd name="connsiteY0" fmla="*/ 64153 h 64782"/>
                <a:gd name="connsiteX1" fmla="*/ 58456 w 59030"/>
                <a:gd name="connsiteY1" fmla="*/ 38716 h 64782"/>
                <a:gd name="connsiteX2" fmla="*/ 35276 w 59030"/>
                <a:gd name="connsiteY2" fmla="*/ 630 h 64782"/>
                <a:gd name="connsiteX3" fmla="*/ 568 w 59030"/>
                <a:gd name="connsiteY3" fmla="*/ 26066 h 64782"/>
                <a:gd name="connsiteX4" fmla="*/ 573 w 59030"/>
                <a:gd name="connsiteY4" fmla="*/ 38740 h 64782"/>
                <a:gd name="connsiteX5" fmla="*/ 23748 w 59030"/>
                <a:gd name="connsiteY5" fmla="*/ 64153 h 64782"/>
                <a:gd name="connsiteX6" fmla="*/ 29538 w 59030"/>
                <a:gd name="connsiteY6" fmla="*/ 19043 h 64782"/>
                <a:gd name="connsiteX7" fmla="*/ 41690 w 59030"/>
                <a:gd name="connsiteY7" fmla="*/ 32378 h 64782"/>
                <a:gd name="connsiteX8" fmla="*/ 29538 w 59030"/>
                <a:gd name="connsiteY8" fmla="*/ 45713 h 64782"/>
                <a:gd name="connsiteX9" fmla="*/ 17386 w 59030"/>
                <a:gd name="connsiteY9" fmla="*/ 32378 h 64782"/>
                <a:gd name="connsiteX10" fmla="*/ 29538 w 59030"/>
                <a:gd name="connsiteY10" fmla="*/ 19043 h 64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030" h="64782">
                  <a:moveTo>
                    <a:pt x="23748" y="64153"/>
                  </a:moveTo>
                  <a:cubicBezTo>
                    <a:pt x="39734" y="67646"/>
                    <a:pt x="55273" y="56258"/>
                    <a:pt x="58456" y="38716"/>
                  </a:cubicBezTo>
                  <a:cubicBezTo>
                    <a:pt x="61639" y="21175"/>
                    <a:pt x="51262" y="4124"/>
                    <a:pt x="35276" y="630"/>
                  </a:cubicBezTo>
                  <a:cubicBezTo>
                    <a:pt x="19290" y="-2863"/>
                    <a:pt x="3751" y="8525"/>
                    <a:pt x="568" y="26066"/>
                  </a:cubicBezTo>
                  <a:cubicBezTo>
                    <a:pt x="-191" y="30251"/>
                    <a:pt x="-189" y="34557"/>
                    <a:pt x="573" y="38740"/>
                  </a:cubicBezTo>
                  <a:cubicBezTo>
                    <a:pt x="2925" y="51562"/>
                    <a:pt x="12063" y="61581"/>
                    <a:pt x="23748" y="64153"/>
                  </a:cubicBezTo>
                  <a:close/>
                  <a:moveTo>
                    <a:pt x="29538" y="19043"/>
                  </a:moveTo>
                  <a:cubicBezTo>
                    <a:pt x="36249" y="19043"/>
                    <a:pt x="41690" y="25013"/>
                    <a:pt x="41690" y="32378"/>
                  </a:cubicBezTo>
                  <a:cubicBezTo>
                    <a:pt x="41690" y="39742"/>
                    <a:pt x="36249" y="45713"/>
                    <a:pt x="29538" y="45713"/>
                  </a:cubicBezTo>
                  <a:cubicBezTo>
                    <a:pt x="22827" y="45713"/>
                    <a:pt x="17386" y="39742"/>
                    <a:pt x="17386" y="32378"/>
                  </a:cubicBezTo>
                  <a:cubicBezTo>
                    <a:pt x="17386" y="25013"/>
                    <a:pt x="22827" y="19043"/>
                    <a:pt x="29538" y="19043"/>
                  </a:cubicBezTo>
                  <a:close/>
                </a:path>
              </a:pathLst>
            </a:custGeom>
            <a:solidFill>
              <a:schemeClr val="bg1"/>
            </a:solidFill>
            <a:ln w="8632" cap="flat">
              <a:noFill/>
              <a:prstDash val="solid"/>
              <a:miter/>
            </a:ln>
          </p:spPr>
          <p:txBody>
            <a:bodyPr rtlCol="0" anchor="ctr"/>
            <a:lstStyle/>
            <a:p>
              <a:endParaRPr lang="en-IN"/>
            </a:p>
          </p:txBody>
        </p:sp>
        <p:sp>
          <p:nvSpPr>
            <p:cNvPr id="15" name="Freeform: Shape 14">
              <a:extLst>
                <a:ext uri="{FF2B5EF4-FFF2-40B4-BE49-F238E27FC236}">
                  <a16:creationId xmlns:a16="http://schemas.microsoft.com/office/drawing/2014/main" id="{9B981636-573F-24A9-B969-F802D84CC4B2}"/>
                </a:ext>
              </a:extLst>
            </p:cNvPr>
            <p:cNvSpPr/>
            <p:nvPr/>
          </p:nvSpPr>
          <p:spPr>
            <a:xfrm>
              <a:off x="6286020" y="4799439"/>
              <a:ext cx="59029" cy="64782"/>
            </a:xfrm>
            <a:custGeom>
              <a:avLst/>
              <a:gdLst>
                <a:gd name="connsiteX0" fmla="*/ 23739 w 59029"/>
                <a:gd name="connsiteY0" fmla="*/ 64151 h 64782"/>
                <a:gd name="connsiteX1" fmla="*/ 58454 w 59029"/>
                <a:gd name="connsiteY1" fmla="*/ 38725 h 64782"/>
                <a:gd name="connsiteX2" fmla="*/ 35285 w 59029"/>
                <a:gd name="connsiteY2" fmla="*/ 632 h 64782"/>
                <a:gd name="connsiteX3" fmla="*/ 570 w 59029"/>
                <a:gd name="connsiteY3" fmla="*/ 26056 h 64782"/>
                <a:gd name="connsiteX4" fmla="*/ 572 w 59029"/>
                <a:gd name="connsiteY4" fmla="*/ 38738 h 64782"/>
                <a:gd name="connsiteX5" fmla="*/ 23739 w 59029"/>
                <a:gd name="connsiteY5" fmla="*/ 64151 h 64782"/>
                <a:gd name="connsiteX6" fmla="*/ 29537 w 59029"/>
                <a:gd name="connsiteY6" fmla="*/ 19040 h 64782"/>
                <a:gd name="connsiteX7" fmla="*/ 41690 w 59029"/>
                <a:gd name="connsiteY7" fmla="*/ 32375 h 64782"/>
                <a:gd name="connsiteX8" fmla="*/ 29537 w 59029"/>
                <a:gd name="connsiteY8" fmla="*/ 45710 h 64782"/>
                <a:gd name="connsiteX9" fmla="*/ 17385 w 59029"/>
                <a:gd name="connsiteY9" fmla="*/ 32375 h 64782"/>
                <a:gd name="connsiteX10" fmla="*/ 29537 w 59029"/>
                <a:gd name="connsiteY10" fmla="*/ 19040 h 64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029" h="64782">
                  <a:moveTo>
                    <a:pt x="23739" y="64151"/>
                  </a:moveTo>
                  <a:cubicBezTo>
                    <a:pt x="39723" y="67649"/>
                    <a:pt x="55266" y="56266"/>
                    <a:pt x="58454" y="38725"/>
                  </a:cubicBezTo>
                  <a:cubicBezTo>
                    <a:pt x="61642" y="21186"/>
                    <a:pt x="51269" y="4131"/>
                    <a:pt x="35285" y="632"/>
                  </a:cubicBezTo>
                  <a:cubicBezTo>
                    <a:pt x="19300" y="-2867"/>
                    <a:pt x="3759" y="8516"/>
                    <a:pt x="570" y="26056"/>
                  </a:cubicBezTo>
                  <a:cubicBezTo>
                    <a:pt x="-191" y="30242"/>
                    <a:pt x="-190" y="34553"/>
                    <a:pt x="572" y="38738"/>
                  </a:cubicBezTo>
                  <a:cubicBezTo>
                    <a:pt x="2924" y="51557"/>
                    <a:pt x="12057" y="61575"/>
                    <a:pt x="23739" y="64151"/>
                  </a:cubicBezTo>
                  <a:close/>
                  <a:moveTo>
                    <a:pt x="29537" y="19040"/>
                  </a:moveTo>
                  <a:cubicBezTo>
                    <a:pt x="36249" y="19040"/>
                    <a:pt x="41690" y="25010"/>
                    <a:pt x="41690" y="32375"/>
                  </a:cubicBezTo>
                  <a:cubicBezTo>
                    <a:pt x="41690" y="39740"/>
                    <a:pt x="36249" y="45710"/>
                    <a:pt x="29537" y="45710"/>
                  </a:cubicBezTo>
                  <a:cubicBezTo>
                    <a:pt x="22826" y="45710"/>
                    <a:pt x="17385" y="39740"/>
                    <a:pt x="17385" y="32375"/>
                  </a:cubicBezTo>
                  <a:cubicBezTo>
                    <a:pt x="17385" y="25010"/>
                    <a:pt x="22826" y="19040"/>
                    <a:pt x="29537" y="19040"/>
                  </a:cubicBezTo>
                  <a:close/>
                </a:path>
              </a:pathLst>
            </a:custGeom>
            <a:solidFill>
              <a:schemeClr val="bg1"/>
            </a:solidFill>
            <a:ln w="8632" cap="flat">
              <a:noFill/>
              <a:prstDash val="solid"/>
              <a:miter/>
            </a:ln>
          </p:spPr>
          <p:txBody>
            <a:bodyPr rtlCol="0" anchor="ctr"/>
            <a:lstStyle/>
            <a:p>
              <a:endParaRPr lang="en-IN"/>
            </a:p>
          </p:txBody>
        </p:sp>
        <p:sp>
          <p:nvSpPr>
            <p:cNvPr id="17" name="Freeform: Shape 16">
              <a:extLst>
                <a:ext uri="{FF2B5EF4-FFF2-40B4-BE49-F238E27FC236}">
                  <a16:creationId xmlns:a16="http://schemas.microsoft.com/office/drawing/2014/main" id="{19959F23-44FF-CFD3-75A1-190FBF26F1B0}"/>
                </a:ext>
              </a:extLst>
            </p:cNvPr>
            <p:cNvSpPr/>
            <p:nvPr/>
          </p:nvSpPr>
          <p:spPr>
            <a:xfrm>
              <a:off x="5878014" y="4725143"/>
              <a:ext cx="527824" cy="213359"/>
            </a:xfrm>
            <a:custGeom>
              <a:avLst/>
              <a:gdLst>
                <a:gd name="connsiteX0" fmla="*/ 506992 w 527824"/>
                <a:gd name="connsiteY0" fmla="*/ 213360 h 213359"/>
                <a:gd name="connsiteX1" fmla="*/ 527824 w 527824"/>
                <a:gd name="connsiteY1" fmla="*/ 190500 h 213359"/>
                <a:gd name="connsiteX2" fmla="*/ 527824 w 527824"/>
                <a:gd name="connsiteY2" fmla="*/ 22860 h 213359"/>
                <a:gd name="connsiteX3" fmla="*/ 506992 w 527824"/>
                <a:gd name="connsiteY3" fmla="*/ 0 h 213359"/>
                <a:gd name="connsiteX4" fmla="*/ 27776 w 527824"/>
                <a:gd name="connsiteY4" fmla="*/ 0 h 213359"/>
                <a:gd name="connsiteX5" fmla="*/ 0 w 527824"/>
                <a:gd name="connsiteY5" fmla="*/ 30480 h 213359"/>
                <a:gd name="connsiteX6" fmla="*/ 0 w 527824"/>
                <a:gd name="connsiteY6" fmla="*/ 182880 h 213359"/>
                <a:gd name="connsiteX7" fmla="*/ 27776 w 527824"/>
                <a:gd name="connsiteY7" fmla="*/ 213360 h 213359"/>
                <a:gd name="connsiteX8" fmla="*/ 17351 w 527824"/>
                <a:gd name="connsiteY8" fmla="*/ 38357 h 213359"/>
                <a:gd name="connsiteX9" fmla="*/ 34963 w 527824"/>
                <a:gd name="connsiteY9" fmla="*/ 19031 h 213359"/>
                <a:gd name="connsiteX10" fmla="*/ 499770 w 527824"/>
                <a:gd name="connsiteY10" fmla="*/ 19031 h 213359"/>
                <a:gd name="connsiteX11" fmla="*/ 510429 w 527824"/>
                <a:gd name="connsiteY11" fmla="*/ 30737 h 213359"/>
                <a:gd name="connsiteX12" fmla="*/ 510429 w 527824"/>
                <a:gd name="connsiteY12" fmla="*/ 182566 h 213359"/>
                <a:gd name="connsiteX13" fmla="*/ 499770 w 527824"/>
                <a:gd name="connsiteY13" fmla="*/ 194310 h 213359"/>
                <a:gd name="connsiteX14" fmla="*/ 34963 w 527824"/>
                <a:gd name="connsiteY14" fmla="*/ 194310 h 213359"/>
                <a:gd name="connsiteX15" fmla="*/ 17351 w 527824"/>
                <a:gd name="connsiteY15" fmla="*/ 174946 h 213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824" h="213359">
                  <a:moveTo>
                    <a:pt x="506992" y="213360"/>
                  </a:moveTo>
                  <a:lnTo>
                    <a:pt x="527824" y="190500"/>
                  </a:lnTo>
                  <a:lnTo>
                    <a:pt x="527824" y="22860"/>
                  </a:lnTo>
                  <a:lnTo>
                    <a:pt x="506992" y="0"/>
                  </a:lnTo>
                  <a:lnTo>
                    <a:pt x="27776" y="0"/>
                  </a:lnTo>
                  <a:lnTo>
                    <a:pt x="0" y="30480"/>
                  </a:lnTo>
                  <a:lnTo>
                    <a:pt x="0" y="182880"/>
                  </a:lnTo>
                  <a:lnTo>
                    <a:pt x="27776" y="213360"/>
                  </a:lnTo>
                  <a:close/>
                  <a:moveTo>
                    <a:pt x="17351" y="38357"/>
                  </a:moveTo>
                  <a:lnTo>
                    <a:pt x="34963" y="19031"/>
                  </a:lnTo>
                  <a:lnTo>
                    <a:pt x="499770" y="19031"/>
                  </a:lnTo>
                  <a:lnTo>
                    <a:pt x="510429" y="30737"/>
                  </a:lnTo>
                  <a:lnTo>
                    <a:pt x="510429" y="182566"/>
                  </a:lnTo>
                  <a:lnTo>
                    <a:pt x="499770" y="194310"/>
                  </a:lnTo>
                  <a:lnTo>
                    <a:pt x="34963" y="194310"/>
                  </a:lnTo>
                  <a:lnTo>
                    <a:pt x="17351" y="174946"/>
                  </a:lnTo>
                  <a:close/>
                </a:path>
              </a:pathLst>
            </a:custGeom>
            <a:solidFill>
              <a:schemeClr val="bg1"/>
            </a:solidFill>
            <a:ln w="8632" cap="flat">
              <a:noFill/>
              <a:prstDash val="solid"/>
              <a:miter/>
            </a:ln>
          </p:spPr>
          <p:txBody>
            <a:bodyPr rtlCol="0" anchor="ctr"/>
            <a:lstStyle/>
            <a:p>
              <a:endParaRPr lang="en-IN"/>
            </a:p>
          </p:txBody>
        </p:sp>
        <p:sp>
          <p:nvSpPr>
            <p:cNvPr id="19" name="Freeform: Shape 18">
              <a:extLst>
                <a:ext uri="{FF2B5EF4-FFF2-40B4-BE49-F238E27FC236}">
                  <a16:creationId xmlns:a16="http://schemas.microsoft.com/office/drawing/2014/main" id="{5251A279-B3D9-075D-7CBB-6EE3BB3A86B9}"/>
                </a:ext>
              </a:extLst>
            </p:cNvPr>
            <p:cNvSpPr/>
            <p:nvPr/>
          </p:nvSpPr>
          <p:spPr>
            <a:xfrm>
              <a:off x="5652420" y="4759443"/>
              <a:ext cx="138880" cy="19050"/>
            </a:xfrm>
            <a:custGeom>
              <a:avLst/>
              <a:gdLst>
                <a:gd name="connsiteX0" fmla="*/ 0 w 138880"/>
                <a:gd name="connsiteY0" fmla="*/ 0 h 19050"/>
                <a:gd name="connsiteX1" fmla="*/ 138881 w 138880"/>
                <a:gd name="connsiteY1" fmla="*/ 0 h 19050"/>
                <a:gd name="connsiteX2" fmla="*/ 138881 w 138880"/>
                <a:gd name="connsiteY2" fmla="*/ 19050 h 19050"/>
                <a:gd name="connsiteX3" fmla="*/ 0 w 13888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38880" h="19050">
                  <a:moveTo>
                    <a:pt x="0" y="0"/>
                  </a:moveTo>
                  <a:lnTo>
                    <a:pt x="138881" y="0"/>
                  </a:lnTo>
                  <a:lnTo>
                    <a:pt x="138881" y="19050"/>
                  </a:lnTo>
                  <a:lnTo>
                    <a:pt x="0" y="19050"/>
                  </a:lnTo>
                  <a:close/>
                </a:path>
              </a:pathLst>
            </a:custGeom>
            <a:solidFill>
              <a:schemeClr val="bg1"/>
            </a:solidFill>
            <a:ln w="8632" cap="flat">
              <a:noFill/>
              <a:prstDash val="solid"/>
              <a:miter/>
            </a:ln>
          </p:spPr>
          <p:txBody>
            <a:bodyPr rtlCol="0" anchor="ctr"/>
            <a:lstStyle/>
            <a:p>
              <a:endParaRPr lang="en-IN"/>
            </a:p>
          </p:txBody>
        </p:sp>
        <p:sp>
          <p:nvSpPr>
            <p:cNvPr id="21" name="Freeform: Shape 20">
              <a:extLst>
                <a:ext uri="{FF2B5EF4-FFF2-40B4-BE49-F238E27FC236}">
                  <a16:creationId xmlns:a16="http://schemas.microsoft.com/office/drawing/2014/main" id="{64580E7E-F6FF-02FE-CF59-7C9F766E02F4}"/>
                </a:ext>
              </a:extLst>
            </p:cNvPr>
            <p:cNvSpPr/>
            <p:nvPr/>
          </p:nvSpPr>
          <p:spPr>
            <a:xfrm>
              <a:off x="5695820" y="4835643"/>
              <a:ext cx="95480" cy="19050"/>
            </a:xfrm>
            <a:custGeom>
              <a:avLst/>
              <a:gdLst>
                <a:gd name="connsiteX0" fmla="*/ 0 w 95480"/>
                <a:gd name="connsiteY0" fmla="*/ 0 h 19050"/>
                <a:gd name="connsiteX1" fmla="*/ 95480 w 95480"/>
                <a:gd name="connsiteY1" fmla="*/ 0 h 19050"/>
                <a:gd name="connsiteX2" fmla="*/ 95480 w 95480"/>
                <a:gd name="connsiteY2" fmla="*/ 19050 h 19050"/>
                <a:gd name="connsiteX3" fmla="*/ 0 w 9548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95480" h="19050">
                  <a:moveTo>
                    <a:pt x="0" y="0"/>
                  </a:moveTo>
                  <a:lnTo>
                    <a:pt x="95480" y="0"/>
                  </a:lnTo>
                  <a:lnTo>
                    <a:pt x="95480" y="19050"/>
                  </a:lnTo>
                  <a:lnTo>
                    <a:pt x="0" y="19050"/>
                  </a:lnTo>
                  <a:close/>
                </a:path>
              </a:pathLst>
            </a:custGeom>
            <a:solidFill>
              <a:schemeClr val="bg1"/>
            </a:solidFill>
            <a:ln w="8632" cap="flat">
              <a:noFill/>
              <a:prstDash val="solid"/>
              <a:miter/>
            </a:ln>
          </p:spPr>
          <p:txBody>
            <a:bodyPr rtlCol="0" anchor="ctr"/>
            <a:lstStyle/>
            <a:p>
              <a:endParaRPr lang="en-IN"/>
            </a:p>
          </p:txBody>
        </p:sp>
        <p:sp>
          <p:nvSpPr>
            <p:cNvPr id="22" name="Freeform: Shape 21">
              <a:extLst>
                <a:ext uri="{FF2B5EF4-FFF2-40B4-BE49-F238E27FC236}">
                  <a16:creationId xmlns:a16="http://schemas.microsoft.com/office/drawing/2014/main" id="{EBFCE011-4FC0-294E-E6B4-E332F3E32831}"/>
                </a:ext>
              </a:extLst>
            </p:cNvPr>
            <p:cNvSpPr/>
            <p:nvPr/>
          </p:nvSpPr>
          <p:spPr>
            <a:xfrm>
              <a:off x="5669780" y="4911843"/>
              <a:ext cx="121520" cy="19050"/>
            </a:xfrm>
            <a:custGeom>
              <a:avLst/>
              <a:gdLst>
                <a:gd name="connsiteX0" fmla="*/ 0 w 121520"/>
                <a:gd name="connsiteY0" fmla="*/ 0 h 19050"/>
                <a:gd name="connsiteX1" fmla="*/ 121520 w 121520"/>
                <a:gd name="connsiteY1" fmla="*/ 0 h 19050"/>
                <a:gd name="connsiteX2" fmla="*/ 121520 w 121520"/>
                <a:gd name="connsiteY2" fmla="*/ 19050 h 19050"/>
                <a:gd name="connsiteX3" fmla="*/ 0 w 12152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21520" h="19050">
                  <a:moveTo>
                    <a:pt x="0" y="0"/>
                  </a:moveTo>
                  <a:lnTo>
                    <a:pt x="121520" y="0"/>
                  </a:lnTo>
                  <a:lnTo>
                    <a:pt x="121520" y="19050"/>
                  </a:lnTo>
                  <a:lnTo>
                    <a:pt x="0" y="19050"/>
                  </a:lnTo>
                  <a:close/>
                </a:path>
              </a:pathLst>
            </a:custGeom>
            <a:solidFill>
              <a:schemeClr val="bg1"/>
            </a:solidFill>
            <a:ln w="8632" cap="flat">
              <a:noFill/>
              <a:prstDash val="solid"/>
              <a:miter/>
            </a:ln>
          </p:spPr>
          <p:txBody>
            <a:bodyPr rtlCol="0" anchor="ctr"/>
            <a:lstStyle/>
            <a:p>
              <a:endParaRPr lang="en-IN"/>
            </a:p>
          </p:txBody>
        </p:sp>
      </p:grpSp>
      <p:pic>
        <p:nvPicPr>
          <p:cNvPr id="20" name="Graphic 19" descr="Person with idea outline">
            <a:extLst>
              <a:ext uri="{FF2B5EF4-FFF2-40B4-BE49-F238E27FC236}">
                <a16:creationId xmlns:a16="http://schemas.microsoft.com/office/drawing/2014/main" id="{E2DE3EB3-6D73-7E71-9F8B-A604FEBEA304}"/>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4273762" y="2736014"/>
            <a:ext cx="764082" cy="613761"/>
          </a:xfrm>
          <a:prstGeom prst="rect">
            <a:avLst/>
          </a:prstGeom>
        </p:spPr>
      </p:pic>
      <p:sp>
        <p:nvSpPr>
          <p:cNvPr id="23" name="TextBox 22">
            <a:extLst>
              <a:ext uri="{FF2B5EF4-FFF2-40B4-BE49-F238E27FC236}">
                <a16:creationId xmlns:a16="http://schemas.microsoft.com/office/drawing/2014/main" id="{C5EE81A0-CB79-57DC-AABF-06635C2B1D99}"/>
              </a:ext>
            </a:extLst>
          </p:cNvPr>
          <p:cNvSpPr txBox="1"/>
          <p:nvPr/>
        </p:nvSpPr>
        <p:spPr>
          <a:xfrm>
            <a:off x="442911" y="1456773"/>
            <a:ext cx="3334431" cy="430887"/>
          </a:xfrm>
          <a:prstGeom prst="rect">
            <a:avLst/>
          </a:prstGeom>
          <a:noFill/>
        </p:spPr>
        <p:txBody>
          <a:bodyPr wrap="square" lIns="0" tIns="0" rIns="0" bIns="0">
            <a:spAutoFit/>
          </a:bodyPr>
          <a:lstStyle>
            <a:defPPr>
              <a:defRPr lang="en-US"/>
            </a:defPPr>
            <a:lvl1pPr marR="0" lvl="0" indent="0">
              <a:spcBef>
                <a:spcPts val="0"/>
              </a:spcBef>
              <a:spcAft>
                <a:spcPts val="0"/>
              </a:spcAft>
              <a:buNone/>
              <a:defRPr sz="1200"/>
            </a:lvl1pPr>
          </a:lstStyle>
          <a:p>
            <a:r>
              <a:rPr lang="en-US" sz="1400" dirty="0"/>
              <a:t>Managing of bank, savings or securities account</a:t>
            </a:r>
          </a:p>
        </p:txBody>
      </p:sp>
    </p:spTree>
    <p:custDataLst>
      <p:custData r:id="rId1"/>
    </p:custDataLst>
    <p:extLst>
      <p:ext uri="{BB962C8B-B14F-4D97-AF65-F5344CB8AC3E}">
        <p14:creationId xmlns:p14="http://schemas.microsoft.com/office/powerpoint/2010/main" val="15494182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4DA136-1EA4-F7C5-200C-77C4257A5B8E}"/>
              </a:ext>
            </a:extLst>
          </p:cNvPr>
          <p:cNvGraphicFramePr>
            <a:graphicFrameLocks noChangeAspect="1"/>
          </p:cNvGraphicFramePr>
          <p:nvPr>
            <p:custDataLst>
              <p:tags r:id="rId3"/>
            </p:custDataLst>
            <p:extLst>
              <p:ext uri="{D42A27DB-BD31-4B8C-83A1-F6EECF244321}">
                <p14:modId xmlns:p14="http://schemas.microsoft.com/office/powerpoint/2010/main" val="8192112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646" name="think-cell Slide" r:id="rId6" imgW="7772400" imgH="10058400" progId="TCLayout.ActiveDocument.1">
                  <p:embed/>
                </p:oleObj>
              </mc:Choice>
              <mc:Fallback>
                <p:oleObj name="think-cell Slide" r:id="rId6" imgW="7772400" imgH="10058400" progId="TCLayout.ActiveDocument.1">
                  <p:embed/>
                  <p:pic>
                    <p:nvPicPr>
                      <p:cNvPr id="10" name="Object 9" hidden="1">
                        <a:extLst>
                          <a:ext uri="{FF2B5EF4-FFF2-40B4-BE49-F238E27FC236}">
                            <a16:creationId xmlns:a16="http://schemas.microsoft.com/office/drawing/2014/main" id="{2D4DA136-1EA4-F7C5-200C-77C4257A5B8E}"/>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2F8DBAD9-2FB4-3D45-BD3C-AE82E5DD780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Rectangle 1">
            <a:extLst>
              <a:ext uri="{FF2B5EF4-FFF2-40B4-BE49-F238E27FC236}">
                <a16:creationId xmlns:a16="http://schemas.microsoft.com/office/drawing/2014/main" id="{D3E82E12-CB3F-8998-950F-A2D45F6DB6BF}"/>
              </a:ext>
            </a:extLst>
          </p:cNvPr>
          <p:cNvSpPr/>
          <p:nvPr/>
        </p:nvSpPr>
        <p:spPr bwMode="gray">
          <a:xfrm>
            <a:off x="0" y="0"/>
            <a:ext cx="12192000" cy="137160"/>
          </a:xfrm>
          <a:prstGeom prst="rect">
            <a:avLst/>
          </a:prstGeom>
          <a:solidFill>
            <a:schemeClr val="accent3"/>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7" name="Rectangle 6">
            <a:extLst>
              <a:ext uri="{FF2B5EF4-FFF2-40B4-BE49-F238E27FC236}">
                <a16:creationId xmlns:a16="http://schemas.microsoft.com/office/drawing/2014/main" id="{796B302A-860E-95E8-CF3C-99435FCF0C98}"/>
              </a:ext>
            </a:extLst>
          </p:cNvPr>
          <p:cNvSpPr/>
          <p:nvPr/>
        </p:nvSpPr>
        <p:spPr>
          <a:xfrm>
            <a:off x="1298971" y="428625"/>
            <a:ext cx="10893023" cy="1008855"/>
          </a:xfrm>
          <a:prstGeom prst="rect">
            <a:avLst/>
          </a:prstGeom>
          <a:solidFill>
            <a:srgbClr val="26262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8" name="Title 11">
            <a:extLst>
              <a:ext uri="{FF2B5EF4-FFF2-40B4-BE49-F238E27FC236}">
                <a16:creationId xmlns:a16="http://schemas.microsoft.com/office/drawing/2014/main" id="{AEB2CDC4-63FB-7619-D310-1C4FEA5A3AC6}"/>
              </a:ext>
            </a:extLst>
          </p:cNvPr>
          <p:cNvSpPr>
            <a:spLocks noGrp="1"/>
          </p:cNvSpPr>
          <p:nvPr>
            <p:ph type="title"/>
          </p:nvPr>
        </p:nvSpPr>
        <p:spPr>
          <a:xfrm>
            <a:off x="1536874" y="734131"/>
            <a:ext cx="10212214" cy="397843"/>
          </a:xfrm>
        </p:spPr>
        <p:txBody>
          <a:bodyPr vert="horz">
            <a:noAutofit/>
          </a:bodyPr>
          <a:lstStyle/>
          <a:p>
            <a:pPr lvl="0">
              <a:defRPr/>
            </a:pPr>
            <a:r>
              <a:rPr lang="en-US" sz="2800" dirty="0">
                <a:solidFill>
                  <a:schemeClr val="bg1"/>
                </a:solidFill>
              </a:rPr>
              <a:t>Reporting requirements and maintenance of records</a:t>
            </a:r>
            <a:endParaRPr lang="en-US" sz="2800" kern="0" dirty="0">
              <a:solidFill>
                <a:schemeClr val="bg1"/>
              </a:solidFill>
              <a:ea typeface="Helvetica Neue Light"/>
              <a:cs typeface="Helvetica Neue Light"/>
              <a:sym typeface="Helvetica Neue Light"/>
            </a:endParaRPr>
          </a:p>
        </p:txBody>
      </p:sp>
      <p:sp>
        <p:nvSpPr>
          <p:cNvPr id="14" name="Snip Same Side Corner Rectangle 52">
            <a:extLst>
              <a:ext uri="{FF2B5EF4-FFF2-40B4-BE49-F238E27FC236}">
                <a16:creationId xmlns:a16="http://schemas.microsoft.com/office/drawing/2014/main" id="{4B4E05EF-F0C6-D7D9-ED4B-90956DE38A89}"/>
              </a:ext>
            </a:extLst>
          </p:cNvPr>
          <p:cNvSpPr/>
          <p:nvPr/>
        </p:nvSpPr>
        <p:spPr>
          <a:xfrm flipV="1">
            <a:off x="606846" y="1868191"/>
            <a:ext cx="5473700" cy="1325282"/>
          </a:xfrm>
          <a:prstGeom prst="snip2SameRect">
            <a:avLst>
              <a:gd name="adj1" fmla="val 40871"/>
              <a:gd name="adj2" fmla="val 0"/>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22" name="Rectangle 21">
            <a:extLst>
              <a:ext uri="{FF2B5EF4-FFF2-40B4-BE49-F238E27FC236}">
                <a16:creationId xmlns:a16="http://schemas.microsoft.com/office/drawing/2014/main" id="{8FA0B81E-B380-5BAF-2CA6-D0180912758D}"/>
              </a:ext>
            </a:extLst>
          </p:cNvPr>
          <p:cNvSpPr/>
          <p:nvPr/>
        </p:nvSpPr>
        <p:spPr>
          <a:xfrm>
            <a:off x="706625" y="2532329"/>
            <a:ext cx="5271806" cy="2725470"/>
          </a:xfrm>
          <a:prstGeom prst="rect">
            <a:avLst/>
          </a:prstGeom>
          <a:solidFill>
            <a:schemeClr val="bg1"/>
          </a:solidFill>
          <a:ln w="3175">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44000" tIns="91416" rIns="91416" bIns="91416" anchor="t"/>
          <a:lstStyle/>
          <a:p>
            <a:pPr marL="285750" lvl="1" indent="-285750" defTabSz="1018824">
              <a:buFont typeface="Arial" panose="020B0604020202020204" pitchFamily="34" charset="0"/>
              <a:buChar char="•"/>
              <a:defRPr/>
            </a:pPr>
            <a:r>
              <a:rPr lang="en-US" sz="1400" dirty="0">
                <a:solidFill>
                  <a:schemeClr val="tx1"/>
                </a:solidFill>
              </a:rPr>
              <a:t>In line with FATF Recommendation 20, Rule 8(2) read with Rule 3(1)(D) of the PMLR provides for prompt reporting of a suspicious transaction, which includes an attempted suspicious transaction, to the FIU-IND, if a reporting entity suspects or has reasonable grounds to suspect that funds used by a client are the proceeds of a criminal activity or are related to terrorist financing. A suspicious transaction  shall  be reported within seven working  days of its occurrence.</a:t>
            </a:r>
          </a:p>
          <a:p>
            <a:pPr marL="0" lvl="1" defTabSz="1018824">
              <a:defRPr/>
            </a:pPr>
            <a:endParaRPr lang="en-US" sz="300" dirty="0">
              <a:solidFill>
                <a:schemeClr val="tx1"/>
              </a:solidFill>
            </a:endParaRPr>
          </a:p>
          <a:p>
            <a:pPr marL="285750" lvl="1" indent="-285750" defTabSz="1018824">
              <a:buFont typeface="Arial" panose="020B0604020202020204" pitchFamily="34" charset="0"/>
              <a:buChar char="•"/>
              <a:defRPr/>
            </a:pPr>
            <a:r>
              <a:rPr lang="en-US" sz="1400" dirty="0">
                <a:solidFill>
                  <a:schemeClr val="tx1"/>
                </a:solidFill>
              </a:rPr>
              <a:t>It is clarified that for the purpose of suspicious transactions reporting, apart from  'transactions integrally  connected', 'transactions remotely connected or related' shall also be considered.`</a:t>
            </a:r>
          </a:p>
        </p:txBody>
      </p:sp>
      <p:sp>
        <p:nvSpPr>
          <p:cNvPr id="23" name="Rectangle 22">
            <a:extLst>
              <a:ext uri="{FF2B5EF4-FFF2-40B4-BE49-F238E27FC236}">
                <a16:creationId xmlns:a16="http://schemas.microsoft.com/office/drawing/2014/main" id="{41EB6301-ED64-F209-1508-4F2251362923}"/>
              </a:ext>
            </a:extLst>
          </p:cNvPr>
          <p:cNvSpPr/>
          <p:nvPr/>
        </p:nvSpPr>
        <p:spPr>
          <a:xfrm>
            <a:off x="806573" y="2092538"/>
            <a:ext cx="4380073" cy="215444"/>
          </a:xfrm>
          <a:prstGeom prst="rect">
            <a:avLst/>
          </a:prstGeom>
          <a:noFill/>
          <a:ln>
            <a:noFill/>
          </a:ln>
        </p:spPr>
        <p:txBody>
          <a:bodyPr wrap="square" lIns="0" tIns="0" rIns="0" bIns="0">
            <a:spAutoFit/>
          </a:bodyPr>
          <a:lstStyle/>
          <a:p>
            <a:pPr marL="0" lvl="1" defTabSz="1018824">
              <a:spcAft>
                <a:spcPts val="600"/>
              </a:spcAft>
              <a:defRPr/>
            </a:pPr>
            <a:r>
              <a:rPr lang="en-US" sz="1400" b="1" dirty="0">
                <a:solidFill>
                  <a:schemeClr val="bg1"/>
                </a:solidFill>
              </a:rPr>
              <a:t>Reporting requirements – </a:t>
            </a:r>
          </a:p>
        </p:txBody>
      </p:sp>
      <p:sp>
        <p:nvSpPr>
          <p:cNvPr id="24" name="Snip Same Side Corner Rectangle 52">
            <a:extLst>
              <a:ext uri="{FF2B5EF4-FFF2-40B4-BE49-F238E27FC236}">
                <a16:creationId xmlns:a16="http://schemas.microsoft.com/office/drawing/2014/main" id="{BA44AA18-A9B3-1449-DA33-476E9A51491A}"/>
              </a:ext>
            </a:extLst>
          </p:cNvPr>
          <p:cNvSpPr/>
          <p:nvPr/>
        </p:nvSpPr>
        <p:spPr>
          <a:xfrm flipV="1">
            <a:off x="6184900" y="1868191"/>
            <a:ext cx="5473700" cy="1325282"/>
          </a:xfrm>
          <a:prstGeom prst="snip2SameRect">
            <a:avLst>
              <a:gd name="adj1" fmla="val 40871"/>
              <a:gd name="adj2" fmla="val 0"/>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p>
        </p:txBody>
      </p:sp>
      <p:sp>
        <p:nvSpPr>
          <p:cNvPr id="25" name="Rectangle 24">
            <a:extLst>
              <a:ext uri="{FF2B5EF4-FFF2-40B4-BE49-F238E27FC236}">
                <a16:creationId xmlns:a16="http://schemas.microsoft.com/office/drawing/2014/main" id="{7BFB66C2-99BB-E91D-30A5-46A8230AFA31}"/>
              </a:ext>
            </a:extLst>
          </p:cNvPr>
          <p:cNvSpPr/>
          <p:nvPr/>
        </p:nvSpPr>
        <p:spPr>
          <a:xfrm>
            <a:off x="6285849" y="2532328"/>
            <a:ext cx="5271806" cy="2725472"/>
          </a:xfrm>
          <a:prstGeom prst="rect">
            <a:avLst/>
          </a:prstGeom>
          <a:solidFill>
            <a:schemeClr val="bg1"/>
          </a:solidFill>
          <a:ln w="317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144000" tIns="91416" rIns="91416" bIns="91416" anchor="t"/>
          <a:lstStyle/>
          <a:p>
            <a:r>
              <a:rPr lang="en-US" sz="1400" dirty="0">
                <a:solidFill>
                  <a:schemeClr val="tx1"/>
                </a:solidFill>
                <a:latin typeface="+mn-lt"/>
              </a:rPr>
              <a:t>The reporting entities shall collect and maintain the following information for its customers, and third parties for at least </a:t>
            </a:r>
            <a:br>
              <a:rPr lang="en-US" sz="1400" dirty="0">
                <a:solidFill>
                  <a:schemeClr val="tx1"/>
                </a:solidFill>
                <a:latin typeface="+mn-lt"/>
              </a:rPr>
            </a:br>
            <a:r>
              <a:rPr lang="en-US" sz="1400" b="1" dirty="0">
                <a:solidFill>
                  <a:schemeClr val="tx1"/>
                </a:solidFill>
                <a:latin typeface="+mn-lt"/>
              </a:rPr>
              <a:t>5 years-</a:t>
            </a:r>
          </a:p>
          <a:p>
            <a:pPr marL="285750" indent="-285750">
              <a:buFont typeface="Arial" panose="020B0604020202020204" pitchFamily="34" charset="0"/>
              <a:buChar char="•"/>
            </a:pPr>
            <a:r>
              <a:rPr lang="en-US" sz="1400" dirty="0">
                <a:solidFill>
                  <a:schemeClr val="tx1"/>
                </a:solidFill>
                <a:latin typeface="+mn-lt"/>
              </a:rPr>
              <a:t>Business agreements between customers, third parties, and other parties,</a:t>
            </a:r>
          </a:p>
          <a:p>
            <a:pPr marL="285750" indent="-285750">
              <a:buFont typeface="Arial" panose="020B0604020202020204" pitchFamily="34" charset="0"/>
              <a:buChar char="•"/>
            </a:pPr>
            <a:r>
              <a:rPr lang="en-US" sz="1400" dirty="0">
                <a:solidFill>
                  <a:schemeClr val="tx1"/>
                </a:solidFill>
                <a:latin typeface="+mn-lt"/>
              </a:rPr>
              <a:t>Due Diligence information obtained at the onset and during the course of a business relationship</a:t>
            </a:r>
          </a:p>
          <a:p>
            <a:pPr marL="285750" indent="-285750">
              <a:buFont typeface="Arial" panose="020B0604020202020204" pitchFamily="34" charset="0"/>
              <a:buChar char="•"/>
            </a:pPr>
            <a:r>
              <a:rPr lang="en-US" sz="1400" dirty="0">
                <a:solidFill>
                  <a:schemeClr val="tx1"/>
                </a:solidFill>
                <a:latin typeface="+mn-lt"/>
              </a:rPr>
              <a:t>Transaction details such as Proforma Invoices, contracts, transaction details</a:t>
            </a:r>
          </a:p>
          <a:p>
            <a:pPr marL="285750" indent="-285750">
              <a:buFont typeface="Arial" panose="020B0604020202020204" pitchFamily="34" charset="0"/>
              <a:buChar char="•"/>
            </a:pPr>
            <a:r>
              <a:rPr lang="en-US" sz="1400" dirty="0">
                <a:solidFill>
                  <a:schemeClr val="tx1"/>
                </a:solidFill>
                <a:latin typeface="+mn-lt"/>
              </a:rPr>
              <a:t>Certain transaction activities, including domestic and international fund transfers within the subsidiaries of the client if any</a:t>
            </a:r>
          </a:p>
        </p:txBody>
      </p:sp>
      <p:sp>
        <p:nvSpPr>
          <p:cNvPr id="26" name="Rectangle 25">
            <a:extLst>
              <a:ext uri="{FF2B5EF4-FFF2-40B4-BE49-F238E27FC236}">
                <a16:creationId xmlns:a16="http://schemas.microsoft.com/office/drawing/2014/main" id="{0007C655-98E3-C547-A5C6-15C480B49E7C}"/>
              </a:ext>
            </a:extLst>
          </p:cNvPr>
          <p:cNvSpPr/>
          <p:nvPr/>
        </p:nvSpPr>
        <p:spPr>
          <a:xfrm>
            <a:off x="6395076" y="2092972"/>
            <a:ext cx="4380073" cy="215444"/>
          </a:xfrm>
          <a:prstGeom prst="rect">
            <a:avLst/>
          </a:prstGeom>
          <a:noFill/>
          <a:ln>
            <a:noFill/>
          </a:ln>
        </p:spPr>
        <p:txBody>
          <a:bodyPr wrap="square" lIns="0" tIns="0" rIns="0" bIns="0">
            <a:spAutoFit/>
          </a:bodyPr>
          <a:lstStyle/>
          <a:p>
            <a:pPr marL="0" lvl="1" defTabSz="1018824">
              <a:spcAft>
                <a:spcPts val="600"/>
              </a:spcAft>
              <a:defRPr/>
            </a:pPr>
            <a:r>
              <a:rPr lang="en-US" sz="1400" b="1" dirty="0"/>
              <a:t>Maintenance of Records – </a:t>
            </a:r>
          </a:p>
        </p:txBody>
      </p:sp>
    </p:spTree>
    <p:custDataLst>
      <p:custData r:id="rId2"/>
    </p:custDataLst>
    <p:extLst>
      <p:ext uri="{BB962C8B-B14F-4D97-AF65-F5344CB8AC3E}">
        <p14:creationId xmlns:p14="http://schemas.microsoft.com/office/powerpoint/2010/main" val="11461025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8932FE3F-F858-9C36-A654-682A33C54C60}"/>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solidFill>
                  <a:schemeClr val="bg1"/>
                </a:solidFill>
              </a:rPr>
              <a:pPr/>
              <a:t>29</a:t>
            </a:fld>
            <a:endParaRPr lang="en-GB" dirty="0">
              <a:solidFill>
                <a:schemeClr val="bg1"/>
              </a:solidFill>
            </a:endParaRPr>
          </a:p>
        </p:txBody>
      </p:sp>
      <p:sp>
        <p:nvSpPr>
          <p:cNvPr id="3" name="Rectangle 2">
            <a:extLst>
              <a:ext uri="{FF2B5EF4-FFF2-40B4-BE49-F238E27FC236}">
                <a16:creationId xmlns:a16="http://schemas.microsoft.com/office/drawing/2014/main" id="{E3D3EA1C-F8AE-98B3-7128-DBA84B2C61A7}"/>
              </a:ext>
            </a:extLst>
          </p:cNvPr>
          <p:cNvSpPr/>
          <p:nvPr/>
        </p:nvSpPr>
        <p:spPr>
          <a:xfrm>
            <a:off x="3505201" y="2810803"/>
            <a:ext cx="8243887" cy="1169894"/>
          </a:xfrm>
          <a:prstGeom prst="rect">
            <a:avLst/>
          </a:prstGeom>
          <a:solidFill>
            <a:schemeClr val="tx1">
              <a:lumMod val="75000"/>
              <a:lumOff val="2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10" name="Title 11">
            <a:extLst>
              <a:ext uri="{FF2B5EF4-FFF2-40B4-BE49-F238E27FC236}">
                <a16:creationId xmlns:a16="http://schemas.microsoft.com/office/drawing/2014/main" id="{3D8D6280-1A8E-8165-6E34-C42A350D70AC}"/>
              </a:ext>
            </a:extLst>
          </p:cNvPr>
          <p:cNvSpPr>
            <a:spLocks noGrp="1"/>
          </p:cNvSpPr>
          <p:nvPr>
            <p:ph type="title"/>
          </p:nvPr>
        </p:nvSpPr>
        <p:spPr>
          <a:xfrm>
            <a:off x="3969497" y="3187990"/>
            <a:ext cx="6652744" cy="482020"/>
          </a:xfrm>
        </p:spPr>
        <p:txBody>
          <a:bodyPr>
            <a:normAutofit/>
          </a:bodyPr>
          <a:lstStyle/>
          <a:p>
            <a:r>
              <a:rPr lang="en-US" sz="3200" dirty="0">
                <a:solidFill>
                  <a:schemeClr val="accent2"/>
                </a:solidFill>
              </a:rPr>
              <a:t>Questions &amp; Answers</a:t>
            </a:r>
          </a:p>
        </p:txBody>
      </p:sp>
      <p:grpSp>
        <p:nvGrpSpPr>
          <p:cNvPr id="11" name="Group 10">
            <a:extLst>
              <a:ext uri="{FF2B5EF4-FFF2-40B4-BE49-F238E27FC236}">
                <a16:creationId xmlns:a16="http://schemas.microsoft.com/office/drawing/2014/main" id="{92ECE52A-75BB-AF1D-726A-4B6BB1EA4E02}"/>
              </a:ext>
            </a:extLst>
          </p:cNvPr>
          <p:cNvGrpSpPr>
            <a:grpSpLocks noChangeAspect="1"/>
          </p:cNvGrpSpPr>
          <p:nvPr/>
        </p:nvGrpSpPr>
        <p:grpSpPr bwMode="auto">
          <a:xfrm>
            <a:off x="442913" y="1897856"/>
            <a:ext cx="3062288" cy="3062288"/>
            <a:chOff x="2770" y="965"/>
            <a:chExt cx="302" cy="302"/>
          </a:xfrm>
          <a:solidFill>
            <a:schemeClr val="accent2"/>
          </a:solidFill>
        </p:grpSpPr>
        <p:sp>
          <p:nvSpPr>
            <p:cNvPr id="12" name="Freeform 11">
              <a:extLst>
                <a:ext uri="{FF2B5EF4-FFF2-40B4-BE49-F238E27FC236}">
                  <a16:creationId xmlns:a16="http://schemas.microsoft.com/office/drawing/2014/main" id="{CE5FA6A0-762C-E01C-EF6B-62BD0B4BF0CC}"/>
                </a:ext>
              </a:extLst>
            </p:cNvPr>
            <p:cNvSpPr>
              <a:spLocks noEditPoints="1"/>
            </p:cNvSpPr>
            <p:nvPr/>
          </p:nvSpPr>
          <p:spPr bwMode="auto">
            <a:xfrm>
              <a:off x="2770" y="965"/>
              <a:ext cx="302" cy="302"/>
            </a:xfrm>
            <a:custGeom>
              <a:avLst/>
              <a:gdLst>
                <a:gd name="T0" fmla="*/ 0 w 302"/>
                <a:gd name="T1" fmla="*/ 0 h 302"/>
                <a:gd name="T2" fmla="*/ 0 w 302"/>
                <a:gd name="T3" fmla="*/ 302 h 302"/>
                <a:gd name="T4" fmla="*/ 302 w 302"/>
                <a:gd name="T5" fmla="*/ 302 h 302"/>
                <a:gd name="T6" fmla="*/ 302 w 302"/>
                <a:gd name="T7" fmla="*/ 0 h 302"/>
                <a:gd name="T8" fmla="*/ 0 w 302"/>
                <a:gd name="T9" fmla="*/ 0 h 302"/>
                <a:gd name="T10" fmla="*/ 289 w 302"/>
                <a:gd name="T11" fmla="*/ 289 h 302"/>
                <a:gd name="T12" fmla="*/ 13 w 302"/>
                <a:gd name="T13" fmla="*/ 289 h 302"/>
                <a:gd name="T14" fmla="*/ 13 w 302"/>
                <a:gd name="T15" fmla="*/ 13 h 302"/>
                <a:gd name="T16" fmla="*/ 289 w 302"/>
                <a:gd name="T17" fmla="*/ 13 h 302"/>
                <a:gd name="T18" fmla="*/ 289 w 302"/>
                <a:gd name="T19" fmla="*/ 28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302">
                  <a:moveTo>
                    <a:pt x="0" y="0"/>
                  </a:moveTo>
                  <a:lnTo>
                    <a:pt x="0" y="302"/>
                  </a:lnTo>
                  <a:lnTo>
                    <a:pt x="302" y="302"/>
                  </a:lnTo>
                  <a:lnTo>
                    <a:pt x="302" y="0"/>
                  </a:lnTo>
                  <a:lnTo>
                    <a:pt x="0" y="0"/>
                  </a:lnTo>
                  <a:close/>
                  <a:moveTo>
                    <a:pt x="289" y="289"/>
                  </a:moveTo>
                  <a:lnTo>
                    <a:pt x="13" y="289"/>
                  </a:lnTo>
                  <a:lnTo>
                    <a:pt x="13" y="13"/>
                  </a:lnTo>
                  <a:lnTo>
                    <a:pt x="289" y="13"/>
                  </a:lnTo>
                  <a:lnTo>
                    <a:pt x="289" y="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a:extLst>
                <a:ext uri="{FF2B5EF4-FFF2-40B4-BE49-F238E27FC236}">
                  <a16:creationId xmlns:a16="http://schemas.microsoft.com/office/drawing/2014/main" id="{A933AB12-6DE6-96A4-5DF1-C1F1A710D8F8}"/>
                </a:ext>
              </a:extLst>
            </p:cNvPr>
            <p:cNvSpPr>
              <a:spLocks noEditPoints="1"/>
            </p:cNvSpPr>
            <p:nvPr/>
          </p:nvSpPr>
          <p:spPr bwMode="auto">
            <a:xfrm>
              <a:off x="2863" y="1023"/>
              <a:ext cx="116" cy="185"/>
            </a:xfrm>
            <a:custGeom>
              <a:avLst/>
              <a:gdLst>
                <a:gd name="T0" fmla="*/ 0 w 221"/>
                <a:gd name="T1" fmla="*/ 118 h 354"/>
                <a:gd name="T2" fmla="*/ 8 w 221"/>
                <a:gd name="T3" fmla="*/ 70 h 354"/>
                <a:gd name="T4" fmla="*/ 31 w 221"/>
                <a:gd name="T5" fmla="*/ 33 h 354"/>
                <a:gd name="T6" fmla="*/ 68 w 221"/>
                <a:gd name="T7" fmla="*/ 9 h 354"/>
                <a:gd name="T8" fmla="*/ 116 w 221"/>
                <a:gd name="T9" fmla="*/ 0 h 354"/>
                <a:gd name="T10" fmla="*/ 157 w 221"/>
                <a:gd name="T11" fmla="*/ 7 h 354"/>
                <a:gd name="T12" fmla="*/ 191 w 221"/>
                <a:gd name="T13" fmla="*/ 26 h 354"/>
                <a:gd name="T14" fmla="*/ 213 w 221"/>
                <a:gd name="T15" fmla="*/ 56 h 354"/>
                <a:gd name="T16" fmla="*/ 221 w 221"/>
                <a:gd name="T17" fmla="*/ 98 h 354"/>
                <a:gd name="T18" fmla="*/ 218 w 221"/>
                <a:gd name="T19" fmla="*/ 127 h 354"/>
                <a:gd name="T20" fmla="*/ 208 w 221"/>
                <a:gd name="T21" fmla="*/ 148 h 354"/>
                <a:gd name="T22" fmla="*/ 194 w 221"/>
                <a:gd name="T23" fmla="*/ 164 h 354"/>
                <a:gd name="T24" fmla="*/ 179 w 221"/>
                <a:gd name="T25" fmla="*/ 178 h 354"/>
                <a:gd name="T26" fmla="*/ 162 w 221"/>
                <a:gd name="T27" fmla="*/ 193 h 354"/>
                <a:gd name="T28" fmla="*/ 148 w 221"/>
                <a:gd name="T29" fmla="*/ 209 h 354"/>
                <a:gd name="T30" fmla="*/ 139 w 221"/>
                <a:gd name="T31" fmla="*/ 231 h 354"/>
                <a:gd name="T32" fmla="*/ 136 w 221"/>
                <a:gd name="T33" fmla="*/ 260 h 354"/>
                <a:gd name="T34" fmla="*/ 84 w 221"/>
                <a:gd name="T35" fmla="*/ 260 h 354"/>
                <a:gd name="T36" fmla="*/ 86 w 221"/>
                <a:gd name="T37" fmla="*/ 224 h 354"/>
                <a:gd name="T38" fmla="*/ 93 w 221"/>
                <a:gd name="T39" fmla="*/ 198 h 354"/>
                <a:gd name="T40" fmla="*/ 105 w 221"/>
                <a:gd name="T41" fmla="*/ 178 h 354"/>
                <a:gd name="T42" fmla="*/ 122 w 221"/>
                <a:gd name="T43" fmla="*/ 162 h 354"/>
                <a:gd name="T44" fmla="*/ 136 w 221"/>
                <a:gd name="T45" fmla="*/ 149 h 354"/>
                <a:gd name="T46" fmla="*/ 149 w 221"/>
                <a:gd name="T47" fmla="*/ 136 h 354"/>
                <a:gd name="T48" fmla="*/ 158 w 221"/>
                <a:gd name="T49" fmla="*/ 121 h 354"/>
                <a:gd name="T50" fmla="*/ 161 w 221"/>
                <a:gd name="T51" fmla="*/ 100 h 354"/>
                <a:gd name="T52" fmla="*/ 156 w 221"/>
                <a:gd name="T53" fmla="*/ 75 h 354"/>
                <a:gd name="T54" fmla="*/ 143 w 221"/>
                <a:gd name="T55" fmla="*/ 58 h 354"/>
                <a:gd name="T56" fmla="*/ 128 w 221"/>
                <a:gd name="T57" fmla="*/ 49 h 354"/>
                <a:gd name="T58" fmla="*/ 113 w 221"/>
                <a:gd name="T59" fmla="*/ 46 h 354"/>
                <a:gd name="T60" fmla="*/ 69 w 221"/>
                <a:gd name="T61" fmla="*/ 66 h 354"/>
                <a:gd name="T62" fmla="*/ 55 w 221"/>
                <a:gd name="T63" fmla="*/ 118 h 354"/>
                <a:gd name="T64" fmla="*/ 0 w 221"/>
                <a:gd name="T65" fmla="*/ 118 h 354"/>
                <a:gd name="T66" fmla="*/ 77 w 221"/>
                <a:gd name="T67" fmla="*/ 293 h 354"/>
                <a:gd name="T68" fmla="*/ 141 w 221"/>
                <a:gd name="T69" fmla="*/ 293 h 354"/>
                <a:gd name="T70" fmla="*/ 141 w 221"/>
                <a:gd name="T71" fmla="*/ 354 h 354"/>
                <a:gd name="T72" fmla="*/ 77 w 221"/>
                <a:gd name="T73" fmla="*/ 354 h 354"/>
                <a:gd name="T74" fmla="*/ 77 w 221"/>
                <a:gd name="T75" fmla="*/ 293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1" h="354">
                  <a:moveTo>
                    <a:pt x="0" y="118"/>
                  </a:moveTo>
                  <a:cubicBezTo>
                    <a:pt x="0" y="100"/>
                    <a:pt x="2" y="84"/>
                    <a:pt x="8" y="70"/>
                  </a:cubicBezTo>
                  <a:cubicBezTo>
                    <a:pt x="13" y="55"/>
                    <a:pt x="21" y="43"/>
                    <a:pt x="31" y="33"/>
                  </a:cubicBezTo>
                  <a:cubicBezTo>
                    <a:pt x="41" y="22"/>
                    <a:pt x="53" y="14"/>
                    <a:pt x="68" y="9"/>
                  </a:cubicBezTo>
                  <a:cubicBezTo>
                    <a:pt x="82" y="3"/>
                    <a:pt x="98" y="0"/>
                    <a:pt x="116" y="0"/>
                  </a:cubicBezTo>
                  <a:cubicBezTo>
                    <a:pt x="131" y="0"/>
                    <a:pt x="144" y="2"/>
                    <a:pt x="157" y="7"/>
                  </a:cubicBezTo>
                  <a:cubicBezTo>
                    <a:pt x="170" y="11"/>
                    <a:pt x="181" y="17"/>
                    <a:pt x="191" y="26"/>
                  </a:cubicBezTo>
                  <a:cubicBezTo>
                    <a:pt x="200" y="34"/>
                    <a:pt x="208" y="44"/>
                    <a:pt x="213" y="56"/>
                  </a:cubicBezTo>
                  <a:cubicBezTo>
                    <a:pt x="219" y="69"/>
                    <a:pt x="221" y="82"/>
                    <a:pt x="221" y="98"/>
                  </a:cubicBezTo>
                  <a:cubicBezTo>
                    <a:pt x="221" y="109"/>
                    <a:pt x="220" y="119"/>
                    <a:pt x="218" y="127"/>
                  </a:cubicBezTo>
                  <a:cubicBezTo>
                    <a:pt x="215" y="135"/>
                    <a:pt x="212" y="143"/>
                    <a:pt x="208" y="148"/>
                  </a:cubicBezTo>
                  <a:cubicBezTo>
                    <a:pt x="204" y="154"/>
                    <a:pt x="199" y="160"/>
                    <a:pt x="194" y="164"/>
                  </a:cubicBezTo>
                  <a:cubicBezTo>
                    <a:pt x="189" y="169"/>
                    <a:pt x="184" y="174"/>
                    <a:pt x="179" y="178"/>
                  </a:cubicBezTo>
                  <a:cubicBezTo>
                    <a:pt x="173" y="183"/>
                    <a:pt x="167" y="188"/>
                    <a:pt x="162" y="193"/>
                  </a:cubicBezTo>
                  <a:cubicBezTo>
                    <a:pt x="157" y="198"/>
                    <a:pt x="152" y="203"/>
                    <a:pt x="148" y="209"/>
                  </a:cubicBezTo>
                  <a:cubicBezTo>
                    <a:pt x="144" y="215"/>
                    <a:pt x="141" y="222"/>
                    <a:pt x="139" y="231"/>
                  </a:cubicBezTo>
                  <a:cubicBezTo>
                    <a:pt x="137" y="239"/>
                    <a:pt x="136" y="248"/>
                    <a:pt x="136" y="260"/>
                  </a:cubicBezTo>
                  <a:cubicBezTo>
                    <a:pt x="84" y="260"/>
                    <a:pt x="84" y="260"/>
                    <a:pt x="84" y="260"/>
                  </a:cubicBezTo>
                  <a:cubicBezTo>
                    <a:pt x="84" y="246"/>
                    <a:pt x="85" y="234"/>
                    <a:pt x="86" y="224"/>
                  </a:cubicBezTo>
                  <a:cubicBezTo>
                    <a:pt x="88" y="214"/>
                    <a:pt x="90" y="206"/>
                    <a:pt x="93" y="198"/>
                  </a:cubicBezTo>
                  <a:cubicBezTo>
                    <a:pt x="96" y="191"/>
                    <a:pt x="100" y="184"/>
                    <a:pt x="105" y="178"/>
                  </a:cubicBezTo>
                  <a:cubicBezTo>
                    <a:pt x="110" y="173"/>
                    <a:pt x="115" y="167"/>
                    <a:pt x="122" y="162"/>
                  </a:cubicBezTo>
                  <a:cubicBezTo>
                    <a:pt x="127" y="157"/>
                    <a:pt x="132" y="153"/>
                    <a:pt x="136" y="149"/>
                  </a:cubicBezTo>
                  <a:cubicBezTo>
                    <a:pt x="141" y="145"/>
                    <a:pt x="145" y="141"/>
                    <a:pt x="149" y="136"/>
                  </a:cubicBezTo>
                  <a:cubicBezTo>
                    <a:pt x="153" y="132"/>
                    <a:pt x="156" y="126"/>
                    <a:pt x="158" y="121"/>
                  </a:cubicBezTo>
                  <a:cubicBezTo>
                    <a:pt x="160" y="115"/>
                    <a:pt x="161" y="108"/>
                    <a:pt x="161" y="100"/>
                  </a:cubicBezTo>
                  <a:cubicBezTo>
                    <a:pt x="161" y="90"/>
                    <a:pt x="159" y="82"/>
                    <a:pt x="156" y="75"/>
                  </a:cubicBezTo>
                  <a:cubicBezTo>
                    <a:pt x="152" y="68"/>
                    <a:pt x="148" y="62"/>
                    <a:pt x="143" y="58"/>
                  </a:cubicBezTo>
                  <a:cubicBezTo>
                    <a:pt x="139" y="54"/>
                    <a:pt x="133" y="51"/>
                    <a:pt x="128" y="49"/>
                  </a:cubicBezTo>
                  <a:cubicBezTo>
                    <a:pt x="122" y="47"/>
                    <a:pt x="118" y="46"/>
                    <a:pt x="113" y="46"/>
                  </a:cubicBezTo>
                  <a:cubicBezTo>
                    <a:pt x="93" y="46"/>
                    <a:pt x="79" y="53"/>
                    <a:pt x="69" y="66"/>
                  </a:cubicBezTo>
                  <a:cubicBezTo>
                    <a:pt x="60" y="79"/>
                    <a:pt x="55" y="96"/>
                    <a:pt x="55" y="118"/>
                  </a:cubicBezTo>
                  <a:lnTo>
                    <a:pt x="0" y="118"/>
                  </a:lnTo>
                  <a:close/>
                  <a:moveTo>
                    <a:pt x="77" y="293"/>
                  </a:moveTo>
                  <a:cubicBezTo>
                    <a:pt x="141" y="293"/>
                    <a:pt x="141" y="293"/>
                    <a:pt x="141" y="293"/>
                  </a:cubicBezTo>
                  <a:cubicBezTo>
                    <a:pt x="141" y="354"/>
                    <a:pt x="141" y="354"/>
                    <a:pt x="141" y="354"/>
                  </a:cubicBezTo>
                  <a:cubicBezTo>
                    <a:pt x="77" y="354"/>
                    <a:pt x="77" y="354"/>
                    <a:pt x="77" y="354"/>
                  </a:cubicBezTo>
                  <a:lnTo>
                    <a:pt x="77" y="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14" name="Straight Connector 13">
            <a:extLst>
              <a:ext uri="{FF2B5EF4-FFF2-40B4-BE49-F238E27FC236}">
                <a16:creationId xmlns:a16="http://schemas.microsoft.com/office/drawing/2014/main" id="{B1547E04-3F75-52A3-8A8A-E34C4D4B0023}"/>
              </a:ext>
            </a:extLst>
          </p:cNvPr>
          <p:cNvCxnSpPr/>
          <p:nvPr/>
        </p:nvCxnSpPr>
        <p:spPr>
          <a:xfrm>
            <a:off x="3971925" y="4128247"/>
            <a:ext cx="7777163" cy="0"/>
          </a:xfrm>
          <a:prstGeom prst="line">
            <a:avLst/>
          </a:prstGeom>
          <a:ln w="28575" cap="sq">
            <a:solidFill>
              <a:schemeClr val="accent3"/>
            </a:solidFill>
          </a:ln>
        </p:spPr>
        <p:style>
          <a:lnRef idx="1">
            <a:schemeClr val="accent1"/>
          </a:lnRef>
          <a:fillRef idx="0">
            <a:schemeClr val="accent1"/>
          </a:fillRef>
          <a:effectRef idx="0">
            <a:schemeClr val="dk1"/>
          </a:effectRef>
          <a:fontRef idx="minor">
            <a:schemeClr val="lt1"/>
          </a:fontRef>
        </p:style>
      </p:cxnSp>
      <p:cxnSp>
        <p:nvCxnSpPr>
          <p:cNvPr id="15" name="Straight Connector 14">
            <a:extLst>
              <a:ext uri="{FF2B5EF4-FFF2-40B4-BE49-F238E27FC236}">
                <a16:creationId xmlns:a16="http://schemas.microsoft.com/office/drawing/2014/main" id="{97CD8EEA-03F0-D5BB-98F0-E70ADC20ED14}"/>
              </a:ext>
            </a:extLst>
          </p:cNvPr>
          <p:cNvCxnSpPr/>
          <p:nvPr/>
        </p:nvCxnSpPr>
        <p:spPr>
          <a:xfrm>
            <a:off x="3971925" y="2729753"/>
            <a:ext cx="7777163" cy="0"/>
          </a:xfrm>
          <a:prstGeom prst="line">
            <a:avLst/>
          </a:prstGeom>
          <a:ln w="28575" cap="sq">
            <a:solidFill>
              <a:schemeClr val="accent3"/>
            </a:solidFill>
          </a:ln>
        </p:spPr>
        <p:style>
          <a:lnRef idx="1">
            <a:schemeClr val="accent1"/>
          </a:lnRef>
          <a:fillRef idx="0">
            <a:schemeClr val="accent1"/>
          </a:fillRef>
          <a:effectRef idx="0">
            <a:schemeClr val="dk1"/>
          </a:effectRef>
          <a:fontRef idx="minor">
            <a:schemeClr val="lt1"/>
          </a:fontRef>
        </p:style>
      </p:cxnSp>
    </p:spTree>
    <p:custDataLst>
      <p:custData r:id="rId1"/>
    </p:custDataLst>
    <p:extLst>
      <p:ext uri="{BB962C8B-B14F-4D97-AF65-F5344CB8AC3E}">
        <p14:creationId xmlns:p14="http://schemas.microsoft.com/office/powerpoint/2010/main" val="17462788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4DA136-1EA4-F7C5-200C-77C4257A5B8E}"/>
              </a:ext>
            </a:extLst>
          </p:cNvPr>
          <p:cNvGraphicFramePr>
            <a:graphicFrameLocks noChangeAspect="1"/>
          </p:cNvGraphicFramePr>
          <p:nvPr>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143" name="think-cell Slide" r:id="rId6" imgW="7772400" imgH="10058400" progId="TCLayout.ActiveDocument.1">
                  <p:embed/>
                </p:oleObj>
              </mc:Choice>
              <mc:Fallback>
                <p:oleObj name="think-cell Slide" r:id="rId6" imgW="7772400" imgH="10058400" progId="TCLayout.ActiveDocument.1">
                  <p:embed/>
                  <p:pic>
                    <p:nvPicPr>
                      <p:cNvPr id="10" name="Object 9" hidden="1">
                        <a:extLst>
                          <a:ext uri="{FF2B5EF4-FFF2-40B4-BE49-F238E27FC236}">
                            <a16:creationId xmlns:a16="http://schemas.microsoft.com/office/drawing/2014/main" id="{2D4DA136-1EA4-F7C5-200C-77C4257A5B8E}"/>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2F8DBAD9-2FB4-3D45-BD3C-AE82E5DD780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169" name="TextBox 168">
            <a:extLst>
              <a:ext uri="{FF2B5EF4-FFF2-40B4-BE49-F238E27FC236}">
                <a16:creationId xmlns:a16="http://schemas.microsoft.com/office/drawing/2014/main" id="{20452E5A-2247-49EF-A923-10AF3F688F10}"/>
              </a:ext>
            </a:extLst>
          </p:cNvPr>
          <p:cNvSpPr txBox="1"/>
          <p:nvPr/>
        </p:nvSpPr>
        <p:spPr>
          <a:xfrm>
            <a:off x="349820" y="318107"/>
            <a:ext cx="11380218" cy="523220"/>
          </a:xfrm>
          <a:prstGeom prst="rect">
            <a:avLst/>
          </a:prstGeom>
          <a:noFill/>
        </p:spPr>
        <p:txBody>
          <a:bodyPr wrap="square">
            <a:spAutoFit/>
          </a:bodyPr>
          <a:lstStyle/>
          <a:p>
            <a:pPr lvl="0">
              <a:defRPr/>
            </a:pPr>
            <a:r>
              <a:rPr lang="en-US" sz="2800" dirty="0">
                <a:solidFill>
                  <a:srgbClr val="000000"/>
                </a:solidFill>
                <a:latin typeface="Georgia"/>
                <a:ea typeface="Georgia"/>
                <a:cs typeface="Georgia"/>
                <a:sym typeface="Georgia"/>
              </a:rPr>
              <a:t>Objectives </a:t>
            </a:r>
          </a:p>
        </p:txBody>
      </p:sp>
      <p:sp>
        <p:nvSpPr>
          <p:cNvPr id="2" name="Rectangle 1">
            <a:extLst>
              <a:ext uri="{FF2B5EF4-FFF2-40B4-BE49-F238E27FC236}">
                <a16:creationId xmlns:a16="http://schemas.microsoft.com/office/drawing/2014/main" id="{D3E82E12-CB3F-8998-950F-A2D45F6DB6BF}"/>
              </a:ext>
            </a:extLst>
          </p:cNvPr>
          <p:cNvSpPr/>
          <p:nvPr/>
        </p:nvSpPr>
        <p:spPr bwMode="gray">
          <a:xfrm>
            <a:off x="0" y="0"/>
            <a:ext cx="12192000" cy="137160"/>
          </a:xfrm>
          <a:prstGeom prst="rect">
            <a:avLst/>
          </a:prstGeom>
          <a:solidFill>
            <a:schemeClr val="accent3"/>
          </a:solidFill>
          <a:ln w="3175">
            <a:noFill/>
            <a:round/>
            <a:headEnd/>
            <a:tailEnd/>
          </a:ln>
        </p:spPr>
        <p:txBody>
          <a:bodyPr lIns="0" tIns="0" rIns="0" bIns="0" rtlCol="0" anchor="ctr"/>
          <a:lstStyle/>
          <a:p>
            <a:pPr algn="ctr" defTabSz="685463"/>
            <a:endParaRPr lang="en-US" sz="1200" b="1" kern="0" dirty="0">
              <a:cs typeface="Arial" charset="0"/>
            </a:endParaRPr>
          </a:p>
        </p:txBody>
      </p:sp>
      <p:grpSp>
        <p:nvGrpSpPr>
          <p:cNvPr id="3" name="Group 2">
            <a:extLst>
              <a:ext uri="{FF2B5EF4-FFF2-40B4-BE49-F238E27FC236}">
                <a16:creationId xmlns:a16="http://schemas.microsoft.com/office/drawing/2014/main" id="{E3BED7BD-FDE2-4AA2-A8F3-9C22FF6517CF}"/>
              </a:ext>
            </a:extLst>
          </p:cNvPr>
          <p:cNvGrpSpPr/>
          <p:nvPr/>
        </p:nvGrpSpPr>
        <p:grpSpPr>
          <a:xfrm>
            <a:off x="1959288" y="1469321"/>
            <a:ext cx="10147830" cy="3977100"/>
            <a:chOff x="867918" y="2195100"/>
            <a:chExt cx="10147830" cy="3977100"/>
          </a:xfrm>
        </p:grpSpPr>
        <p:sp>
          <p:nvSpPr>
            <p:cNvPr id="7" name="Google Shape;492;p25">
              <a:extLst>
                <a:ext uri="{FF2B5EF4-FFF2-40B4-BE49-F238E27FC236}">
                  <a16:creationId xmlns:a16="http://schemas.microsoft.com/office/drawing/2014/main" id="{127E7D64-12DD-1439-73D4-0FAE86E0AB63}"/>
                </a:ext>
              </a:extLst>
            </p:cNvPr>
            <p:cNvSpPr/>
            <p:nvPr/>
          </p:nvSpPr>
          <p:spPr>
            <a:xfrm>
              <a:off x="867918" y="3691883"/>
              <a:ext cx="2861544" cy="2469013"/>
            </a:xfrm>
            <a:prstGeom prst="hexagon">
              <a:avLst>
                <a:gd name="adj" fmla="val 24996"/>
                <a:gd name="vf" fmla="val 115470"/>
              </a:avLst>
            </a:prstGeom>
            <a:noFill/>
            <a:ln w="12700" cap="flat" cmpd="sng">
              <a:solidFill>
                <a:schemeClr val="accent3"/>
              </a:solidFill>
              <a:prstDash val="solid"/>
              <a:bevel/>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b="0" i="0" u="none" strike="noStrike" kern="0" cap="none" spc="0" normalizeH="0" baseline="0" noProof="0">
                <a:ln>
                  <a:noFill/>
                </a:ln>
                <a:solidFill>
                  <a:srgbClr val="3F3F3F"/>
                </a:solidFill>
                <a:effectLst/>
                <a:uLnTx/>
                <a:uFillTx/>
                <a:latin typeface="Arial" panose="020B0604020202020204" pitchFamily="34" charset="0"/>
                <a:ea typeface="Cambria"/>
                <a:cs typeface="Arial" panose="020B0604020202020204" pitchFamily="34" charset="0"/>
                <a:sym typeface="Cambria"/>
              </a:endParaRPr>
            </a:p>
          </p:txBody>
        </p:sp>
        <p:sp>
          <p:nvSpPr>
            <p:cNvPr id="8" name="Google Shape;493;p25">
              <a:extLst>
                <a:ext uri="{FF2B5EF4-FFF2-40B4-BE49-F238E27FC236}">
                  <a16:creationId xmlns:a16="http://schemas.microsoft.com/office/drawing/2014/main" id="{B4645430-D338-7EC2-FA8C-D39FA1864B1B}"/>
                </a:ext>
              </a:extLst>
            </p:cNvPr>
            <p:cNvSpPr/>
            <p:nvPr/>
          </p:nvSpPr>
          <p:spPr>
            <a:xfrm>
              <a:off x="3372335" y="2195100"/>
              <a:ext cx="2863806" cy="2469013"/>
            </a:xfrm>
            <a:prstGeom prst="hexagon">
              <a:avLst>
                <a:gd name="adj" fmla="val 24994"/>
                <a:gd name="vf" fmla="val 115470"/>
              </a:avLst>
            </a:prstGeom>
            <a:noFill/>
            <a:ln w="12700" cap="flat" cmpd="sng">
              <a:solidFill>
                <a:schemeClr val="accent6"/>
              </a:solidFill>
              <a:prstDash val="solid"/>
              <a:bevel/>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b="0" i="0" u="none" strike="noStrike" kern="0" cap="none" spc="0" normalizeH="0" baseline="0" noProof="0">
                <a:ln>
                  <a:noFill/>
                </a:ln>
                <a:solidFill>
                  <a:srgbClr val="3F3F3F"/>
                </a:solidFill>
                <a:effectLst/>
                <a:uLnTx/>
                <a:uFillTx/>
                <a:latin typeface="Arial" panose="020B0604020202020204" pitchFamily="34" charset="0"/>
                <a:ea typeface="Cambria"/>
                <a:cs typeface="Arial" panose="020B0604020202020204" pitchFamily="34" charset="0"/>
                <a:sym typeface="Cambria"/>
              </a:endParaRPr>
            </a:p>
          </p:txBody>
        </p:sp>
        <p:sp>
          <p:nvSpPr>
            <p:cNvPr id="9" name="Google Shape;494;p25">
              <a:extLst>
                <a:ext uri="{FF2B5EF4-FFF2-40B4-BE49-F238E27FC236}">
                  <a16:creationId xmlns:a16="http://schemas.microsoft.com/office/drawing/2014/main" id="{7986DD9E-C06A-0D88-9C30-ADBAD864E194}"/>
                </a:ext>
              </a:extLst>
            </p:cNvPr>
            <p:cNvSpPr/>
            <p:nvPr/>
          </p:nvSpPr>
          <p:spPr>
            <a:xfrm>
              <a:off x="5944560" y="3703187"/>
              <a:ext cx="2863806" cy="2469013"/>
            </a:xfrm>
            <a:prstGeom prst="hexagon">
              <a:avLst>
                <a:gd name="adj" fmla="val 24994"/>
                <a:gd name="vf" fmla="val 115470"/>
              </a:avLst>
            </a:prstGeom>
            <a:noFill/>
            <a:ln w="12700" cap="flat" cmpd="sng">
              <a:solidFill>
                <a:schemeClr val="tx2"/>
              </a:solidFill>
              <a:prstDash val="solid"/>
              <a:bevel/>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b="0" i="0" u="none" strike="noStrike" kern="0" cap="none" spc="0" normalizeH="0" baseline="0" noProof="0">
                <a:ln>
                  <a:noFill/>
                </a:ln>
                <a:solidFill>
                  <a:srgbClr val="3F3F3F"/>
                </a:solidFill>
                <a:effectLst/>
                <a:uLnTx/>
                <a:uFillTx/>
                <a:latin typeface="Arial" panose="020B0604020202020204" pitchFamily="34" charset="0"/>
                <a:ea typeface="Cambria"/>
                <a:cs typeface="Arial" panose="020B0604020202020204" pitchFamily="34" charset="0"/>
                <a:sym typeface="Cambria"/>
              </a:endParaRPr>
            </a:p>
          </p:txBody>
        </p:sp>
        <p:sp>
          <p:nvSpPr>
            <p:cNvPr id="12" name="Google Shape;497;p25">
              <a:extLst>
                <a:ext uri="{FF2B5EF4-FFF2-40B4-BE49-F238E27FC236}">
                  <a16:creationId xmlns:a16="http://schemas.microsoft.com/office/drawing/2014/main" id="{28116CAC-3884-2A28-A136-11CC74F0DED6}"/>
                </a:ext>
              </a:extLst>
            </p:cNvPr>
            <p:cNvSpPr/>
            <p:nvPr/>
          </p:nvSpPr>
          <p:spPr>
            <a:xfrm>
              <a:off x="3822136" y="4885692"/>
              <a:ext cx="662268" cy="572033"/>
            </a:xfrm>
            <a:prstGeom prst="hexagon">
              <a:avLst>
                <a:gd name="adj" fmla="val 24996"/>
                <a:gd name="vf" fmla="val 115470"/>
              </a:avLst>
            </a:prstGeom>
            <a:solidFill>
              <a:schemeClr val="accent3"/>
            </a:solidFill>
            <a:ln w="25400" cap="flat" cmpd="sng">
              <a:solidFill>
                <a:schemeClr val="accent3"/>
              </a:solidFill>
              <a:prstDash val="solid"/>
              <a:bevel/>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b="0" i="0" u="none" strike="noStrike" kern="0" cap="none" spc="0" normalizeH="0" baseline="0" noProof="0">
                <a:ln>
                  <a:noFill/>
                </a:ln>
                <a:solidFill>
                  <a:srgbClr val="3F3F3F"/>
                </a:solidFill>
                <a:effectLst/>
                <a:uLnTx/>
                <a:uFillTx/>
                <a:latin typeface="Arial" panose="020B0604020202020204" pitchFamily="34" charset="0"/>
                <a:ea typeface="Cambria"/>
                <a:cs typeface="Arial" panose="020B0604020202020204" pitchFamily="34" charset="0"/>
                <a:sym typeface="Cambria"/>
              </a:endParaRPr>
            </a:p>
          </p:txBody>
        </p:sp>
        <p:sp>
          <p:nvSpPr>
            <p:cNvPr id="13" name="Google Shape;498;p25">
              <a:extLst>
                <a:ext uri="{FF2B5EF4-FFF2-40B4-BE49-F238E27FC236}">
                  <a16:creationId xmlns:a16="http://schemas.microsoft.com/office/drawing/2014/main" id="{87ED0FF1-CCF0-8AA0-8A23-7CECD17AEC69}"/>
                </a:ext>
              </a:extLst>
            </p:cNvPr>
            <p:cNvSpPr/>
            <p:nvPr/>
          </p:nvSpPr>
          <p:spPr>
            <a:xfrm>
              <a:off x="5277772" y="5003263"/>
              <a:ext cx="662268" cy="572033"/>
            </a:xfrm>
            <a:prstGeom prst="hexagon">
              <a:avLst>
                <a:gd name="adj" fmla="val 24996"/>
                <a:gd name="vf" fmla="val 115470"/>
              </a:avLst>
            </a:prstGeom>
            <a:solidFill>
              <a:schemeClr val="accent6"/>
            </a:solidFill>
            <a:ln w="25400" cap="flat" cmpd="sng">
              <a:solidFill>
                <a:schemeClr val="accent6"/>
              </a:solidFill>
              <a:prstDash val="solid"/>
              <a:bevel/>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b="0" i="0" u="none" strike="noStrike" kern="0" cap="none" spc="0" normalizeH="0" baseline="0" noProof="0">
                <a:ln>
                  <a:noFill/>
                </a:ln>
                <a:solidFill>
                  <a:srgbClr val="3F3F3F"/>
                </a:solidFill>
                <a:effectLst/>
                <a:uLnTx/>
                <a:uFillTx/>
                <a:latin typeface="Arial" panose="020B0604020202020204" pitchFamily="34" charset="0"/>
                <a:ea typeface="Cambria"/>
                <a:cs typeface="Arial" panose="020B0604020202020204" pitchFamily="34" charset="0"/>
                <a:sym typeface="Cambria"/>
              </a:endParaRPr>
            </a:p>
          </p:txBody>
        </p:sp>
        <p:sp>
          <p:nvSpPr>
            <p:cNvPr id="14" name="Google Shape;499;p25">
              <a:extLst>
                <a:ext uri="{FF2B5EF4-FFF2-40B4-BE49-F238E27FC236}">
                  <a16:creationId xmlns:a16="http://schemas.microsoft.com/office/drawing/2014/main" id="{48712082-691C-BDB1-FD55-29A6D85D4F9B}"/>
                </a:ext>
              </a:extLst>
            </p:cNvPr>
            <p:cNvSpPr/>
            <p:nvPr/>
          </p:nvSpPr>
          <p:spPr>
            <a:xfrm>
              <a:off x="7212590" y="3015843"/>
              <a:ext cx="429458" cy="368544"/>
            </a:xfrm>
            <a:prstGeom prst="hexagon">
              <a:avLst>
                <a:gd name="adj" fmla="val 25029"/>
                <a:gd name="vf" fmla="val 115470"/>
              </a:avLst>
            </a:prstGeom>
            <a:solidFill>
              <a:schemeClr val="tx2"/>
            </a:solidFill>
            <a:ln w="25400" cap="flat" cmpd="sng">
              <a:solidFill>
                <a:schemeClr val="tx2"/>
              </a:solidFill>
              <a:prstDash val="solid"/>
              <a:bevel/>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b="0" i="0" u="none" strike="noStrike" kern="0" cap="none" spc="0" normalizeH="0" baseline="0" noProof="0">
                <a:ln>
                  <a:noFill/>
                </a:ln>
                <a:solidFill>
                  <a:srgbClr val="3F3F3F"/>
                </a:solidFill>
                <a:effectLst/>
                <a:uLnTx/>
                <a:uFillTx/>
                <a:latin typeface="Arial" panose="020B0604020202020204" pitchFamily="34" charset="0"/>
                <a:ea typeface="Cambria"/>
                <a:cs typeface="Arial" panose="020B0604020202020204" pitchFamily="34" charset="0"/>
                <a:sym typeface="Cambria"/>
              </a:endParaRPr>
            </a:p>
          </p:txBody>
        </p:sp>
        <p:sp>
          <p:nvSpPr>
            <p:cNvPr id="15" name="Google Shape;500;p25">
              <a:extLst>
                <a:ext uri="{FF2B5EF4-FFF2-40B4-BE49-F238E27FC236}">
                  <a16:creationId xmlns:a16="http://schemas.microsoft.com/office/drawing/2014/main" id="{0190B244-72CA-90EA-F619-A4EEE5786C5F}"/>
                </a:ext>
              </a:extLst>
            </p:cNvPr>
            <p:cNvSpPr/>
            <p:nvPr/>
          </p:nvSpPr>
          <p:spPr>
            <a:xfrm>
              <a:off x="6254220" y="2796527"/>
              <a:ext cx="630624" cy="544900"/>
            </a:xfrm>
            <a:prstGeom prst="hexagon">
              <a:avLst>
                <a:gd name="adj" fmla="val 24992"/>
                <a:gd name="vf" fmla="val 115470"/>
              </a:avLst>
            </a:prstGeom>
            <a:solidFill>
              <a:schemeClr val="tx2"/>
            </a:solidFill>
            <a:ln w="25400" cap="flat" cmpd="sng">
              <a:solidFill>
                <a:schemeClr val="tx2"/>
              </a:solidFill>
              <a:prstDash val="solid"/>
              <a:bevel/>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b="0" i="0" u="none" strike="noStrike" kern="0" cap="none" spc="0" normalizeH="0" baseline="0" noProof="0">
                <a:ln>
                  <a:noFill/>
                </a:ln>
                <a:solidFill>
                  <a:srgbClr val="3F3F3F"/>
                </a:solidFill>
                <a:effectLst/>
                <a:uLnTx/>
                <a:uFillTx/>
                <a:latin typeface="Arial" panose="020B0604020202020204" pitchFamily="34" charset="0"/>
                <a:ea typeface="Cambria"/>
                <a:cs typeface="Arial" panose="020B0604020202020204" pitchFamily="34" charset="0"/>
                <a:sym typeface="Cambria"/>
              </a:endParaRPr>
            </a:p>
          </p:txBody>
        </p:sp>
        <p:sp>
          <p:nvSpPr>
            <p:cNvPr id="16" name="Google Shape;502;p25">
              <a:extLst>
                <a:ext uri="{FF2B5EF4-FFF2-40B4-BE49-F238E27FC236}">
                  <a16:creationId xmlns:a16="http://schemas.microsoft.com/office/drawing/2014/main" id="{A4E2BADE-4254-373C-0DBF-37FCEE270367}"/>
                </a:ext>
              </a:extLst>
            </p:cNvPr>
            <p:cNvSpPr/>
            <p:nvPr/>
          </p:nvSpPr>
          <p:spPr>
            <a:xfrm>
              <a:off x="5006535" y="4881168"/>
              <a:ext cx="291579" cy="253232"/>
            </a:xfrm>
            <a:prstGeom prst="hexagon">
              <a:avLst>
                <a:gd name="adj" fmla="val 25035"/>
                <a:gd name="vf" fmla="val 115470"/>
              </a:avLst>
            </a:prstGeom>
            <a:solidFill>
              <a:schemeClr val="accent6"/>
            </a:solidFill>
            <a:ln w="25400" cap="flat" cmpd="sng">
              <a:solidFill>
                <a:schemeClr val="accent6"/>
              </a:solidFill>
              <a:prstDash val="solid"/>
              <a:bevel/>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b="0" i="0" u="none" strike="noStrike" kern="0" cap="none" spc="0" normalizeH="0" baseline="0" noProof="0">
                <a:ln>
                  <a:noFill/>
                </a:ln>
                <a:solidFill>
                  <a:srgbClr val="3F3F3F"/>
                </a:solidFill>
                <a:effectLst/>
                <a:uLnTx/>
                <a:uFillTx/>
                <a:latin typeface="Arial" panose="020B0604020202020204" pitchFamily="34" charset="0"/>
                <a:ea typeface="Cambria"/>
                <a:cs typeface="Arial" panose="020B0604020202020204" pitchFamily="34" charset="0"/>
                <a:sym typeface="Cambria"/>
              </a:endParaRPr>
            </a:p>
          </p:txBody>
        </p:sp>
        <p:sp>
          <p:nvSpPr>
            <p:cNvPr id="17" name="Google Shape;503;p25">
              <a:extLst>
                <a:ext uri="{FF2B5EF4-FFF2-40B4-BE49-F238E27FC236}">
                  <a16:creationId xmlns:a16="http://schemas.microsoft.com/office/drawing/2014/main" id="{94A3C996-5760-73B6-03FB-C6A11D5D5AE3}"/>
                </a:ext>
              </a:extLst>
            </p:cNvPr>
            <p:cNvSpPr/>
            <p:nvPr/>
          </p:nvSpPr>
          <p:spPr>
            <a:xfrm>
              <a:off x="6864502" y="3341426"/>
              <a:ext cx="305140" cy="262277"/>
            </a:xfrm>
            <a:prstGeom prst="hexagon">
              <a:avLst>
                <a:gd name="adj" fmla="val 25032"/>
                <a:gd name="vf" fmla="val 115470"/>
              </a:avLst>
            </a:prstGeom>
            <a:solidFill>
              <a:schemeClr val="tx2"/>
            </a:solidFill>
            <a:ln w="25400" cap="flat" cmpd="sng">
              <a:solidFill>
                <a:schemeClr val="tx2"/>
              </a:solidFill>
              <a:prstDash val="solid"/>
              <a:bevel/>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b="0" i="0" u="none" strike="noStrike" kern="0" cap="none" spc="0" normalizeH="0" baseline="0" noProof="0">
                <a:ln>
                  <a:noFill/>
                </a:ln>
                <a:solidFill>
                  <a:srgbClr val="3F3F3F"/>
                </a:solidFill>
                <a:effectLst/>
                <a:uLnTx/>
                <a:uFillTx/>
                <a:latin typeface="Arial" panose="020B0604020202020204" pitchFamily="34" charset="0"/>
                <a:ea typeface="Cambria"/>
                <a:cs typeface="Arial" panose="020B0604020202020204" pitchFamily="34" charset="0"/>
                <a:sym typeface="Cambria"/>
              </a:endParaRPr>
            </a:p>
          </p:txBody>
        </p:sp>
        <p:sp>
          <p:nvSpPr>
            <p:cNvPr id="18" name="Google Shape;505;p25">
              <a:extLst>
                <a:ext uri="{FF2B5EF4-FFF2-40B4-BE49-F238E27FC236}">
                  <a16:creationId xmlns:a16="http://schemas.microsoft.com/office/drawing/2014/main" id="{BCED20C4-A84F-2D19-8673-5166578C39AE}"/>
                </a:ext>
              </a:extLst>
            </p:cNvPr>
            <p:cNvSpPr/>
            <p:nvPr/>
          </p:nvSpPr>
          <p:spPr>
            <a:xfrm>
              <a:off x="8878431" y="4804296"/>
              <a:ext cx="632885" cy="544900"/>
            </a:xfrm>
            <a:prstGeom prst="hexagon">
              <a:avLst>
                <a:gd name="adj" fmla="val 24979"/>
                <a:gd name="vf" fmla="val 115470"/>
              </a:avLst>
            </a:prstGeom>
            <a:solidFill>
              <a:schemeClr val="accent2"/>
            </a:solidFill>
            <a:ln w="25400" cap="flat" cmpd="sng">
              <a:solidFill>
                <a:schemeClr val="accent2"/>
              </a:solidFill>
              <a:prstDash val="solid"/>
              <a:bevel/>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b="0" i="0" u="none" strike="noStrike" kern="0" cap="none" spc="0" normalizeH="0" baseline="0" noProof="0">
                <a:ln>
                  <a:noFill/>
                </a:ln>
                <a:solidFill>
                  <a:srgbClr val="3F3F3F"/>
                </a:solidFill>
                <a:effectLst/>
                <a:uLnTx/>
                <a:uFillTx/>
                <a:latin typeface="Arial" panose="020B0604020202020204" pitchFamily="34" charset="0"/>
                <a:ea typeface="Cambria"/>
                <a:cs typeface="Arial" panose="020B0604020202020204" pitchFamily="34" charset="0"/>
                <a:sym typeface="Cambria"/>
              </a:endParaRPr>
            </a:p>
          </p:txBody>
        </p:sp>
        <p:sp>
          <p:nvSpPr>
            <p:cNvPr id="19" name="Google Shape;506;p25">
              <a:extLst>
                <a:ext uri="{FF2B5EF4-FFF2-40B4-BE49-F238E27FC236}">
                  <a16:creationId xmlns:a16="http://schemas.microsoft.com/office/drawing/2014/main" id="{92C72999-B618-E24B-66B4-E185A623EF0E}"/>
                </a:ext>
              </a:extLst>
            </p:cNvPr>
            <p:cNvSpPr/>
            <p:nvPr/>
          </p:nvSpPr>
          <p:spPr>
            <a:xfrm>
              <a:off x="9653719" y="4743247"/>
              <a:ext cx="456582" cy="393414"/>
            </a:xfrm>
            <a:prstGeom prst="hexagon">
              <a:avLst>
                <a:gd name="adj" fmla="val 24997"/>
                <a:gd name="vf" fmla="val 115470"/>
              </a:avLst>
            </a:prstGeom>
            <a:solidFill>
              <a:schemeClr val="accent2"/>
            </a:solidFill>
            <a:ln w="25400" cap="flat" cmpd="sng">
              <a:solidFill>
                <a:schemeClr val="accent2"/>
              </a:solidFill>
              <a:prstDash val="solid"/>
              <a:bevel/>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b="0" i="0" u="none" strike="noStrike" kern="0" cap="none" spc="0" normalizeH="0" baseline="0" noProof="0">
                <a:ln>
                  <a:noFill/>
                </a:ln>
                <a:solidFill>
                  <a:srgbClr val="3F3F3F"/>
                </a:solidFill>
                <a:effectLst/>
                <a:uLnTx/>
                <a:uFillTx/>
                <a:latin typeface="Arial" panose="020B0604020202020204" pitchFamily="34" charset="0"/>
                <a:ea typeface="Cambria"/>
                <a:cs typeface="Arial" panose="020B0604020202020204" pitchFamily="34" charset="0"/>
                <a:sym typeface="Cambria"/>
              </a:endParaRPr>
            </a:p>
          </p:txBody>
        </p:sp>
        <p:sp>
          <p:nvSpPr>
            <p:cNvPr id="20" name="Google Shape;507;p25">
              <a:extLst>
                <a:ext uri="{FF2B5EF4-FFF2-40B4-BE49-F238E27FC236}">
                  <a16:creationId xmlns:a16="http://schemas.microsoft.com/office/drawing/2014/main" id="{EB256D81-391F-06F9-C6FC-4CAB3470B957}"/>
                </a:ext>
              </a:extLst>
            </p:cNvPr>
            <p:cNvSpPr/>
            <p:nvPr/>
          </p:nvSpPr>
          <p:spPr>
            <a:xfrm>
              <a:off x="9520360" y="5220319"/>
              <a:ext cx="302881" cy="262277"/>
            </a:xfrm>
            <a:prstGeom prst="hexagon">
              <a:avLst>
                <a:gd name="adj" fmla="val 24997"/>
                <a:gd name="vf" fmla="val 115470"/>
              </a:avLst>
            </a:prstGeom>
            <a:solidFill>
              <a:schemeClr val="accent2"/>
            </a:solidFill>
            <a:ln w="25400" cap="flat" cmpd="sng">
              <a:solidFill>
                <a:schemeClr val="accent2"/>
              </a:solidFill>
              <a:prstDash val="solid"/>
              <a:bevel/>
              <a:headEnd type="none" w="sm" len="sm"/>
              <a:tailEnd type="none" w="sm" len="sm"/>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b="0" i="0" u="none" strike="noStrike" kern="0" cap="none" spc="0" normalizeH="0" baseline="0" noProof="0">
                <a:ln>
                  <a:noFill/>
                </a:ln>
                <a:solidFill>
                  <a:srgbClr val="3F3F3F"/>
                </a:solidFill>
                <a:effectLst/>
                <a:uLnTx/>
                <a:uFillTx/>
                <a:latin typeface="Arial" panose="020B0604020202020204" pitchFamily="34" charset="0"/>
                <a:ea typeface="Cambria"/>
                <a:cs typeface="Arial" panose="020B0604020202020204" pitchFamily="34" charset="0"/>
                <a:sym typeface="Cambria"/>
              </a:endParaRPr>
            </a:p>
          </p:txBody>
        </p:sp>
        <p:sp>
          <p:nvSpPr>
            <p:cNvPr id="21" name="Google Shape;509;p25">
              <a:extLst>
                <a:ext uri="{FF2B5EF4-FFF2-40B4-BE49-F238E27FC236}">
                  <a16:creationId xmlns:a16="http://schemas.microsoft.com/office/drawing/2014/main" id="{03DDC7C6-3116-6F7F-9752-599468417833}"/>
                </a:ext>
              </a:extLst>
            </p:cNvPr>
            <p:cNvSpPr/>
            <p:nvPr/>
          </p:nvSpPr>
          <p:spPr>
            <a:xfrm>
              <a:off x="1426814" y="4771066"/>
              <a:ext cx="1767558" cy="707886"/>
            </a:xfrm>
            <a:prstGeom prst="rect">
              <a:avLst/>
            </a:prstGeom>
            <a:noFill/>
            <a:ln>
              <a:noFill/>
            </a:ln>
          </p:spPr>
          <p:txBody>
            <a:bodyPr spcFirstLastPara="1" wrap="square" lIns="91425" tIns="45700" rIns="91425" bIns="45700" anchor="b" anchorCtr="0">
              <a:noAutofit/>
            </a:bodyPr>
            <a:lstStyle/>
            <a:p>
              <a:pPr lvl="0" algn="ctr">
                <a:buClr>
                  <a:srgbClr val="000000"/>
                </a:buClr>
              </a:pPr>
              <a:r>
                <a:rPr lang="en-US" sz="1400" kern="0" dirty="0">
                  <a:latin typeface="Arial" panose="020B0604020202020204" pitchFamily="34" charset="0"/>
                  <a:ea typeface="Cambria"/>
                  <a:cs typeface="Arial" panose="020B0604020202020204" pitchFamily="34" charset="0"/>
                  <a:sym typeface="Cambria"/>
                </a:rPr>
                <a:t>What is Money Laundering &amp; Sanctions?</a:t>
              </a:r>
            </a:p>
          </p:txBody>
        </p:sp>
        <p:sp>
          <p:nvSpPr>
            <p:cNvPr id="22" name="Google Shape;510;p25">
              <a:extLst>
                <a:ext uri="{FF2B5EF4-FFF2-40B4-BE49-F238E27FC236}">
                  <a16:creationId xmlns:a16="http://schemas.microsoft.com/office/drawing/2014/main" id="{E8482D93-A99D-3424-F119-83147B049755}"/>
                </a:ext>
              </a:extLst>
            </p:cNvPr>
            <p:cNvSpPr/>
            <p:nvPr/>
          </p:nvSpPr>
          <p:spPr>
            <a:xfrm>
              <a:off x="3920459" y="2924275"/>
              <a:ext cx="1767558" cy="1184583"/>
            </a:xfrm>
            <a:prstGeom prst="rect">
              <a:avLst/>
            </a:prstGeom>
            <a:noFill/>
            <a:ln>
              <a:noFill/>
            </a:ln>
          </p:spPr>
          <p:txBody>
            <a:bodyPr spcFirstLastPara="1" wrap="square" lIns="91425" tIns="45700" rIns="91425" bIns="45700" anchor="b" anchorCtr="0">
              <a:noAutofit/>
            </a:bodyPr>
            <a:lstStyle/>
            <a:p>
              <a:pPr lvl="0" algn="ctr">
                <a:buClr>
                  <a:srgbClr val="000000"/>
                </a:buClr>
              </a:pPr>
              <a:r>
                <a:rPr lang="en-US" sz="1400" kern="0" dirty="0">
                  <a:latin typeface="Arial" panose="020B0604020202020204" pitchFamily="34" charset="0"/>
                  <a:ea typeface="Cambria"/>
                  <a:cs typeface="Arial" panose="020B0604020202020204" pitchFamily="34" charset="0"/>
                  <a:sym typeface="Cambria"/>
                </a:rPr>
                <a:t>Understand what are the PMLA regulatory obligations</a:t>
              </a:r>
            </a:p>
          </p:txBody>
        </p:sp>
        <p:sp>
          <p:nvSpPr>
            <p:cNvPr id="23" name="Google Shape;511;p25">
              <a:extLst>
                <a:ext uri="{FF2B5EF4-FFF2-40B4-BE49-F238E27FC236}">
                  <a16:creationId xmlns:a16="http://schemas.microsoft.com/office/drawing/2014/main" id="{81835665-2EA4-7776-154B-67F66A4EE4EE}"/>
                </a:ext>
              </a:extLst>
            </p:cNvPr>
            <p:cNvSpPr/>
            <p:nvPr/>
          </p:nvSpPr>
          <p:spPr>
            <a:xfrm>
              <a:off x="6360458" y="4001549"/>
              <a:ext cx="2133722" cy="1325127"/>
            </a:xfrm>
            <a:prstGeom prst="rect">
              <a:avLst/>
            </a:prstGeom>
            <a:noFill/>
            <a:ln>
              <a:noFill/>
            </a:ln>
          </p:spPr>
          <p:txBody>
            <a:bodyPr spcFirstLastPara="1" wrap="square" lIns="91425" tIns="45700" rIns="91425" bIns="45700" anchor="b" anchorCtr="0">
              <a:noAutofit/>
            </a:bodyPr>
            <a:lstStyle/>
            <a:p>
              <a:pPr lvl="0" algn="ctr">
                <a:buClr>
                  <a:srgbClr val="000000"/>
                </a:buClr>
              </a:pPr>
              <a:r>
                <a:rPr lang="en-US" sz="1400" kern="0" dirty="0">
                  <a:latin typeface="Arial" panose="020B0604020202020204" pitchFamily="34" charset="0"/>
                  <a:ea typeface="Cambria"/>
                  <a:cs typeface="Arial" panose="020B0604020202020204" pitchFamily="34" charset="0"/>
                  <a:sym typeface="Cambria"/>
                </a:rPr>
                <a:t>Understand the Key Components of AML and Sanctions compliance program</a:t>
              </a:r>
            </a:p>
          </p:txBody>
        </p:sp>
        <p:sp>
          <p:nvSpPr>
            <p:cNvPr id="24" name="Google Shape;512;p25">
              <a:extLst>
                <a:ext uri="{FF2B5EF4-FFF2-40B4-BE49-F238E27FC236}">
                  <a16:creationId xmlns:a16="http://schemas.microsoft.com/office/drawing/2014/main" id="{E682E389-4719-EB14-C46C-D66AD63F33DA}"/>
                </a:ext>
              </a:extLst>
            </p:cNvPr>
            <p:cNvSpPr/>
            <p:nvPr/>
          </p:nvSpPr>
          <p:spPr>
            <a:xfrm>
              <a:off x="8851314" y="3286237"/>
              <a:ext cx="2164434" cy="674944"/>
            </a:xfrm>
            <a:prstGeom prst="rect">
              <a:avLst/>
            </a:prstGeom>
            <a:noFill/>
            <a:ln>
              <a:noFill/>
            </a:ln>
          </p:spPr>
          <p:txBody>
            <a:bodyPr spcFirstLastPara="1" wrap="square" lIns="91425" tIns="45700" rIns="91425" bIns="45700" anchor="b" anchorCtr="0">
              <a:noAutofit/>
            </a:bodyPr>
            <a:lstStyle/>
            <a:p>
              <a:pPr lvl="0" algn="ctr">
                <a:buClr>
                  <a:srgbClr val="000000"/>
                </a:buClr>
              </a:pPr>
              <a:endParaRPr lang="en-US" sz="1400" kern="0" dirty="0">
                <a:latin typeface="Arial" panose="020B0604020202020204" pitchFamily="34" charset="0"/>
                <a:ea typeface="Cambria"/>
                <a:cs typeface="Arial" panose="020B0604020202020204" pitchFamily="34" charset="0"/>
                <a:sym typeface="Cambria"/>
              </a:endParaRPr>
            </a:p>
          </p:txBody>
        </p:sp>
        <p:sp>
          <p:nvSpPr>
            <p:cNvPr id="30" name="TextBox 29">
              <a:extLst>
                <a:ext uri="{FF2B5EF4-FFF2-40B4-BE49-F238E27FC236}">
                  <a16:creationId xmlns:a16="http://schemas.microsoft.com/office/drawing/2014/main" id="{9BA05E80-E3AD-EDB3-CE9D-080A453D2A34}"/>
                </a:ext>
              </a:extLst>
            </p:cNvPr>
            <p:cNvSpPr txBox="1"/>
            <p:nvPr/>
          </p:nvSpPr>
          <p:spPr>
            <a:xfrm>
              <a:off x="1901924" y="3758066"/>
              <a:ext cx="793533" cy="707886"/>
            </a:xfrm>
            <a:prstGeom prst="rect">
              <a:avLst/>
            </a:prstGeom>
            <a:noFill/>
          </p:spPr>
          <p:txBody>
            <a:bodyPr wrap="square">
              <a:spAutoFit/>
            </a:bodyPr>
            <a:lstStyle/>
            <a:p>
              <a:pPr>
                <a:spcAft>
                  <a:spcPts val="800"/>
                </a:spcAft>
              </a:pPr>
              <a:r>
                <a:rPr lang="en-US" sz="4000" b="1" dirty="0">
                  <a:solidFill>
                    <a:schemeClr val="accent3"/>
                  </a:solidFill>
                  <a:effectLst/>
                  <a:ea typeface="Georgia" panose="02040502050405020303" pitchFamily="18" charset="0"/>
                  <a:cs typeface="Times New Roman" panose="02020603050405020304" pitchFamily="18" charset="0"/>
                </a:rPr>
                <a:t>01</a:t>
              </a:r>
            </a:p>
          </p:txBody>
        </p:sp>
        <p:sp>
          <p:nvSpPr>
            <p:cNvPr id="31" name="TextBox 30">
              <a:extLst>
                <a:ext uri="{FF2B5EF4-FFF2-40B4-BE49-F238E27FC236}">
                  <a16:creationId xmlns:a16="http://schemas.microsoft.com/office/drawing/2014/main" id="{A7958608-A3FE-A39E-0E0F-6DC69A03A331}"/>
                </a:ext>
              </a:extLst>
            </p:cNvPr>
            <p:cNvSpPr txBox="1"/>
            <p:nvPr/>
          </p:nvSpPr>
          <p:spPr>
            <a:xfrm>
              <a:off x="4407472" y="2294185"/>
              <a:ext cx="793533" cy="707886"/>
            </a:xfrm>
            <a:prstGeom prst="rect">
              <a:avLst/>
            </a:prstGeom>
            <a:noFill/>
          </p:spPr>
          <p:txBody>
            <a:bodyPr wrap="square">
              <a:spAutoFit/>
            </a:bodyPr>
            <a:lstStyle/>
            <a:p>
              <a:pPr>
                <a:spcAft>
                  <a:spcPts val="800"/>
                </a:spcAft>
              </a:pPr>
              <a:r>
                <a:rPr lang="en-US" sz="4000" b="1" dirty="0">
                  <a:solidFill>
                    <a:schemeClr val="accent6"/>
                  </a:solidFill>
                  <a:effectLst/>
                  <a:ea typeface="Georgia" panose="02040502050405020303" pitchFamily="18" charset="0"/>
                  <a:cs typeface="Times New Roman" panose="02020603050405020304" pitchFamily="18" charset="0"/>
                </a:rPr>
                <a:t>02</a:t>
              </a:r>
            </a:p>
          </p:txBody>
        </p:sp>
        <p:sp>
          <p:nvSpPr>
            <p:cNvPr id="33" name="TextBox 32">
              <a:extLst>
                <a:ext uri="{FF2B5EF4-FFF2-40B4-BE49-F238E27FC236}">
                  <a16:creationId xmlns:a16="http://schemas.microsoft.com/office/drawing/2014/main" id="{618782EC-7976-4EBF-6819-BBB2F2CE3EAB}"/>
                </a:ext>
              </a:extLst>
            </p:cNvPr>
            <p:cNvSpPr txBox="1"/>
            <p:nvPr/>
          </p:nvSpPr>
          <p:spPr>
            <a:xfrm>
              <a:off x="6979697" y="3758066"/>
              <a:ext cx="793533" cy="707886"/>
            </a:xfrm>
            <a:prstGeom prst="rect">
              <a:avLst/>
            </a:prstGeom>
            <a:noFill/>
          </p:spPr>
          <p:txBody>
            <a:bodyPr wrap="square">
              <a:spAutoFit/>
            </a:bodyPr>
            <a:lstStyle/>
            <a:p>
              <a:pPr>
                <a:spcAft>
                  <a:spcPts val="800"/>
                </a:spcAft>
              </a:pPr>
              <a:r>
                <a:rPr lang="en-US" sz="4000" b="1" dirty="0">
                  <a:solidFill>
                    <a:schemeClr val="accent2"/>
                  </a:solidFill>
                  <a:ea typeface="Georgia" panose="02040502050405020303" pitchFamily="18" charset="0"/>
                  <a:cs typeface="Times New Roman" panose="02020603050405020304" pitchFamily="18" charset="0"/>
                </a:rPr>
                <a:t>03</a:t>
              </a:r>
            </a:p>
          </p:txBody>
        </p:sp>
      </p:grpSp>
    </p:spTree>
    <p:custDataLst>
      <p:custData r:id="rId2"/>
    </p:custDataLst>
    <p:extLst>
      <p:ext uri="{BB962C8B-B14F-4D97-AF65-F5344CB8AC3E}">
        <p14:creationId xmlns:p14="http://schemas.microsoft.com/office/powerpoint/2010/main" val="10062217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t>Thank you</a:t>
            </a:r>
            <a:endParaRPr lang="en-US" dirty="0"/>
          </a:p>
        </p:txBody>
      </p:sp>
    </p:spTree>
    <p:custDataLst>
      <p:custData r:id="rId1"/>
    </p:custDataLst>
    <p:extLst>
      <p:ext uri="{BB962C8B-B14F-4D97-AF65-F5344CB8AC3E}">
        <p14:creationId xmlns:p14="http://schemas.microsoft.com/office/powerpoint/2010/main" val="7446132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4DA136-1EA4-F7C5-200C-77C4257A5B8E}"/>
              </a:ext>
            </a:extLst>
          </p:cNvPr>
          <p:cNvGraphicFramePr>
            <a:graphicFrameLocks noChangeAspect="1"/>
          </p:cNvGraphicFramePr>
          <p:nvPr>
            <p:custDataLst>
              <p:tags r:id="rId3"/>
            </p:custDataLst>
            <p:extLst>
              <p:ext uri="{D42A27DB-BD31-4B8C-83A1-F6EECF244321}">
                <p14:modId xmlns:p14="http://schemas.microsoft.com/office/powerpoint/2010/main" val="6506544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166" name="think-cell Slide" r:id="rId6" imgW="7772400" imgH="10058400" progId="TCLayout.ActiveDocument.1">
                  <p:embed/>
                </p:oleObj>
              </mc:Choice>
              <mc:Fallback>
                <p:oleObj name="think-cell Slide" r:id="rId6" imgW="7772400" imgH="10058400" progId="TCLayout.ActiveDocument.1">
                  <p:embed/>
                  <p:pic>
                    <p:nvPicPr>
                      <p:cNvPr id="10" name="Object 9" hidden="1">
                        <a:extLst>
                          <a:ext uri="{FF2B5EF4-FFF2-40B4-BE49-F238E27FC236}">
                            <a16:creationId xmlns:a16="http://schemas.microsoft.com/office/drawing/2014/main" id="{2D4DA136-1EA4-F7C5-200C-77C4257A5B8E}"/>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pic>
        <p:nvPicPr>
          <p:cNvPr id="8" name="Picture 7" descr="A close-up of some money&#10;&#10;Description automatically generated with medium confidence">
            <a:extLst>
              <a:ext uri="{FF2B5EF4-FFF2-40B4-BE49-F238E27FC236}">
                <a16:creationId xmlns:a16="http://schemas.microsoft.com/office/drawing/2014/main" id="{71FB0875-9783-A519-0AA8-46734CAAB56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42913" y="2890250"/>
            <a:ext cx="7478797" cy="3281950"/>
          </a:xfrm>
          <a:prstGeom prst="rect">
            <a:avLst/>
          </a:prstGeom>
        </p:spPr>
      </p:pic>
      <p:sp>
        <p:nvSpPr>
          <p:cNvPr id="4" name="Slide Number Placeholder 3">
            <a:extLst>
              <a:ext uri="{FF2B5EF4-FFF2-40B4-BE49-F238E27FC236}">
                <a16:creationId xmlns:a16="http://schemas.microsoft.com/office/drawing/2014/main" id="{2F8DBAD9-2FB4-3D45-BD3C-AE82E5DD780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169" name="TextBox 168">
            <a:extLst>
              <a:ext uri="{FF2B5EF4-FFF2-40B4-BE49-F238E27FC236}">
                <a16:creationId xmlns:a16="http://schemas.microsoft.com/office/drawing/2014/main" id="{20452E5A-2247-49EF-A923-10AF3F688F10}"/>
              </a:ext>
            </a:extLst>
          </p:cNvPr>
          <p:cNvSpPr txBox="1"/>
          <p:nvPr/>
        </p:nvSpPr>
        <p:spPr>
          <a:xfrm>
            <a:off x="349820" y="318107"/>
            <a:ext cx="11380218" cy="523220"/>
          </a:xfrm>
          <a:prstGeom prst="rect">
            <a:avLst/>
          </a:prstGeom>
          <a:noFill/>
        </p:spPr>
        <p:txBody>
          <a:bodyPr wrap="square">
            <a:spAutoFit/>
          </a:bodyPr>
          <a:lstStyle/>
          <a:p>
            <a:pPr lvl="0">
              <a:defRPr/>
            </a:pPr>
            <a:r>
              <a:rPr lang="en-US" sz="2800" dirty="0">
                <a:solidFill>
                  <a:srgbClr val="000000"/>
                </a:solidFill>
                <a:latin typeface="Georgia"/>
                <a:ea typeface="Georgia"/>
                <a:cs typeface="Georgia"/>
                <a:sym typeface="Georgia"/>
              </a:rPr>
              <a:t>What is Money Laundering?</a:t>
            </a:r>
          </a:p>
        </p:txBody>
      </p:sp>
      <p:sp>
        <p:nvSpPr>
          <p:cNvPr id="2" name="Rectangle 1">
            <a:extLst>
              <a:ext uri="{FF2B5EF4-FFF2-40B4-BE49-F238E27FC236}">
                <a16:creationId xmlns:a16="http://schemas.microsoft.com/office/drawing/2014/main" id="{D3E82E12-CB3F-8998-950F-A2D45F6DB6BF}"/>
              </a:ext>
            </a:extLst>
          </p:cNvPr>
          <p:cNvSpPr/>
          <p:nvPr/>
        </p:nvSpPr>
        <p:spPr bwMode="gray">
          <a:xfrm>
            <a:off x="0" y="0"/>
            <a:ext cx="12192000" cy="137160"/>
          </a:xfrm>
          <a:prstGeom prst="rect">
            <a:avLst/>
          </a:prstGeom>
          <a:solidFill>
            <a:schemeClr val="accent3"/>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3" name="Rectangle 2">
            <a:extLst>
              <a:ext uri="{FF2B5EF4-FFF2-40B4-BE49-F238E27FC236}">
                <a16:creationId xmlns:a16="http://schemas.microsoft.com/office/drawing/2014/main" id="{8CF741FE-009C-994F-A585-947A76E0BCBD}"/>
              </a:ext>
            </a:extLst>
          </p:cNvPr>
          <p:cNvSpPr/>
          <p:nvPr/>
        </p:nvSpPr>
        <p:spPr>
          <a:xfrm>
            <a:off x="442913" y="1187875"/>
            <a:ext cx="7418387" cy="2033284"/>
          </a:xfrm>
          <a:prstGeom prst="rect">
            <a:avLst/>
          </a:prstGeom>
          <a:solidFill>
            <a:schemeClr val="tx1">
              <a:lumMod val="85000"/>
              <a:lumOff val="1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7" name="Rectangle 6">
            <a:extLst>
              <a:ext uri="{FF2B5EF4-FFF2-40B4-BE49-F238E27FC236}">
                <a16:creationId xmlns:a16="http://schemas.microsoft.com/office/drawing/2014/main" id="{AAC66161-B821-B53F-318A-F77DC6F89D86}"/>
              </a:ext>
            </a:extLst>
          </p:cNvPr>
          <p:cNvSpPr/>
          <p:nvPr/>
        </p:nvSpPr>
        <p:spPr>
          <a:xfrm>
            <a:off x="7861300" y="1187872"/>
            <a:ext cx="3887787" cy="4984327"/>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9" name="TextBox 8">
            <a:extLst>
              <a:ext uri="{FF2B5EF4-FFF2-40B4-BE49-F238E27FC236}">
                <a16:creationId xmlns:a16="http://schemas.microsoft.com/office/drawing/2014/main" id="{B23EECCB-DDCE-DACB-DD15-118F21A3820D}"/>
              </a:ext>
            </a:extLst>
          </p:cNvPr>
          <p:cNvSpPr txBox="1"/>
          <p:nvPr/>
        </p:nvSpPr>
        <p:spPr>
          <a:xfrm>
            <a:off x="8223243" y="2344683"/>
            <a:ext cx="3525845" cy="3431709"/>
          </a:xfrm>
          <a:prstGeom prst="rect">
            <a:avLst/>
          </a:prstGeom>
          <a:noFill/>
        </p:spPr>
        <p:txBody>
          <a:bodyPr wrap="square" lIns="0" tIns="0" rIns="0" bIns="0" rtlCol="0">
            <a:spAutoFit/>
          </a:bodyPr>
          <a:lstStyle/>
          <a:p>
            <a:pPr marL="285750" indent="-285750">
              <a:spcAft>
                <a:spcPts val="600"/>
              </a:spcAft>
              <a:buSzPct val="100000"/>
              <a:buFont typeface="Arial" panose="020B0604020202020204" pitchFamily="34" charset="0"/>
              <a:buChar char="•"/>
            </a:pPr>
            <a:r>
              <a:rPr lang="en-US" sz="1400" dirty="0"/>
              <a:t>Fraud</a:t>
            </a:r>
          </a:p>
          <a:p>
            <a:pPr marL="285750" indent="-285750">
              <a:spcAft>
                <a:spcPts val="600"/>
              </a:spcAft>
              <a:buSzPct val="100000"/>
              <a:buFont typeface="Arial" panose="020B0604020202020204" pitchFamily="34" charset="0"/>
              <a:buChar char="•"/>
            </a:pPr>
            <a:r>
              <a:rPr lang="en-US" sz="1400" dirty="0"/>
              <a:t>Human trafficking</a:t>
            </a:r>
          </a:p>
          <a:p>
            <a:pPr marL="285750" indent="-285750">
              <a:spcAft>
                <a:spcPts val="600"/>
              </a:spcAft>
              <a:buSzPct val="100000"/>
              <a:buFont typeface="Arial" panose="020B0604020202020204" pitchFamily="34" charset="0"/>
              <a:buChar char="•"/>
            </a:pPr>
            <a:r>
              <a:rPr lang="en-US" sz="1400" dirty="0"/>
              <a:t>Narcotics trade &amp; smuggling</a:t>
            </a:r>
          </a:p>
          <a:p>
            <a:pPr marL="285750" indent="-285750">
              <a:spcAft>
                <a:spcPts val="600"/>
              </a:spcAft>
              <a:buSzPct val="100000"/>
              <a:buFont typeface="Arial" panose="020B0604020202020204" pitchFamily="34" charset="0"/>
              <a:buChar char="•"/>
            </a:pPr>
            <a:r>
              <a:rPr lang="en-US" sz="1400" dirty="0"/>
              <a:t>Counterfeiting of currency</a:t>
            </a:r>
          </a:p>
          <a:p>
            <a:pPr marL="285750" indent="-285750">
              <a:spcAft>
                <a:spcPts val="600"/>
              </a:spcAft>
              <a:buSzPct val="100000"/>
              <a:buFont typeface="Arial" panose="020B0604020202020204" pitchFamily="34" charset="0"/>
              <a:buChar char="•"/>
            </a:pPr>
            <a:r>
              <a:rPr lang="en-US" sz="1400" dirty="0"/>
              <a:t>Illegal arms &amp; ammunition sale</a:t>
            </a:r>
          </a:p>
          <a:p>
            <a:pPr marL="285750" indent="-285750">
              <a:spcAft>
                <a:spcPts val="600"/>
              </a:spcAft>
              <a:buSzPct val="100000"/>
              <a:buFont typeface="Arial" panose="020B0604020202020204" pitchFamily="34" charset="0"/>
              <a:buChar char="•"/>
            </a:pPr>
            <a:r>
              <a:rPr lang="en-US" sz="1400" dirty="0"/>
              <a:t>Kidnapping &amp; extortion</a:t>
            </a:r>
          </a:p>
          <a:p>
            <a:pPr marL="285750" indent="-285750">
              <a:spcAft>
                <a:spcPts val="600"/>
              </a:spcAft>
              <a:buSzPct val="100000"/>
              <a:buFont typeface="Arial" panose="020B0604020202020204" pitchFamily="34" charset="0"/>
              <a:buChar char="•"/>
            </a:pPr>
            <a:r>
              <a:rPr lang="en-US" sz="1400" dirty="0"/>
              <a:t>Bribery &amp; corruption</a:t>
            </a:r>
          </a:p>
          <a:p>
            <a:pPr marL="285750" indent="-285750">
              <a:spcAft>
                <a:spcPts val="600"/>
              </a:spcAft>
              <a:buSzPct val="100000"/>
              <a:buFont typeface="Arial" panose="020B0604020202020204" pitchFamily="34" charset="0"/>
              <a:buChar char="•"/>
            </a:pPr>
            <a:r>
              <a:rPr lang="en-US" sz="1400" dirty="0"/>
              <a:t>Wildlife poaching</a:t>
            </a:r>
          </a:p>
          <a:p>
            <a:pPr marL="285750" indent="-285750">
              <a:spcAft>
                <a:spcPts val="600"/>
              </a:spcAft>
              <a:buSzPct val="100000"/>
              <a:buFont typeface="Arial" panose="020B0604020202020204" pitchFamily="34" charset="0"/>
              <a:buChar char="•"/>
            </a:pPr>
            <a:r>
              <a:rPr lang="en-US" sz="1400" dirty="0"/>
              <a:t>Tax evasion</a:t>
            </a:r>
          </a:p>
          <a:p>
            <a:pPr marL="285750" indent="-285750">
              <a:spcAft>
                <a:spcPts val="600"/>
              </a:spcAft>
              <a:buSzPct val="100000"/>
              <a:buFont typeface="Arial" panose="020B0604020202020204" pitchFamily="34" charset="0"/>
              <a:buChar char="•"/>
            </a:pPr>
            <a:r>
              <a:rPr lang="en-US" sz="1400" dirty="0"/>
              <a:t>Corporate fraud</a:t>
            </a:r>
          </a:p>
          <a:p>
            <a:pPr marL="285750" indent="-285750">
              <a:spcAft>
                <a:spcPts val="600"/>
              </a:spcAft>
              <a:buSzPct val="100000"/>
              <a:buFont typeface="Arial" panose="020B0604020202020204" pitchFamily="34" charset="0"/>
              <a:buChar char="•"/>
            </a:pPr>
            <a:r>
              <a:rPr lang="en-US" sz="1400" dirty="0"/>
              <a:t>Insider trading</a:t>
            </a:r>
          </a:p>
          <a:p>
            <a:pPr marL="285750" indent="-285750">
              <a:spcAft>
                <a:spcPts val="600"/>
              </a:spcAft>
              <a:buSzPct val="100000"/>
              <a:buFont typeface="Arial" panose="020B0604020202020204" pitchFamily="34" charset="0"/>
              <a:buChar char="•"/>
            </a:pPr>
            <a:r>
              <a:rPr lang="en-US" sz="1400" dirty="0"/>
              <a:t>Financing of terrorism</a:t>
            </a:r>
            <a:endParaRPr lang="en-US" sz="1600" dirty="0"/>
          </a:p>
        </p:txBody>
      </p:sp>
      <p:sp>
        <p:nvSpPr>
          <p:cNvPr id="11" name="TextBox 10">
            <a:extLst>
              <a:ext uri="{FF2B5EF4-FFF2-40B4-BE49-F238E27FC236}">
                <a16:creationId xmlns:a16="http://schemas.microsoft.com/office/drawing/2014/main" id="{15DD0039-B9C2-4EF6-F325-C1B7A57E44E4}"/>
              </a:ext>
            </a:extLst>
          </p:cNvPr>
          <p:cNvSpPr txBox="1"/>
          <p:nvPr/>
        </p:nvSpPr>
        <p:spPr>
          <a:xfrm>
            <a:off x="8223242" y="1454573"/>
            <a:ext cx="3525846" cy="738663"/>
          </a:xfrm>
          <a:prstGeom prst="rect">
            <a:avLst/>
          </a:prstGeom>
          <a:noFill/>
        </p:spPr>
        <p:txBody>
          <a:bodyPr wrap="square" lIns="0" tIns="0" rIns="0" bIns="0" rtlCol="0">
            <a:spAutoFit/>
          </a:bodyPr>
          <a:lstStyle/>
          <a:p>
            <a:pPr>
              <a:lnSpc>
                <a:spcPct val="100000"/>
              </a:lnSpc>
              <a:spcAft>
                <a:spcPts val="1200"/>
              </a:spcAft>
            </a:pPr>
            <a:r>
              <a:rPr lang="en-US" sz="1600" b="1" dirty="0"/>
              <a:t>Criminal activities or “Predicate Offenses” that lead to money laundering</a:t>
            </a:r>
          </a:p>
        </p:txBody>
      </p:sp>
      <p:sp>
        <p:nvSpPr>
          <p:cNvPr id="12" name="TextBox 11">
            <a:extLst>
              <a:ext uri="{FF2B5EF4-FFF2-40B4-BE49-F238E27FC236}">
                <a16:creationId xmlns:a16="http://schemas.microsoft.com/office/drawing/2014/main" id="{4107D736-65B0-176E-1F3D-7B76E23D41C0}"/>
              </a:ext>
            </a:extLst>
          </p:cNvPr>
          <p:cNvSpPr txBox="1"/>
          <p:nvPr/>
        </p:nvSpPr>
        <p:spPr>
          <a:xfrm>
            <a:off x="655451" y="1353969"/>
            <a:ext cx="6993311" cy="430887"/>
          </a:xfrm>
          <a:prstGeom prst="rect">
            <a:avLst/>
          </a:prstGeom>
          <a:noFill/>
        </p:spPr>
        <p:txBody>
          <a:bodyPr wrap="square" lIns="0" tIns="0" rIns="0" bIns="0" rtlCol="0">
            <a:spAutoFit/>
          </a:bodyPr>
          <a:lstStyle/>
          <a:p>
            <a:pPr>
              <a:spcAft>
                <a:spcPts val="600"/>
              </a:spcAft>
              <a:buSzPct val="100000"/>
            </a:pPr>
            <a:r>
              <a:rPr lang="en-US" sz="1400" b="1" dirty="0">
                <a:solidFill>
                  <a:schemeClr val="accent3"/>
                </a:solidFill>
              </a:rPr>
              <a:t>Money Laundering (ML) </a:t>
            </a:r>
            <a:r>
              <a:rPr lang="en-US" sz="1400" dirty="0">
                <a:solidFill>
                  <a:schemeClr val="bg1"/>
                </a:solidFill>
              </a:rPr>
              <a:t>involves taking criminal proceeds and disguising their illegal sources/origin in order to use the funds to perform legal or illegal activities. </a:t>
            </a:r>
          </a:p>
        </p:txBody>
      </p:sp>
      <p:sp>
        <p:nvSpPr>
          <p:cNvPr id="13" name="TextBox 12">
            <a:extLst>
              <a:ext uri="{FF2B5EF4-FFF2-40B4-BE49-F238E27FC236}">
                <a16:creationId xmlns:a16="http://schemas.microsoft.com/office/drawing/2014/main" id="{F9927A20-3272-A457-5F09-7133F1464A3B}"/>
              </a:ext>
            </a:extLst>
          </p:cNvPr>
          <p:cNvSpPr txBox="1"/>
          <p:nvPr/>
        </p:nvSpPr>
        <p:spPr>
          <a:xfrm>
            <a:off x="655451" y="1967736"/>
            <a:ext cx="6993311" cy="646331"/>
          </a:xfrm>
          <a:prstGeom prst="rect">
            <a:avLst/>
          </a:prstGeom>
          <a:noFill/>
        </p:spPr>
        <p:txBody>
          <a:bodyPr wrap="square" lIns="0" tIns="0" rIns="0" bIns="0" rtlCol="0">
            <a:spAutoFit/>
          </a:bodyPr>
          <a:lstStyle/>
          <a:p>
            <a:pPr>
              <a:spcAft>
                <a:spcPts val="600"/>
              </a:spcAft>
              <a:buSzPct val="100000"/>
            </a:pPr>
            <a:r>
              <a:rPr lang="en-US" sz="1400" b="1" dirty="0">
                <a:solidFill>
                  <a:schemeClr val="accent3"/>
                </a:solidFill>
              </a:rPr>
              <a:t>Terrorist Financing (TF) </a:t>
            </a:r>
            <a:r>
              <a:rPr lang="en-US" sz="1400" dirty="0">
                <a:solidFill>
                  <a:schemeClr val="bg1"/>
                </a:solidFill>
              </a:rPr>
              <a:t>involves the solicitation, collection or provision of funds with the intention that they may be used to support terrorist acts or organizations. Funds may stem from both legal and illicit sources</a:t>
            </a:r>
          </a:p>
        </p:txBody>
      </p:sp>
    </p:spTree>
    <p:custDataLst>
      <p:custData r:id="rId2"/>
    </p:custDataLst>
    <p:extLst>
      <p:ext uri="{BB962C8B-B14F-4D97-AF65-F5344CB8AC3E}">
        <p14:creationId xmlns:p14="http://schemas.microsoft.com/office/powerpoint/2010/main" val="7650913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4DA136-1EA4-F7C5-200C-77C4257A5B8E}"/>
              </a:ext>
            </a:extLst>
          </p:cNvPr>
          <p:cNvGraphicFramePr>
            <a:graphicFrameLocks noChangeAspect="1"/>
          </p:cNvGraphicFramePr>
          <p:nvPr>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190" name="think-cell Slide" r:id="rId6" imgW="7772400" imgH="10058400" progId="TCLayout.ActiveDocument.1">
                  <p:embed/>
                </p:oleObj>
              </mc:Choice>
              <mc:Fallback>
                <p:oleObj name="think-cell Slide" r:id="rId6" imgW="7772400" imgH="10058400" progId="TCLayout.ActiveDocument.1">
                  <p:embed/>
                  <p:pic>
                    <p:nvPicPr>
                      <p:cNvPr id="10" name="Object 9" hidden="1">
                        <a:extLst>
                          <a:ext uri="{FF2B5EF4-FFF2-40B4-BE49-F238E27FC236}">
                            <a16:creationId xmlns:a16="http://schemas.microsoft.com/office/drawing/2014/main" id="{2D4DA136-1EA4-F7C5-200C-77C4257A5B8E}"/>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169" name="TextBox 168">
            <a:extLst>
              <a:ext uri="{FF2B5EF4-FFF2-40B4-BE49-F238E27FC236}">
                <a16:creationId xmlns:a16="http://schemas.microsoft.com/office/drawing/2014/main" id="{20452E5A-2247-49EF-A923-10AF3F688F10}"/>
              </a:ext>
            </a:extLst>
          </p:cNvPr>
          <p:cNvSpPr txBox="1"/>
          <p:nvPr/>
        </p:nvSpPr>
        <p:spPr>
          <a:xfrm>
            <a:off x="449712" y="295163"/>
            <a:ext cx="11380218" cy="954107"/>
          </a:xfrm>
          <a:prstGeom prst="rect">
            <a:avLst/>
          </a:prstGeom>
          <a:noFill/>
        </p:spPr>
        <p:txBody>
          <a:bodyPr wrap="square">
            <a:spAutoFit/>
          </a:bodyPr>
          <a:lstStyle/>
          <a:p>
            <a:r>
              <a:rPr lang="en-US" sz="2800" dirty="0">
                <a:solidFill>
                  <a:srgbClr val="000000"/>
                </a:solidFill>
                <a:latin typeface="Georgia"/>
                <a:ea typeface="Georgia"/>
                <a:cs typeface="Georgia"/>
                <a:sym typeface="Georgia"/>
              </a:rPr>
              <a:t>Stages of Money Launde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D3E82E12-CB3F-8998-950F-A2D45F6DB6BF}"/>
              </a:ext>
            </a:extLst>
          </p:cNvPr>
          <p:cNvSpPr/>
          <p:nvPr/>
        </p:nvSpPr>
        <p:spPr bwMode="gray">
          <a:xfrm>
            <a:off x="0" y="0"/>
            <a:ext cx="12192000" cy="137160"/>
          </a:xfrm>
          <a:prstGeom prst="rect">
            <a:avLst/>
          </a:prstGeom>
          <a:solidFill>
            <a:srgbClr val="C00000"/>
          </a:solidFill>
          <a:ln w="3175">
            <a:noFill/>
            <a:round/>
            <a:headEnd/>
            <a:tailEnd/>
          </a:ln>
        </p:spPr>
        <p:txBody>
          <a:bodyPr lIns="0" tIns="0" rIns="0" bIns="0" rtlCol="0" anchor="ctr"/>
          <a:lstStyle/>
          <a:p>
            <a:pPr marL="0" marR="0" lvl="0" indent="0" algn="ctr" defTabSz="685463"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black"/>
              </a:solidFill>
              <a:effectLst/>
              <a:uLnTx/>
              <a:uFillTx/>
              <a:latin typeface="Calibri" panose="020F0502020204030204"/>
              <a:ea typeface="+mn-ea"/>
              <a:cs typeface="Arial" charset="0"/>
            </a:endParaRPr>
          </a:p>
        </p:txBody>
      </p:sp>
      <p:pic>
        <p:nvPicPr>
          <p:cNvPr id="25" name="Picture 24">
            <a:extLst>
              <a:ext uri="{FF2B5EF4-FFF2-40B4-BE49-F238E27FC236}">
                <a16:creationId xmlns:a16="http://schemas.microsoft.com/office/drawing/2014/main" id="{DE04E902-4BC1-4895-8D40-E34FFD6B8814}"/>
              </a:ext>
            </a:extLst>
          </p:cNvPr>
          <p:cNvPicPr>
            <a:picLocks noChangeAspect="1"/>
          </p:cNvPicPr>
          <p:nvPr/>
        </p:nvPicPr>
        <p:blipFill>
          <a:blip r:embed="rId8"/>
          <a:stretch>
            <a:fillRect/>
          </a:stretch>
        </p:blipFill>
        <p:spPr>
          <a:xfrm>
            <a:off x="10066458" y="3832785"/>
            <a:ext cx="1782133" cy="502653"/>
          </a:xfrm>
          <a:prstGeom prst="rect">
            <a:avLst/>
          </a:prstGeom>
        </p:spPr>
      </p:pic>
      <p:sp>
        <p:nvSpPr>
          <p:cNvPr id="26" name="TextBox 25">
            <a:extLst>
              <a:ext uri="{FF2B5EF4-FFF2-40B4-BE49-F238E27FC236}">
                <a16:creationId xmlns:a16="http://schemas.microsoft.com/office/drawing/2014/main" id="{CEA6BED9-1E6A-45B5-ABB5-7ADFBF4990E8}"/>
              </a:ext>
            </a:extLst>
          </p:cNvPr>
          <p:cNvSpPr txBox="1"/>
          <p:nvPr/>
        </p:nvSpPr>
        <p:spPr>
          <a:xfrm>
            <a:off x="6477000" y="2235764"/>
            <a:ext cx="301942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Integrating the money into the Financial System </a:t>
            </a:r>
            <a:endParaRPr kumimoji="0" lang="en-US" sz="1600" b="1"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pic>
        <p:nvPicPr>
          <p:cNvPr id="27" name="Picture 26">
            <a:extLst>
              <a:ext uri="{FF2B5EF4-FFF2-40B4-BE49-F238E27FC236}">
                <a16:creationId xmlns:a16="http://schemas.microsoft.com/office/drawing/2014/main" id="{AE0364EF-BCEE-45A9-9E2E-B61B9A891731}"/>
              </a:ext>
            </a:extLst>
          </p:cNvPr>
          <p:cNvPicPr>
            <a:picLocks noChangeAspect="1"/>
          </p:cNvPicPr>
          <p:nvPr/>
        </p:nvPicPr>
        <p:blipFill>
          <a:blip r:embed="rId9"/>
          <a:stretch>
            <a:fillRect/>
          </a:stretch>
        </p:blipFill>
        <p:spPr>
          <a:xfrm>
            <a:off x="4962525" y="1172854"/>
            <a:ext cx="1666875" cy="381000"/>
          </a:xfrm>
          <a:prstGeom prst="rect">
            <a:avLst/>
          </a:prstGeom>
        </p:spPr>
      </p:pic>
      <p:sp>
        <p:nvSpPr>
          <p:cNvPr id="28" name="Arrow: Circular 27">
            <a:extLst>
              <a:ext uri="{FF2B5EF4-FFF2-40B4-BE49-F238E27FC236}">
                <a16:creationId xmlns:a16="http://schemas.microsoft.com/office/drawing/2014/main" id="{5D5F727D-56AD-4BBF-A2B5-3EBD76344126}"/>
              </a:ext>
            </a:extLst>
          </p:cNvPr>
          <p:cNvSpPr/>
          <p:nvPr/>
        </p:nvSpPr>
        <p:spPr>
          <a:xfrm rot="2482838">
            <a:off x="8223447" y="1513866"/>
            <a:ext cx="2892403" cy="2797153"/>
          </a:xfrm>
          <a:prstGeom prst="circularArrow">
            <a:avLst>
              <a:gd name="adj1" fmla="val 3668"/>
              <a:gd name="adj2" fmla="val 1007519"/>
              <a:gd name="adj3" fmla="val 1646010"/>
              <a:gd name="adj4" fmla="val 14587193"/>
              <a:gd name="adj5" fmla="val 15582"/>
            </a:avLst>
          </a:prstGeom>
          <a:solidFill>
            <a:schemeClr val="tx2"/>
          </a:solidFill>
          <a:ln>
            <a:solidFill>
              <a:schemeClr val="tx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TextBox 28">
            <a:extLst>
              <a:ext uri="{FF2B5EF4-FFF2-40B4-BE49-F238E27FC236}">
                <a16:creationId xmlns:a16="http://schemas.microsoft.com/office/drawing/2014/main" id="{29769EAE-6BFE-45F5-A07E-F7C896CA2658}"/>
              </a:ext>
            </a:extLst>
          </p:cNvPr>
          <p:cNvSpPr txBox="1"/>
          <p:nvPr/>
        </p:nvSpPr>
        <p:spPr>
          <a:xfrm>
            <a:off x="1643220" y="2542879"/>
            <a:ext cx="301942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Money earned from illegal activities such as fraud, corruption etc.,</a:t>
            </a:r>
          </a:p>
        </p:txBody>
      </p:sp>
      <p:sp>
        <p:nvSpPr>
          <p:cNvPr id="30" name="TextBox 29">
            <a:extLst>
              <a:ext uri="{FF2B5EF4-FFF2-40B4-BE49-F238E27FC236}">
                <a16:creationId xmlns:a16="http://schemas.microsoft.com/office/drawing/2014/main" id="{238B5DE3-7B61-4268-AD73-D8BE7D017099}"/>
              </a:ext>
            </a:extLst>
          </p:cNvPr>
          <p:cNvSpPr txBox="1"/>
          <p:nvPr/>
        </p:nvSpPr>
        <p:spPr>
          <a:xfrm>
            <a:off x="7323311" y="5595983"/>
            <a:ext cx="2352426"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black"/>
                </a:solidFill>
                <a:latin typeface="Calibri" panose="020F0502020204030204"/>
              </a:rPr>
              <a:t>Criminals tries to distance the funds from the crime source</a:t>
            </a:r>
          </a:p>
        </p:txBody>
      </p:sp>
      <p:pic>
        <p:nvPicPr>
          <p:cNvPr id="31" name="Picture 30">
            <a:extLst>
              <a:ext uri="{FF2B5EF4-FFF2-40B4-BE49-F238E27FC236}">
                <a16:creationId xmlns:a16="http://schemas.microsoft.com/office/drawing/2014/main" id="{5634B0F2-4242-4817-A0FF-FD6F07D16228}"/>
              </a:ext>
            </a:extLst>
          </p:cNvPr>
          <p:cNvPicPr>
            <a:picLocks noChangeAspect="1"/>
          </p:cNvPicPr>
          <p:nvPr/>
        </p:nvPicPr>
        <p:blipFill rotWithShape="1">
          <a:blip r:embed="rId10"/>
          <a:srcRect t="65094"/>
          <a:stretch/>
        </p:blipFill>
        <p:spPr>
          <a:xfrm>
            <a:off x="4556374" y="6072159"/>
            <a:ext cx="2390775" cy="518670"/>
          </a:xfrm>
          <a:prstGeom prst="rect">
            <a:avLst/>
          </a:prstGeom>
        </p:spPr>
      </p:pic>
      <p:sp>
        <p:nvSpPr>
          <p:cNvPr id="32" name="Oval 31">
            <a:extLst>
              <a:ext uri="{FF2B5EF4-FFF2-40B4-BE49-F238E27FC236}">
                <a16:creationId xmlns:a16="http://schemas.microsoft.com/office/drawing/2014/main" id="{16AD4521-607B-4AAB-9A01-09D918E298FC}"/>
              </a:ext>
            </a:extLst>
          </p:cNvPr>
          <p:cNvSpPr/>
          <p:nvPr/>
        </p:nvSpPr>
        <p:spPr>
          <a:xfrm>
            <a:off x="5609707" y="2053403"/>
            <a:ext cx="432000" cy="432000"/>
          </a:xfrm>
          <a:prstGeom prst="ellips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600" b="1" dirty="0"/>
              <a:t>1</a:t>
            </a:r>
          </a:p>
        </p:txBody>
      </p:sp>
      <p:sp>
        <p:nvSpPr>
          <p:cNvPr id="33" name="Oval 32">
            <a:extLst>
              <a:ext uri="{FF2B5EF4-FFF2-40B4-BE49-F238E27FC236}">
                <a16:creationId xmlns:a16="http://schemas.microsoft.com/office/drawing/2014/main" id="{A588E881-C3BC-4CBC-912B-957ADF228FB0}"/>
              </a:ext>
            </a:extLst>
          </p:cNvPr>
          <p:cNvSpPr/>
          <p:nvPr/>
        </p:nvSpPr>
        <p:spPr>
          <a:xfrm>
            <a:off x="9939874" y="2772722"/>
            <a:ext cx="432000" cy="432000"/>
          </a:xfrm>
          <a:prstGeom prst="ellips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600" b="1" dirty="0"/>
              <a:t>2</a:t>
            </a:r>
          </a:p>
        </p:txBody>
      </p:sp>
      <p:sp>
        <p:nvSpPr>
          <p:cNvPr id="34" name="Oval 33">
            <a:extLst>
              <a:ext uri="{FF2B5EF4-FFF2-40B4-BE49-F238E27FC236}">
                <a16:creationId xmlns:a16="http://schemas.microsoft.com/office/drawing/2014/main" id="{F0B38835-DF4F-4F47-8D56-0B937B3002E6}"/>
              </a:ext>
            </a:extLst>
          </p:cNvPr>
          <p:cNvSpPr/>
          <p:nvPr/>
        </p:nvSpPr>
        <p:spPr>
          <a:xfrm>
            <a:off x="5728196" y="5223809"/>
            <a:ext cx="432000" cy="432000"/>
          </a:xfrm>
          <a:prstGeom prst="ellipse">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600" b="1" dirty="0"/>
              <a:t>3</a:t>
            </a:r>
          </a:p>
        </p:txBody>
      </p:sp>
      <p:sp>
        <p:nvSpPr>
          <p:cNvPr id="35" name="Arrow: Right 34">
            <a:extLst>
              <a:ext uri="{FF2B5EF4-FFF2-40B4-BE49-F238E27FC236}">
                <a16:creationId xmlns:a16="http://schemas.microsoft.com/office/drawing/2014/main" id="{1C135DA3-13A0-4C38-B63A-A61DEFFD77BF}"/>
              </a:ext>
            </a:extLst>
          </p:cNvPr>
          <p:cNvSpPr/>
          <p:nvPr/>
        </p:nvSpPr>
        <p:spPr>
          <a:xfrm>
            <a:off x="5186323" y="1656883"/>
            <a:ext cx="1223413" cy="306463"/>
          </a:xfrm>
          <a:prstGeom prst="rightArrow">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Picture 36">
            <a:extLst>
              <a:ext uri="{FF2B5EF4-FFF2-40B4-BE49-F238E27FC236}">
                <a16:creationId xmlns:a16="http://schemas.microsoft.com/office/drawing/2014/main" id="{74CA1D72-65FB-467F-B43E-362F08CBAA08}"/>
              </a:ext>
            </a:extLst>
          </p:cNvPr>
          <p:cNvPicPr>
            <a:picLocks noChangeAspect="1"/>
          </p:cNvPicPr>
          <p:nvPr/>
        </p:nvPicPr>
        <p:blipFill rotWithShape="1">
          <a:blip r:embed="rId11"/>
          <a:srcRect l="5865" r="5720"/>
          <a:stretch/>
        </p:blipFill>
        <p:spPr>
          <a:xfrm>
            <a:off x="7520276" y="3807991"/>
            <a:ext cx="1928524" cy="1762125"/>
          </a:xfrm>
          <a:prstGeom prst="rect">
            <a:avLst/>
          </a:prstGeom>
        </p:spPr>
      </p:pic>
      <p:sp>
        <p:nvSpPr>
          <p:cNvPr id="39" name="TextBox 38">
            <a:extLst>
              <a:ext uri="{FF2B5EF4-FFF2-40B4-BE49-F238E27FC236}">
                <a16:creationId xmlns:a16="http://schemas.microsoft.com/office/drawing/2014/main" id="{B8D41E1E-740C-4E7B-B019-C3B476A84756}"/>
              </a:ext>
            </a:extLst>
          </p:cNvPr>
          <p:cNvSpPr txBox="1"/>
          <p:nvPr/>
        </p:nvSpPr>
        <p:spPr>
          <a:xfrm>
            <a:off x="2237037" y="5569803"/>
            <a:ext cx="2246222" cy="830997"/>
          </a:xfrm>
          <a:prstGeom prst="rect">
            <a:avLst/>
          </a:prstGeom>
          <a:noFill/>
        </p:spPr>
        <p:txBody>
          <a:bodyPr wrap="square" rtlCol="0">
            <a:spAutoFit/>
          </a:bodyPr>
          <a:lstStyle/>
          <a:p>
            <a:pPr algn="ctr">
              <a:defRPr/>
            </a:pPr>
            <a:r>
              <a:rPr lang="en-US" sz="1600" b="1" dirty="0">
                <a:solidFill>
                  <a:prstClr val="black"/>
                </a:solidFill>
                <a:latin typeface="Calibri" panose="020F0502020204030204"/>
              </a:rPr>
              <a:t>Funds re-enter the economy through clean investments</a:t>
            </a:r>
          </a:p>
        </p:txBody>
      </p:sp>
      <p:sp>
        <p:nvSpPr>
          <p:cNvPr id="40" name="Arrow: Circular 39">
            <a:extLst>
              <a:ext uri="{FF2B5EF4-FFF2-40B4-BE49-F238E27FC236}">
                <a16:creationId xmlns:a16="http://schemas.microsoft.com/office/drawing/2014/main" id="{4055F0C8-71F1-4B49-AD5A-B97687378C74}"/>
              </a:ext>
            </a:extLst>
          </p:cNvPr>
          <p:cNvSpPr/>
          <p:nvPr/>
        </p:nvSpPr>
        <p:spPr>
          <a:xfrm rot="6171677">
            <a:off x="4675652" y="3786561"/>
            <a:ext cx="2433769" cy="2446365"/>
          </a:xfrm>
          <a:prstGeom prst="circularArrow">
            <a:avLst>
              <a:gd name="adj1" fmla="val 3668"/>
              <a:gd name="adj2" fmla="val 1007519"/>
              <a:gd name="adj3" fmla="val 1646010"/>
              <a:gd name="adj4" fmla="val 17631645"/>
              <a:gd name="adj5" fmla="val 10690"/>
            </a:avLst>
          </a:prstGeom>
          <a:solidFill>
            <a:schemeClr val="tx2"/>
          </a:solidFill>
          <a:ln>
            <a:solidFill>
              <a:schemeClr val="tx2"/>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pic>
        <p:nvPicPr>
          <p:cNvPr id="42" name="Picture 41">
            <a:extLst>
              <a:ext uri="{FF2B5EF4-FFF2-40B4-BE49-F238E27FC236}">
                <a16:creationId xmlns:a16="http://schemas.microsoft.com/office/drawing/2014/main" id="{D8FF655C-882B-4AEE-A37C-7713698B9399}"/>
              </a:ext>
            </a:extLst>
          </p:cNvPr>
          <p:cNvPicPr>
            <a:picLocks noChangeAspect="1"/>
          </p:cNvPicPr>
          <p:nvPr/>
        </p:nvPicPr>
        <p:blipFill>
          <a:blip r:embed="rId12"/>
          <a:stretch>
            <a:fillRect/>
          </a:stretch>
        </p:blipFill>
        <p:spPr>
          <a:xfrm>
            <a:off x="7280322" y="1025080"/>
            <a:ext cx="1310754" cy="1257409"/>
          </a:xfrm>
          <a:prstGeom prst="rect">
            <a:avLst/>
          </a:prstGeom>
        </p:spPr>
      </p:pic>
      <p:pic>
        <p:nvPicPr>
          <p:cNvPr id="45" name="Picture 44">
            <a:extLst>
              <a:ext uri="{FF2B5EF4-FFF2-40B4-BE49-F238E27FC236}">
                <a16:creationId xmlns:a16="http://schemas.microsoft.com/office/drawing/2014/main" id="{BF40164D-FF31-4913-BD32-17C48AD8C02E}"/>
              </a:ext>
            </a:extLst>
          </p:cNvPr>
          <p:cNvPicPr>
            <a:picLocks noChangeAspect="1"/>
          </p:cNvPicPr>
          <p:nvPr/>
        </p:nvPicPr>
        <p:blipFill>
          <a:blip r:embed="rId13"/>
          <a:stretch>
            <a:fillRect/>
          </a:stretch>
        </p:blipFill>
        <p:spPr>
          <a:xfrm>
            <a:off x="2296972" y="3832785"/>
            <a:ext cx="1624522" cy="1624522"/>
          </a:xfrm>
          <a:prstGeom prst="rect">
            <a:avLst/>
          </a:prstGeom>
        </p:spPr>
      </p:pic>
      <p:pic>
        <p:nvPicPr>
          <p:cNvPr id="47" name="Picture 46" descr="On My Way Dude">
            <a:extLst>
              <a:ext uri="{FF2B5EF4-FFF2-40B4-BE49-F238E27FC236}">
                <a16:creationId xmlns:a16="http://schemas.microsoft.com/office/drawing/2014/main" id="{66E6B847-211B-4A2D-B529-B28351D22190}"/>
              </a:ext>
            </a:extLst>
          </p:cNvPr>
          <p:cNvPicPr>
            <a:picLocks noChangeAspect="1"/>
          </p:cNvPicPr>
          <p:nvPr/>
        </p:nvPicPr>
        <p:blipFill>
          <a:blip r:embed="rId14"/>
          <a:stretch>
            <a:fillRect/>
          </a:stretch>
        </p:blipFill>
        <p:spPr>
          <a:xfrm>
            <a:off x="3489040" y="4214628"/>
            <a:ext cx="1623919" cy="1448039"/>
          </a:xfrm>
          <a:prstGeom prst="rect">
            <a:avLst/>
          </a:prstGeom>
        </p:spPr>
      </p:pic>
      <p:pic>
        <p:nvPicPr>
          <p:cNvPr id="49" name="Picture 48">
            <a:extLst>
              <a:ext uri="{FF2B5EF4-FFF2-40B4-BE49-F238E27FC236}">
                <a16:creationId xmlns:a16="http://schemas.microsoft.com/office/drawing/2014/main" id="{6498057E-8FFB-419A-990C-512E99688382}"/>
              </a:ext>
            </a:extLst>
          </p:cNvPr>
          <p:cNvPicPr>
            <a:picLocks noChangeAspect="1"/>
          </p:cNvPicPr>
          <p:nvPr/>
        </p:nvPicPr>
        <p:blipFill>
          <a:blip r:embed="rId15"/>
          <a:stretch>
            <a:fillRect/>
          </a:stretch>
        </p:blipFill>
        <p:spPr>
          <a:xfrm>
            <a:off x="2730714" y="1184922"/>
            <a:ext cx="1310754" cy="1389975"/>
          </a:xfrm>
          <a:prstGeom prst="rect">
            <a:avLst/>
          </a:prstGeom>
        </p:spPr>
      </p:pic>
    </p:spTree>
    <p:custDataLst>
      <p:custData r:id="rId2"/>
    </p:custDataLst>
    <p:extLst>
      <p:ext uri="{BB962C8B-B14F-4D97-AF65-F5344CB8AC3E}">
        <p14:creationId xmlns:p14="http://schemas.microsoft.com/office/powerpoint/2010/main" val="28540821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animBg="1"/>
      <p:bldP spid="3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4DA136-1EA4-F7C5-200C-77C4257A5B8E}"/>
              </a:ext>
            </a:extLst>
          </p:cNvPr>
          <p:cNvGraphicFramePr>
            <a:graphicFrameLocks noChangeAspect="1"/>
          </p:cNvGraphicFramePr>
          <p:nvPr>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311" name="think-cell Slide" r:id="rId6" imgW="7772400" imgH="10058400" progId="TCLayout.ActiveDocument.1">
                  <p:embed/>
                </p:oleObj>
              </mc:Choice>
              <mc:Fallback>
                <p:oleObj name="think-cell Slide" r:id="rId6" imgW="7772400" imgH="10058400" progId="TCLayout.ActiveDocument.1">
                  <p:embed/>
                  <p:pic>
                    <p:nvPicPr>
                      <p:cNvPr id="10" name="Object 9" hidden="1">
                        <a:extLst>
                          <a:ext uri="{FF2B5EF4-FFF2-40B4-BE49-F238E27FC236}">
                            <a16:creationId xmlns:a16="http://schemas.microsoft.com/office/drawing/2014/main" id="{2D4DA136-1EA4-F7C5-200C-77C4257A5B8E}"/>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2F8DBAD9-2FB4-3D45-BD3C-AE82E5DD780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Rectangle 1">
            <a:extLst>
              <a:ext uri="{FF2B5EF4-FFF2-40B4-BE49-F238E27FC236}">
                <a16:creationId xmlns:a16="http://schemas.microsoft.com/office/drawing/2014/main" id="{D3E82E12-CB3F-8998-950F-A2D45F6DB6BF}"/>
              </a:ext>
            </a:extLst>
          </p:cNvPr>
          <p:cNvSpPr/>
          <p:nvPr/>
        </p:nvSpPr>
        <p:spPr bwMode="gray">
          <a:xfrm>
            <a:off x="0" y="0"/>
            <a:ext cx="12192000" cy="137160"/>
          </a:xfrm>
          <a:prstGeom prst="rect">
            <a:avLst/>
          </a:prstGeom>
          <a:solidFill>
            <a:schemeClr val="accent3"/>
          </a:solidFill>
          <a:ln w="3175">
            <a:noFill/>
            <a:round/>
            <a:headEnd/>
            <a:tailEnd/>
          </a:ln>
        </p:spPr>
        <p:txBody>
          <a:bodyPr lIns="0" tIns="0" rIns="0" bIns="0" rtlCol="0" anchor="ctr"/>
          <a:lstStyle/>
          <a:p>
            <a:pPr algn="ctr" defTabSz="685463"/>
            <a:endParaRPr lang="en-US" sz="1200" b="1" kern="0" dirty="0">
              <a:cs typeface="Arial" charset="0"/>
            </a:endParaRPr>
          </a:p>
        </p:txBody>
      </p:sp>
      <p:grpSp>
        <p:nvGrpSpPr>
          <p:cNvPr id="28" name="Group 27">
            <a:extLst>
              <a:ext uri="{FF2B5EF4-FFF2-40B4-BE49-F238E27FC236}">
                <a16:creationId xmlns:a16="http://schemas.microsoft.com/office/drawing/2014/main" id="{5235B0FB-E2EC-6414-B358-8B8238152304}"/>
              </a:ext>
            </a:extLst>
          </p:cNvPr>
          <p:cNvGrpSpPr/>
          <p:nvPr/>
        </p:nvGrpSpPr>
        <p:grpSpPr>
          <a:xfrm>
            <a:off x="442912" y="685800"/>
            <a:ext cx="11320250" cy="5486400"/>
            <a:chOff x="442912" y="1185332"/>
            <a:chExt cx="11320250" cy="4953001"/>
          </a:xfrm>
        </p:grpSpPr>
        <p:sp>
          <p:nvSpPr>
            <p:cNvPr id="14" name="Rectangle 13">
              <a:extLst>
                <a:ext uri="{FF2B5EF4-FFF2-40B4-BE49-F238E27FC236}">
                  <a16:creationId xmlns:a16="http://schemas.microsoft.com/office/drawing/2014/main" id="{15B84EE8-F22A-4A75-8E94-0D9FB2FECF10}"/>
                </a:ext>
              </a:extLst>
            </p:cNvPr>
            <p:cNvSpPr/>
            <p:nvPr/>
          </p:nvSpPr>
          <p:spPr>
            <a:xfrm>
              <a:off x="1229992" y="4160025"/>
              <a:ext cx="10533170" cy="1978307"/>
            </a:xfrm>
            <a:prstGeom prst="rect">
              <a:avLst/>
            </a:prstGeom>
            <a:solidFill>
              <a:schemeClr val="accent3">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15" name="Rectangle 14">
              <a:extLst>
                <a:ext uri="{FF2B5EF4-FFF2-40B4-BE49-F238E27FC236}">
                  <a16:creationId xmlns:a16="http://schemas.microsoft.com/office/drawing/2014/main" id="{9A42D990-942F-336D-9878-A1B8E7EBB015}"/>
                </a:ext>
              </a:extLst>
            </p:cNvPr>
            <p:cNvSpPr/>
            <p:nvPr/>
          </p:nvSpPr>
          <p:spPr>
            <a:xfrm>
              <a:off x="442914" y="4160026"/>
              <a:ext cx="2911841" cy="1978307"/>
            </a:xfrm>
            <a:prstGeom prst="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16" name="Rectangle 15">
              <a:extLst>
                <a:ext uri="{FF2B5EF4-FFF2-40B4-BE49-F238E27FC236}">
                  <a16:creationId xmlns:a16="http://schemas.microsoft.com/office/drawing/2014/main" id="{AC9CA7B3-C1D6-EFE9-8AC5-0F5661806CF8}"/>
                </a:ext>
              </a:extLst>
            </p:cNvPr>
            <p:cNvSpPr/>
            <p:nvPr/>
          </p:nvSpPr>
          <p:spPr>
            <a:xfrm>
              <a:off x="535799" y="5152803"/>
              <a:ext cx="2705112" cy="769441"/>
            </a:xfrm>
            <a:prstGeom prst="rect">
              <a:avLst/>
            </a:prstGeom>
          </p:spPr>
          <p:txBody>
            <a:bodyPr wrap="square">
              <a:spAutoFit/>
            </a:bodyPr>
            <a:lstStyle/>
            <a:p>
              <a:pPr indent="-274320" defTabSz="1018824">
                <a:buClrTx/>
                <a:buFontTx/>
                <a:buNone/>
              </a:pPr>
              <a:r>
                <a:rPr lang="en-GB" sz="2200" b="1" dirty="0">
                  <a:solidFill>
                    <a:schemeClr val="bg1"/>
                  </a:solidFill>
                </a:rPr>
                <a:t>How do Sanctions work?… </a:t>
              </a:r>
            </a:p>
          </p:txBody>
        </p:sp>
        <p:sp>
          <p:nvSpPr>
            <p:cNvPr id="17" name="Freeform 5">
              <a:extLst>
                <a:ext uri="{FF2B5EF4-FFF2-40B4-BE49-F238E27FC236}">
                  <a16:creationId xmlns:a16="http://schemas.microsoft.com/office/drawing/2014/main" id="{56EAE592-5957-DBD4-19AA-EF5BDDFF174E}"/>
                </a:ext>
              </a:extLst>
            </p:cNvPr>
            <p:cNvSpPr>
              <a:spLocks noChangeAspect="1" noEditPoints="1"/>
            </p:cNvSpPr>
            <p:nvPr/>
          </p:nvSpPr>
          <p:spPr bwMode="white">
            <a:xfrm>
              <a:off x="648338" y="4331328"/>
              <a:ext cx="784916" cy="611919"/>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Rectangle 17">
              <a:extLst>
                <a:ext uri="{FF2B5EF4-FFF2-40B4-BE49-F238E27FC236}">
                  <a16:creationId xmlns:a16="http://schemas.microsoft.com/office/drawing/2014/main" id="{5623A567-30F7-C569-2263-BF8F26CA8B39}"/>
                </a:ext>
              </a:extLst>
            </p:cNvPr>
            <p:cNvSpPr/>
            <p:nvPr/>
          </p:nvSpPr>
          <p:spPr>
            <a:xfrm>
              <a:off x="3679629" y="4235546"/>
              <a:ext cx="7744584" cy="1815882"/>
            </a:xfrm>
            <a:prstGeom prst="rect">
              <a:avLst/>
            </a:prstGeom>
          </p:spPr>
          <p:txBody>
            <a:bodyPr wrap="square">
              <a:spAutoFit/>
            </a:bodyPr>
            <a:lstStyle/>
            <a:p>
              <a:pPr defTabSz="1018824">
                <a:buClrTx/>
              </a:pPr>
              <a:r>
                <a:rPr lang="en-US" sz="1400" dirty="0">
                  <a:cs typeface="Arial" pitchFamily="34" charset="0"/>
                </a:rPr>
                <a:t>The type of Sanctions applied to a particular country, organization, group, or individual may vary across Sanctions programs. Each Sanctions program is unique and has individual requirements designed to achieve specific goals in foreign policy. For example, a Sanctions program may:</a:t>
              </a:r>
            </a:p>
            <a:p>
              <a:pPr marL="285750" indent="-285750" defTabSz="1018824">
                <a:buClrTx/>
                <a:buFont typeface="Arial" panose="020B0604020202020204" pitchFamily="34" charset="0"/>
                <a:buChar char="•"/>
              </a:pPr>
              <a:r>
                <a:rPr lang="en-US" sz="1400" dirty="0">
                  <a:cs typeface="Arial" pitchFamily="34" charset="0"/>
                </a:rPr>
                <a:t>ban all transactions within a given country,</a:t>
              </a:r>
            </a:p>
            <a:p>
              <a:pPr marL="285750" indent="-285750" defTabSz="1018824">
                <a:buClrTx/>
                <a:buFont typeface="Arial" panose="020B0604020202020204" pitchFamily="34" charset="0"/>
                <a:buChar char="•"/>
              </a:pPr>
              <a:r>
                <a:rPr lang="en-US" sz="1400" dirty="0">
                  <a:cs typeface="Arial" pitchFamily="34" charset="0"/>
                </a:rPr>
                <a:t>restrict only certain activities,</a:t>
              </a:r>
            </a:p>
            <a:p>
              <a:pPr marL="285750" indent="-285750" defTabSz="1018824">
                <a:buClrTx/>
                <a:buFont typeface="Arial" panose="020B0604020202020204" pitchFamily="34" charset="0"/>
                <a:buChar char="•"/>
              </a:pPr>
              <a:r>
                <a:rPr lang="en-US" sz="1400" dirty="0">
                  <a:cs typeface="Arial" pitchFamily="34" charset="0"/>
                </a:rPr>
                <a:t>restrict transactions with specific individuals,</a:t>
              </a:r>
            </a:p>
            <a:p>
              <a:pPr marL="285750" indent="-285750" defTabSz="1018824">
                <a:buClrTx/>
                <a:buFont typeface="Arial" panose="020B0604020202020204" pitchFamily="34" charset="0"/>
                <a:buChar char="•"/>
              </a:pPr>
              <a:r>
                <a:rPr lang="en-US" sz="1400" dirty="0">
                  <a:cs typeface="Arial" pitchFamily="34" charset="0"/>
                </a:rPr>
                <a:t>require pre-approved licenses,</a:t>
              </a:r>
            </a:p>
            <a:p>
              <a:pPr marL="285750" indent="-285750" defTabSz="1018824">
                <a:buClrTx/>
                <a:buFont typeface="Arial" panose="020B0604020202020204" pitchFamily="34" charset="0"/>
                <a:buChar char="•"/>
              </a:pPr>
              <a:r>
                <a:rPr lang="en-US" sz="1400" dirty="0">
                  <a:cs typeface="Arial" pitchFamily="34" charset="0"/>
                </a:rPr>
                <a:t>involve blocking or rejecting transactions.</a:t>
              </a:r>
              <a:endParaRPr lang="en-GB" sz="1400" dirty="0">
                <a:cs typeface="Arial" pitchFamily="34" charset="0"/>
              </a:endParaRPr>
            </a:p>
          </p:txBody>
        </p:sp>
        <p:sp>
          <p:nvSpPr>
            <p:cNvPr id="19" name="Rectangle 18">
              <a:extLst>
                <a:ext uri="{FF2B5EF4-FFF2-40B4-BE49-F238E27FC236}">
                  <a16:creationId xmlns:a16="http://schemas.microsoft.com/office/drawing/2014/main" id="{19912070-FDD8-56FA-2739-8A0EABA3B58D}"/>
                </a:ext>
              </a:extLst>
            </p:cNvPr>
            <p:cNvSpPr/>
            <p:nvPr/>
          </p:nvSpPr>
          <p:spPr>
            <a:xfrm>
              <a:off x="1229992" y="1185332"/>
              <a:ext cx="10533170" cy="1918066"/>
            </a:xfrm>
            <a:prstGeom prst="rect">
              <a:avLst/>
            </a:prstGeom>
            <a:solidFill>
              <a:schemeClr val="accent2">
                <a:lumMod val="20000"/>
                <a:lumOff val="8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20" name="Rectangle 19">
              <a:extLst>
                <a:ext uri="{FF2B5EF4-FFF2-40B4-BE49-F238E27FC236}">
                  <a16:creationId xmlns:a16="http://schemas.microsoft.com/office/drawing/2014/main" id="{6F70209E-CB58-1CF2-E24C-D0A9A68172EC}"/>
                </a:ext>
              </a:extLst>
            </p:cNvPr>
            <p:cNvSpPr/>
            <p:nvPr/>
          </p:nvSpPr>
          <p:spPr>
            <a:xfrm>
              <a:off x="442914" y="1185332"/>
              <a:ext cx="2911841" cy="2127622"/>
            </a:xfrm>
            <a:prstGeom prst="rect">
              <a:avLst/>
            </a:prstGeom>
            <a:solidFill>
              <a:schemeClr val="accent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grpSp>
          <p:nvGrpSpPr>
            <p:cNvPr id="21" name="Group 20">
              <a:extLst>
                <a:ext uri="{FF2B5EF4-FFF2-40B4-BE49-F238E27FC236}">
                  <a16:creationId xmlns:a16="http://schemas.microsoft.com/office/drawing/2014/main" id="{672E8720-9712-ACCB-A641-FB90247C1C90}"/>
                </a:ext>
              </a:extLst>
            </p:cNvPr>
            <p:cNvGrpSpPr/>
            <p:nvPr/>
          </p:nvGrpSpPr>
          <p:grpSpPr>
            <a:xfrm>
              <a:off x="442912" y="3103398"/>
              <a:ext cx="11320249" cy="1065443"/>
              <a:chOff x="442912" y="2823883"/>
              <a:chExt cx="11320249" cy="1065443"/>
            </a:xfrm>
          </p:grpSpPr>
          <p:sp>
            <p:nvSpPr>
              <p:cNvPr id="22" name="Rectangle 21">
                <a:extLst>
                  <a:ext uri="{FF2B5EF4-FFF2-40B4-BE49-F238E27FC236}">
                    <a16:creationId xmlns:a16="http://schemas.microsoft.com/office/drawing/2014/main" id="{E7EBCD0C-43DD-DDD8-0483-E797BBACB4A4}"/>
                  </a:ext>
                </a:extLst>
              </p:cNvPr>
              <p:cNvSpPr/>
              <p:nvPr/>
            </p:nvSpPr>
            <p:spPr>
              <a:xfrm>
                <a:off x="442912" y="2823883"/>
                <a:ext cx="11320249" cy="1065443"/>
              </a:xfrm>
              <a:prstGeom prst="rect">
                <a:avLst/>
              </a:prstGeom>
              <a:solidFill>
                <a:schemeClr val="tx1">
                  <a:lumMod val="85000"/>
                  <a:lumOff val="1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dirty="0"/>
              </a:p>
            </p:txBody>
          </p:sp>
          <p:sp>
            <p:nvSpPr>
              <p:cNvPr id="23" name="Rectangle 22">
                <a:extLst>
                  <a:ext uri="{FF2B5EF4-FFF2-40B4-BE49-F238E27FC236}">
                    <a16:creationId xmlns:a16="http://schemas.microsoft.com/office/drawing/2014/main" id="{C21F6E5F-9C7D-6049-36A0-867C6B79EFC4}"/>
                  </a:ext>
                </a:extLst>
              </p:cNvPr>
              <p:cNvSpPr/>
              <p:nvPr/>
            </p:nvSpPr>
            <p:spPr>
              <a:xfrm>
                <a:off x="547374" y="3062977"/>
                <a:ext cx="10876839" cy="584775"/>
              </a:xfrm>
              <a:prstGeom prst="rect">
                <a:avLst/>
              </a:prstGeom>
            </p:spPr>
            <p:txBody>
              <a:bodyPr wrap="square">
                <a:spAutoFit/>
              </a:bodyPr>
              <a:lstStyle/>
              <a:p>
                <a:r>
                  <a:rPr lang="en-US" sz="1600" b="1" dirty="0">
                    <a:solidFill>
                      <a:schemeClr val="bg1"/>
                    </a:solidFill>
                  </a:rPr>
                  <a:t>Sanction provisions help mitigate the Company’s involvement in any restricted business activity or with a restricted entity/ country, directly or indirectly</a:t>
                </a:r>
                <a:endParaRPr lang="en-GB" sz="1600" b="1" dirty="0">
                  <a:solidFill>
                    <a:schemeClr val="bg1"/>
                  </a:solidFill>
                </a:endParaRPr>
              </a:p>
            </p:txBody>
          </p:sp>
        </p:grpSp>
        <p:sp>
          <p:nvSpPr>
            <p:cNvPr id="24" name="Rectangle 23">
              <a:extLst>
                <a:ext uri="{FF2B5EF4-FFF2-40B4-BE49-F238E27FC236}">
                  <a16:creationId xmlns:a16="http://schemas.microsoft.com/office/drawing/2014/main" id="{2FE7D90D-CFBA-49BA-5829-7B9AD6BFF2F8}"/>
                </a:ext>
              </a:extLst>
            </p:cNvPr>
            <p:cNvSpPr/>
            <p:nvPr/>
          </p:nvSpPr>
          <p:spPr>
            <a:xfrm>
              <a:off x="535799" y="2178109"/>
              <a:ext cx="1964334" cy="694634"/>
            </a:xfrm>
            <a:prstGeom prst="rect">
              <a:avLst/>
            </a:prstGeom>
          </p:spPr>
          <p:txBody>
            <a:bodyPr wrap="square">
              <a:spAutoFit/>
            </a:bodyPr>
            <a:lstStyle/>
            <a:p>
              <a:pPr lvl="0" defTabSz="1018824">
                <a:defRPr/>
              </a:pPr>
              <a:r>
                <a:rPr lang="en-GB" sz="2200" b="1" dirty="0"/>
                <a:t>“What are Sanctions?”</a:t>
              </a:r>
            </a:p>
          </p:txBody>
        </p:sp>
        <p:sp>
          <p:nvSpPr>
            <p:cNvPr id="25" name="Freeform 5">
              <a:extLst>
                <a:ext uri="{FF2B5EF4-FFF2-40B4-BE49-F238E27FC236}">
                  <a16:creationId xmlns:a16="http://schemas.microsoft.com/office/drawing/2014/main" id="{AAB46D52-B4C5-5531-A64D-1FAE5245DD18}"/>
                </a:ext>
              </a:extLst>
            </p:cNvPr>
            <p:cNvSpPr>
              <a:spLocks noChangeAspect="1" noEditPoints="1"/>
            </p:cNvSpPr>
            <p:nvPr/>
          </p:nvSpPr>
          <p:spPr bwMode="white">
            <a:xfrm>
              <a:off x="648338" y="1356634"/>
              <a:ext cx="784916" cy="611919"/>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Rectangle 25">
              <a:extLst>
                <a:ext uri="{FF2B5EF4-FFF2-40B4-BE49-F238E27FC236}">
                  <a16:creationId xmlns:a16="http://schemas.microsoft.com/office/drawing/2014/main" id="{62ECEF71-B26B-7192-EC7D-3B9F87BBF122}"/>
                </a:ext>
              </a:extLst>
            </p:cNvPr>
            <p:cNvSpPr/>
            <p:nvPr/>
          </p:nvSpPr>
          <p:spPr>
            <a:xfrm>
              <a:off x="3686666" y="1469546"/>
              <a:ext cx="7744584" cy="1514304"/>
            </a:xfrm>
            <a:prstGeom prst="rect">
              <a:avLst/>
            </a:prstGeom>
          </p:spPr>
          <p:txBody>
            <a:bodyPr wrap="square">
              <a:spAutoFit/>
            </a:bodyPr>
            <a:lstStyle/>
            <a:p>
              <a:pPr defTabSz="1018824">
                <a:buClrTx/>
              </a:pPr>
              <a:r>
                <a:rPr lang="en-US" sz="1400" dirty="0">
                  <a:cs typeface="Arial" pitchFamily="34" charset="0"/>
                </a:rPr>
                <a:t>Measures or restrictions (including those often referred to as "embargoes") aimed at restricting dealings of any kind (including the provision of any services whatsoever) with another country, specific persons, legal entities, or organizations are known to be “Sanctions”.</a:t>
              </a:r>
            </a:p>
            <a:p>
              <a:pPr defTabSz="1018824">
                <a:buClrTx/>
              </a:pPr>
              <a:endParaRPr lang="en-US" sz="1400" dirty="0">
                <a:cs typeface="Arial" pitchFamily="34" charset="0"/>
              </a:endParaRPr>
            </a:p>
            <a:p>
              <a:pPr algn="l">
                <a:spcAft>
                  <a:spcPts val="600"/>
                </a:spcAft>
              </a:pPr>
              <a:r>
                <a:rPr lang="en-US" sz="1400" b="1" dirty="0">
                  <a:cs typeface="Arial" pitchFamily="34" charset="0"/>
                </a:rPr>
                <a:t>Countries under the UN sanctions </a:t>
              </a:r>
              <a:r>
                <a:rPr lang="en-US" sz="1400" dirty="0">
                  <a:cs typeface="Arial" pitchFamily="34" charset="0"/>
                </a:rPr>
                <a:t>–North Korea, Iran, Libya, Sudan, etc.</a:t>
              </a:r>
            </a:p>
            <a:p>
              <a:pPr algn="l">
                <a:spcAft>
                  <a:spcPts val="600"/>
                </a:spcAft>
              </a:pPr>
              <a:r>
                <a:rPr lang="en-US" sz="1400" b="1" dirty="0">
                  <a:cs typeface="Arial" pitchFamily="34" charset="0"/>
                </a:rPr>
                <a:t>Types of Sanctions </a:t>
              </a:r>
              <a:r>
                <a:rPr lang="en-US" sz="1400" dirty="0">
                  <a:cs typeface="Arial" pitchFamily="34" charset="0"/>
                </a:rPr>
                <a:t>– Comprehensive, Sectoral, Arms/Travel/Trade/Embargoes, List Based, Secondary </a:t>
              </a:r>
            </a:p>
          </p:txBody>
        </p:sp>
        <p:sp>
          <p:nvSpPr>
            <p:cNvPr id="27" name="TextBox 26">
              <a:extLst>
                <a:ext uri="{FF2B5EF4-FFF2-40B4-BE49-F238E27FC236}">
                  <a16:creationId xmlns:a16="http://schemas.microsoft.com/office/drawing/2014/main" id="{8D6F292D-AFC9-AF2E-4108-643215147F40}"/>
                </a:ext>
              </a:extLst>
            </p:cNvPr>
            <p:cNvSpPr txBox="1"/>
            <p:nvPr/>
          </p:nvSpPr>
          <p:spPr>
            <a:xfrm>
              <a:off x="2593018" y="1885793"/>
              <a:ext cx="737410" cy="517144"/>
            </a:xfrm>
            <a:prstGeom prst="rect">
              <a:avLst/>
            </a:prstGeom>
            <a:noFill/>
            <a:ln w="0">
              <a:noFill/>
              <a:prstDash val="solid"/>
            </a:ln>
          </p:spPr>
          <p:txBody>
            <a:bodyPr wrap="square" lIns="91440" tIns="91440" rIns="91440" bIns="91440" rtlCol="0" anchor="ctr">
              <a:noAutofit/>
            </a:bodyPr>
            <a:lstStyle/>
            <a:p>
              <a:pPr indent="-274320" algn="ctr">
                <a:spcAft>
                  <a:spcPts val="900"/>
                </a:spcAft>
              </a:pPr>
              <a:r>
                <a:rPr lang="en-US" sz="4400" b="1" kern="0" dirty="0">
                  <a:solidFill>
                    <a:srgbClr val="000000"/>
                  </a:solidFill>
                  <a:latin typeface="Arial"/>
                </a:rPr>
                <a:t>=</a:t>
              </a:r>
            </a:p>
          </p:txBody>
        </p:sp>
      </p:grpSp>
    </p:spTree>
    <p:custDataLst>
      <p:custData r:id="rId2"/>
    </p:custDataLst>
    <p:extLst>
      <p:ext uri="{BB962C8B-B14F-4D97-AF65-F5344CB8AC3E}">
        <p14:creationId xmlns:p14="http://schemas.microsoft.com/office/powerpoint/2010/main" val="16187505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4DA136-1EA4-F7C5-200C-77C4257A5B8E}"/>
              </a:ext>
            </a:extLst>
          </p:cNvPr>
          <p:cNvGraphicFramePr>
            <a:graphicFrameLocks noChangeAspect="1"/>
          </p:cNvGraphicFramePr>
          <p:nvPr>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213" name="think-cell Slide" r:id="rId6" imgW="7772400" imgH="10058400" progId="TCLayout.ActiveDocument.1">
                  <p:embed/>
                </p:oleObj>
              </mc:Choice>
              <mc:Fallback>
                <p:oleObj name="think-cell Slide" r:id="rId6" imgW="7772400" imgH="10058400" progId="TCLayout.ActiveDocument.1">
                  <p:embed/>
                  <p:pic>
                    <p:nvPicPr>
                      <p:cNvPr id="10" name="Object 9" hidden="1">
                        <a:extLst>
                          <a:ext uri="{FF2B5EF4-FFF2-40B4-BE49-F238E27FC236}">
                            <a16:creationId xmlns:a16="http://schemas.microsoft.com/office/drawing/2014/main" id="{2D4DA136-1EA4-F7C5-200C-77C4257A5B8E}"/>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pic>
        <p:nvPicPr>
          <p:cNvPr id="2" name="Picture Placeholder 4">
            <a:extLst>
              <a:ext uri="{FF2B5EF4-FFF2-40B4-BE49-F238E27FC236}">
                <a16:creationId xmlns:a16="http://schemas.microsoft.com/office/drawing/2014/main" id="{CF7388C0-BA03-1735-9931-E8C2B862CFB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0" y="-1"/>
            <a:ext cx="12192000" cy="6858001"/>
          </a:xfrm>
          <a:prstGeom prst="rect">
            <a:avLst/>
          </a:prstGeom>
        </p:spPr>
      </p:pic>
      <p:sp>
        <p:nvSpPr>
          <p:cNvPr id="4" name="Slide Number Placeholder 3">
            <a:extLst>
              <a:ext uri="{FF2B5EF4-FFF2-40B4-BE49-F238E27FC236}">
                <a16:creationId xmlns:a16="http://schemas.microsoft.com/office/drawing/2014/main" id="{2F8DBAD9-2FB4-3D45-BD3C-AE82E5DD780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750" b="0" i="0" u="none" strike="noStrike" kern="1200" cap="none" spc="0" normalizeH="0" baseline="0" noProof="0" dirty="0">
              <a:ln>
                <a:noFill/>
              </a:ln>
              <a:effectLst/>
              <a:uLnTx/>
              <a:uFillTx/>
              <a:latin typeface="Arial"/>
              <a:ea typeface="+mn-ea"/>
              <a:cs typeface="+mn-cs"/>
            </a:endParaRPr>
          </a:p>
        </p:txBody>
      </p:sp>
      <p:sp>
        <p:nvSpPr>
          <p:cNvPr id="12" name="TextBox 11">
            <a:extLst>
              <a:ext uri="{FF2B5EF4-FFF2-40B4-BE49-F238E27FC236}">
                <a16:creationId xmlns:a16="http://schemas.microsoft.com/office/drawing/2014/main" id="{FAE80C07-5B34-1DA2-ECE5-76BEC9974C7F}"/>
              </a:ext>
            </a:extLst>
          </p:cNvPr>
          <p:cNvSpPr txBox="1"/>
          <p:nvPr/>
        </p:nvSpPr>
        <p:spPr>
          <a:xfrm>
            <a:off x="442913" y="6492240"/>
            <a:ext cx="5473700" cy="137160"/>
          </a:xfrm>
          <a:prstGeom prst="rect">
            <a:avLst/>
          </a:prstGeom>
          <a:noFill/>
        </p:spPr>
        <p:txBody>
          <a:bodyPr wrap="square" lIns="0" tIns="0" rIns="0" bIns="0" rtlCol="0" anchor="b" anchorCtr="0">
            <a:noAutofit/>
          </a:bodyPr>
          <a:lstStyle/>
          <a:p>
            <a:pPr algn="l"/>
            <a:endParaRPr lang="en-US" sz="750" b="0" dirty="0"/>
          </a:p>
        </p:txBody>
      </p:sp>
      <p:sp>
        <p:nvSpPr>
          <p:cNvPr id="14" name="Rectangle 13">
            <a:extLst>
              <a:ext uri="{FF2B5EF4-FFF2-40B4-BE49-F238E27FC236}">
                <a16:creationId xmlns:a16="http://schemas.microsoft.com/office/drawing/2014/main" id="{35AF01FB-5EEA-FDDE-240E-EEECA87BCE8B}"/>
              </a:ext>
            </a:extLst>
          </p:cNvPr>
          <p:cNvSpPr/>
          <p:nvPr/>
        </p:nvSpPr>
        <p:spPr bwMode="gray">
          <a:xfrm>
            <a:off x="52047" y="5080175"/>
            <a:ext cx="11749088" cy="1143000"/>
          </a:xfrm>
          <a:prstGeom prst="rect">
            <a:avLst/>
          </a:prstGeom>
          <a:solidFill>
            <a:schemeClr val="accent2"/>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15" name="Title 2">
            <a:extLst>
              <a:ext uri="{FF2B5EF4-FFF2-40B4-BE49-F238E27FC236}">
                <a16:creationId xmlns:a16="http://schemas.microsoft.com/office/drawing/2014/main" id="{E9F4CA30-518B-58DA-F055-E73D23A26BCF}"/>
              </a:ext>
            </a:extLst>
          </p:cNvPr>
          <p:cNvSpPr txBox="1">
            <a:spLocks/>
          </p:cNvSpPr>
          <p:nvPr/>
        </p:nvSpPr>
        <p:spPr>
          <a:xfrm>
            <a:off x="1415576" y="5183445"/>
            <a:ext cx="9785823" cy="834508"/>
          </a:xfrm>
          <a:prstGeom prst="rect">
            <a:avLst/>
          </a:prstGeom>
        </p:spPr>
        <p:txBody>
          <a:bodyPr lIns="0" tIns="0" rIns="0" bIns="0" anchor="ctr" anchorCtr="0">
            <a:noAutofit/>
          </a:bodyPr>
          <a:lstStyle>
            <a:lvl1pPr algn="l" defTabSz="914400" rtl="0" eaLnBrk="1" latinLnBrk="0" hangingPunct="1">
              <a:lnSpc>
                <a:spcPct val="100000"/>
              </a:lnSpc>
              <a:spcBef>
                <a:spcPct val="0"/>
              </a:spcBef>
              <a:buNone/>
              <a:defRPr sz="2800" kern="1200">
                <a:solidFill>
                  <a:schemeClr val="bg1"/>
                </a:solidFill>
                <a:latin typeface="+mj-lt"/>
                <a:ea typeface="+mj-ea"/>
                <a:cs typeface="+mj-cs"/>
              </a:defRPr>
            </a:lvl1pPr>
          </a:lstStyle>
          <a:p>
            <a:r>
              <a:rPr lang="en-GB" sz="3200" dirty="0">
                <a:solidFill>
                  <a:schemeClr val="tx1"/>
                </a:solidFill>
              </a:rPr>
              <a:t>Regulatory Overview – AML/CFT &amp; Sanctions</a:t>
            </a:r>
            <a:endParaRPr lang="en-US" sz="3200" dirty="0">
              <a:solidFill>
                <a:schemeClr val="tx1"/>
              </a:solidFill>
            </a:endParaRPr>
          </a:p>
        </p:txBody>
      </p:sp>
      <p:sp>
        <p:nvSpPr>
          <p:cNvPr id="8" name="Freeform 12">
            <a:extLst>
              <a:ext uri="{FF2B5EF4-FFF2-40B4-BE49-F238E27FC236}">
                <a16:creationId xmlns:a16="http://schemas.microsoft.com/office/drawing/2014/main" id="{0082A828-93D4-C78E-EA92-0C2991D124CC}"/>
              </a:ext>
            </a:extLst>
          </p:cNvPr>
          <p:cNvSpPr>
            <a:spLocks noChangeAspect="1" noEditPoints="1"/>
          </p:cNvSpPr>
          <p:nvPr/>
        </p:nvSpPr>
        <p:spPr bwMode="auto">
          <a:xfrm>
            <a:off x="442912" y="5242832"/>
            <a:ext cx="726130" cy="715734"/>
          </a:xfrm>
          <a:custGeom>
            <a:avLst/>
            <a:gdLst>
              <a:gd name="T0" fmla="*/ 153 w 346"/>
              <a:gd name="T1" fmla="*/ 184 h 346"/>
              <a:gd name="T2" fmla="*/ 153 w 346"/>
              <a:gd name="T3" fmla="*/ 213 h 346"/>
              <a:gd name="T4" fmla="*/ 173 w 346"/>
              <a:gd name="T5" fmla="*/ 233 h 346"/>
              <a:gd name="T6" fmla="*/ 193 w 346"/>
              <a:gd name="T7" fmla="*/ 213 h 346"/>
              <a:gd name="T8" fmla="*/ 193 w 346"/>
              <a:gd name="T9" fmla="*/ 184 h 346"/>
              <a:gd name="T10" fmla="*/ 211 w 346"/>
              <a:gd name="T11" fmla="*/ 151 h 346"/>
              <a:gd name="T12" fmla="*/ 173 w 346"/>
              <a:gd name="T13" fmla="*/ 113 h 346"/>
              <a:gd name="T14" fmla="*/ 134 w 346"/>
              <a:gd name="T15" fmla="*/ 151 h 346"/>
              <a:gd name="T16" fmla="*/ 153 w 346"/>
              <a:gd name="T17" fmla="*/ 184 h 346"/>
              <a:gd name="T18" fmla="*/ 173 w 346"/>
              <a:gd name="T19" fmla="*/ 128 h 346"/>
              <a:gd name="T20" fmla="*/ 196 w 346"/>
              <a:gd name="T21" fmla="*/ 151 h 346"/>
              <a:gd name="T22" fmla="*/ 182 w 346"/>
              <a:gd name="T23" fmla="*/ 173 h 346"/>
              <a:gd name="T24" fmla="*/ 178 w 346"/>
              <a:gd name="T25" fmla="*/ 175 h 346"/>
              <a:gd name="T26" fmla="*/ 178 w 346"/>
              <a:gd name="T27" fmla="*/ 213 h 346"/>
              <a:gd name="T28" fmla="*/ 173 w 346"/>
              <a:gd name="T29" fmla="*/ 218 h 346"/>
              <a:gd name="T30" fmla="*/ 167 w 346"/>
              <a:gd name="T31" fmla="*/ 213 h 346"/>
              <a:gd name="T32" fmla="*/ 167 w 346"/>
              <a:gd name="T33" fmla="*/ 175 h 346"/>
              <a:gd name="T34" fmla="*/ 163 w 346"/>
              <a:gd name="T35" fmla="*/ 173 h 346"/>
              <a:gd name="T36" fmla="*/ 149 w 346"/>
              <a:gd name="T37" fmla="*/ 151 h 346"/>
              <a:gd name="T38" fmla="*/ 173 w 346"/>
              <a:gd name="T39" fmla="*/ 128 h 346"/>
              <a:gd name="T40" fmla="*/ 0 w 346"/>
              <a:gd name="T41" fmla="*/ 0 h 346"/>
              <a:gd name="T42" fmla="*/ 0 w 346"/>
              <a:gd name="T43" fmla="*/ 346 h 346"/>
              <a:gd name="T44" fmla="*/ 346 w 346"/>
              <a:gd name="T45" fmla="*/ 346 h 346"/>
              <a:gd name="T46" fmla="*/ 346 w 346"/>
              <a:gd name="T47" fmla="*/ 0 h 346"/>
              <a:gd name="T48" fmla="*/ 0 w 346"/>
              <a:gd name="T49" fmla="*/ 0 h 346"/>
              <a:gd name="T50" fmla="*/ 331 w 346"/>
              <a:gd name="T51" fmla="*/ 331 h 346"/>
              <a:gd name="T52" fmla="*/ 14 w 346"/>
              <a:gd name="T53" fmla="*/ 331 h 346"/>
              <a:gd name="T54" fmla="*/ 14 w 346"/>
              <a:gd name="T55" fmla="*/ 14 h 346"/>
              <a:gd name="T56" fmla="*/ 331 w 346"/>
              <a:gd name="T57" fmla="*/ 14 h 346"/>
              <a:gd name="T58" fmla="*/ 331 w 346"/>
              <a:gd name="T59" fmla="*/ 331 h 346"/>
              <a:gd name="T60" fmla="*/ 173 w 346"/>
              <a:gd name="T61" fmla="*/ 279 h 346"/>
              <a:gd name="T62" fmla="*/ 279 w 346"/>
              <a:gd name="T63" fmla="*/ 173 h 346"/>
              <a:gd name="T64" fmla="*/ 173 w 346"/>
              <a:gd name="T65" fmla="*/ 67 h 346"/>
              <a:gd name="T66" fmla="*/ 67 w 346"/>
              <a:gd name="T67" fmla="*/ 173 h 346"/>
              <a:gd name="T68" fmla="*/ 173 w 346"/>
              <a:gd name="T69" fmla="*/ 279 h 346"/>
              <a:gd name="T70" fmla="*/ 173 w 346"/>
              <a:gd name="T71" fmla="*/ 82 h 346"/>
              <a:gd name="T72" fmla="*/ 264 w 346"/>
              <a:gd name="T73" fmla="*/ 173 h 346"/>
              <a:gd name="T74" fmla="*/ 173 w 346"/>
              <a:gd name="T75" fmla="*/ 264 h 346"/>
              <a:gd name="T76" fmla="*/ 82 w 346"/>
              <a:gd name="T77" fmla="*/ 173 h 346"/>
              <a:gd name="T78" fmla="*/ 173 w 346"/>
              <a:gd name="T79" fmla="*/ 8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6" h="346">
                <a:moveTo>
                  <a:pt x="153" y="184"/>
                </a:moveTo>
                <a:cubicBezTo>
                  <a:pt x="153" y="213"/>
                  <a:pt x="153" y="213"/>
                  <a:pt x="153" y="213"/>
                </a:cubicBezTo>
                <a:cubicBezTo>
                  <a:pt x="153" y="224"/>
                  <a:pt x="162" y="233"/>
                  <a:pt x="173" y="233"/>
                </a:cubicBezTo>
                <a:cubicBezTo>
                  <a:pt x="184" y="233"/>
                  <a:pt x="193" y="224"/>
                  <a:pt x="193" y="213"/>
                </a:cubicBezTo>
                <a:cubicBezTo>
                  <a:pt x="193" y="184"/>
                  <a:pt x="193" y="184"/>
                  <a:pt x="193" y="184"/>
                </a:cubicBezTo>
                <a:cubicBezTo>
                  <a:pt x="204" y="177"/>
                  <a:pt x="211" y="165"/>
                  <a:pt x="211" y="151"/>
                </a:cubicBezTo>
                <a:cubicBezTo>
                  <a:pt x="211" y="130"/>
                  <a:pt x="194" y="113"/>
                  <a:pt x="173" y="113"/>
                </a:cubicBezTo>
                <a:cubicBezTo>
                  <a:pt x="151" y="113"/>
                  <a:pt x="134" y="130"/>
                  <a:pt x="134" y="151"/>
                </a:cubicBezTo>
                <a:cubicBezTo>
                  <a:pt x="134" y="165"/>
                  <a:pt x="141" y="177"/>
                  <a:pt x="153" y="184"/>
                </a:cubicBezTo>
                <a:close/>
                <a:moveTo>
                  <a:pt x="173" y="128"/>
                </a:moveTo>
                <a:cubicBezTo>
                  <a:pt x="186" y="128"/>
                  <a:pt x="196" y="138"/>
                  <a:pt x="196" y="151"/>
                </a:cubicBezTo>
                <a:cubicBezTo>
                  <a:pt x="196" y="161"/>
                  <a:pt x="191" y="169"/>
                  <a:pt x="182" y="173"/>
                </a:cubicBezTo>
                <a:cubicBezTo>
                  <a:pt x="178" y="175"/>
                  <a:pt x="178" y="175"/>
                  <a:pt x="178" y="175"/>
                </a:cubicBezTo>
                <a:cubicBezTo>
                  <a:pt x="178" y="213"/>
                  <a:pt x="178" y="213"/>
                  <a:pt x="178" y="213"/>
                </a:cubicBezTo>
                <a:cubicBezTo>
                  <a:pt x="178" y="216"/>
                  <a:pt x="176" y="218"/>
                  <a:pt x="173" y="218"/>
                </a:cubicBezTo>
                <a:cubicBezTo>
                  <a:pt x="170" y="218"/>
                  <a:pt x="167" y="216"/>
                  <a:pt x="167" y="213"/>
                </a:cubicBezTo>
                <a:cubicBezTo>
                  <a:pt x="167" y="175"/>
                  <a:pt x="167" y="175"/>
                  <a:pt x="167" y="175"/>
                </a:cubicBezTo>
                <a:cubicBezTo>
                  <a:pt x="163" y="173"/>
                  <a:pt x="163" y="173"/>
                  <a:pt x="163" y="173"/>
                </a:cubicBezTo>
                <a:cubicBezTo>
                  <a:pt x="154" y="169"/>
                  <a:pt x="149" y="161"/>
                  <a:pt x="149" y="151"/>
                </a:cubicBezTo>
                <a:cubicBezTo>
                  <a:pt x="149" y="138"/>
                  <a:pt x="160" y="128"/>
                  <a:pt x="173" y="128"/>
                </a:cubicBezTo>
                <a:close/>
                <a:moveTo>
                  <a:pt x="0" y="0"/>
                </a:moveTo>
                <a:cubicBezTo>
                  <a:pt x="0" y="346"/>
                  <a:pt x="0" y="346"/>
                  <a:pt x="0" y="346"/>
                </a:cubicBezTo>
                <a:cubicBezTo>
                  <a:pt x="346" y="346"/>
                  <a:pt x="346" y="346"/>
                  <a:pt x="346" y="346"/>
                </a:cubicBezTo>
                <a:cubicBezTo>
                  <a:pt x="346" y="0"/>
                  <a:pt x="346" y="0"/>
                  <a:pt x="346" y="0"/>
                </a:cubicBezTo>
                <a:lnTo>
                  <a:pt x="0" y="0"/>
                </a:lnTo>
                <a:close/>
                <a:moveTo>
                  <a:pt x="331" y="331"/>
                </a:moveTo>
                <a:cubicBezTo>
                  <a:pt x="14" y="331"/>
                  <a:pt x="14" y="331"/>
                  <a:pt x="14" y="331"/>
                </a:cubicBezTo>
                <a:cubicBezTo>
                  <a:pt x="14" y="14"/>
                  <a:pt x="14" y="14"/>
                  <a:pt x="14" y="14"/>
                </a:cubicBezTo>
                <a:cubicBezTo>
                  <a:pt x="331" y="14"/>
                  <a:pt x="331" y="14"/>
                  <a:pt x="331" y="14"/>
                </a:cubicBezTo>
                <a:lnTo>
                  <a:pt x="331" y="331"/>
                </a:lnTo>
                <a:close/>
                <a:moveTo>
                  <a:pt x="173" y="279"/>
                </a:moveTo>
                <a:cubicBezTo>
                  <a:pt x="231" y="279"/>
                  <a:pt x="279" y="231"/>
                  <a:pt x="279" y="173"/>
                </a:cubicBezTo>
                <a:cubicBezTo>
                  <a:pt x="279" y="114"/>
                  <a:pt x="231" y="67"/>
                  <a:pt x="173" y="67"/>
                </a:cubicBezTo>
                <a:cubicBezTo>
                  <a:pt x="114" y="67"/>
                  <a:pt x="67" y="114"/>
                  <a:pt x="67" y="173"/>
                </a:cubicBezTo>
                <a:cubicBezTo>
                  <a:pt x="67" y="231"/>
                  <a:pt x="114" y="279"/>
                  <a:pt x="173" y="279"/>
                </a:cubicBezTo>
                <a:close/>
                <a:moveTo>
                  <a:pt x="173" y="82"/>
                </a:moveTo>
                <a:cubicBezTo>
                  <a:pt x="223" y="82"/>
                  <a:pt x="264" y="123"/>
                  <a:pt x="264" y="173"/>
                </a:cubicBezTo>
                <a:cubicBezTo>
                  <a:pt x="264" y="223"/>
                  <a:pt x="223" y="264"/>
                  <a:pt x="173" y="264"/>
                </a:cubicBezTo>
                <a:cubicBezTo>
                  <a:pt x="123" y="264"/>
                  <a:pt x="82" y="223"/>
                  <a:pt x="82" y="173"/>
                </a:cubicBezTo>
                <a:cubicBezTo>
                  <a:pt x="82" y="123"/>
                  <a:pt x="123" y="82"/>
                  <a:pt x="173" y="82"/>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800" dirty="0">
              <a:solidFill>
                <a:schemeClr val="accent1"/>
              </a:solidFill>
            </a:endParaRPr>
          </a:p>
        </p:txBody>
      </p:sp>
    </p:spTree>
    <p:custDataLst>
      <p:custData r:id="rId2"/>
    </p:custDataLst>
    <p:extLst>
      <p:ext uri="{BB962C8B-B14F-4D97-AF65-F5344CB8AC3E}">
        <p14:creationId xmlns:p14="http://schemas.microsoft.com/office/powerpoint/2010/main" val="22184491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4DA136-1EA4-F7C5-200C-77C4257A5B8E}"/>
              </a:ext>
            </a:extLst>
          </p:cNvPr>
          <p:cNvGraphicFramePr>
            <a:graphicFrameLocks noChangeAspect="1"/>
          </p:cNvGraphicFramePr>
          <p:nvPr>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9238" name="think-cell Slide" r:id="rId6" imgW="7772400" imgH="10058400" progId="TCLayout.ActiveDocument.1">
                  <p:embed/>
                </p:oleObj>
              </mc:Choice>
              <mc:Fallback>
                <p:oleObj name="think-cell Slide" r:id="rId6" imgW="7772400" imgH="10058400" progId="TCLayout.ActiveDocument.1">
                  <p:embed/>
                  <p:pic>
                    <p:nvPicPr>
                      <p:cNvPr id="10" name="Object 9" hidden="1">
                        <a:extLst>
                          <a:ext uri="{FF2B5EF4-FFF2-40B4-BE49-F238E27FC236}">
                            <a16:creationId xmlns:a16="http://schemas.microsoft.com/office/drawing/2014/main" id="{2D4DA136-1EA4-F7C5-200C-77C4257A5B8E}"/>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2F8DBAD9-2FB4-3D45-BD3C-AE82E5DD780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169" name="TextBox 168">
            <a:extLst>
              <a:ext uri="{FF2B5EF4-FFF2-40B4-BE49-F238E27FC236}">
                <a16:creationId xmlns:a16="http://schemas.microsoft.com/office/drawing/2014/main" id="{20452E5A-2247-49EF-A923-10AF3F688F10}"/>
              </a:ext>
            </a:extLst>
          </p:cNvPr>
          <p:cNvSpPr txBox="1"/>
          <p:nvPr/>
        </p:nvSpPr>
        <p:spPr>
          <a:xfrm>
            <a:off x="349820" y="318107"/>
            <a:ext cx="11380218" cy="523220"/>
          </a:xfrm>
          <a:prstGeom prst="rect">
            <a:avLst/>
          </a:prstGeom>
          <a:noFill/>
        </p:spPr>
        <p:txBody>
          <a:bodyPr wrap="square">
            <a:spAutoFit/>
          </a:bodyPr>
          <a:lstStyle/>
          <a:p>
            <a:r>
              <a:rPr lang="en-GB" sz="2800" dirty="0">
                <a:solidFill>
                  <a:schemeClr val="tx1"/>
                </a:solidFill>
              </a:rPr>
              <a:t>Regulatory Overview – AML/CFT &amp; Sanctions</a:t>
            </a:r>
            <a:endParaRPr lang="en-US" sz="2800" dirty="0">
              <a:solidFill>
                <a:schemeClr val="tx1"/>
              </a:solidFill>
            </a:endParaRPr>
          </a:p>
        </p:txBody>
      </p:sp>
      <p:sp>
        <p:nvSpPr>
          <p:cNvPr id="2" name="Rectangle 1">
            <a:extLst>
              <a:ext uri="{FF2B5EF4-FFF2-40B4-BE49-F238E27FC236}">
                <a16:creationId xmlns:a16="http://schemas.microsoft.com/office/drawing/2014/main" id="{D3E82E12-CB3F-8998-950F-A2D45F6DB6BF}"/>
              </a:ext>
            </a:extLst>
          </p:cNvPr>
          <p:cNvSpPr/>
          <p:nvPr/>
        </p:nvSpPr>
        <p:spPr bwMode="gray">
          <a:xfrm>
            <a:off x="0" y="0"/>
            <a:ext cx="12192000" cy="137160"/>
          </a:xfrm>
          <a:prstGeom prst="rect">
            <a:avLst/>
          </a:prstGeom>
          <a:solidFill>
            <a:schemeClr val="accent3"/>
          </a:solidFill>
          <a:ln w="3175">
            <a:noFill/>
            <a:round/>
            <a:headEnd/>
            <a:tailEnd/>
          </a:ln>
        </p:spPr>
        <p:txBody>
          <a:bodyPr lIns="0" tIns="0" rIns="0" bIns="0" rtlCol="0" anchor="ctr"/>
          <a:lstStyle/>
          <a:p>
            <a:pPr algn="ctr" defTabSz="685463"/>
            <a:endParaRPr lang="en-US" sz="1200" b="1" kern="0" dirty="0">
              <a:cs typeface="Arial" charset="0"/>
            </a:endParaRPr>
          </a:p>
        </p:txBody>
      </p:sp>
      <p:grpSp>
        <p:nvGrpSpPr>
          <p:cNvPr id="3" name="Group 2">
            <a:extLst>
              <a:ext uri="{FF2B5EF4-FFF2-40B4-BE49-F238E27FC236}">
                <a16:creationId xmlns:a16="http://schemas.microsoft.com/office/drawing/2014/main" id="{0F525012-7061-B109-D30C-BD3E10801930}"/>
              </a:ext>
            </a:extLst>
          </p:cNvPr>
          <p:cNvGrpSpPr/>
          <p:nvPr/>
        </p:nvGrpSpPr>
        <p:grpSpPr>
          <a:xfrm>
            <a:off x="744147" y="1485900"/>
            <a:ext cx="2300389" cy="4392932"/>
            <a:chOff x="442912" y="1553204"/>
            <a:chExt cx="1904847" cy="3523633"/>
          </a:xfrm>
        </p:grpSpPr>
        <p:pic>
          <p:nvPicPr>
            <p:cNvPr id="7" name="Picture 6">
              <a:extLst>
                <a:ext uri="{FF2B5EF4-FFF2-40B4-BE49-F238E27FC236}">
                  <a16:creationId xmlns:a16="http://schemas.microsoft.com/office/drawing/2014/main" id="{A0B3EDFB-23E7-50AD-79D7-95E3FC0DF465}"/>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442912" y="1553204"/>
              <a:ext cx="1828230" cy="1106560"/>
            </a:xfrm>
            <a:prstGeom prst="rect">
              <a:avLst/>
            </a:prstGeom>
          </p:spPr>
        </p:pic>
        <p:pic>
          <p:nvPicPr>
            <p:cNvPr id="8" name="Picture 6" descr="Reserve Bank of India - RBI - Logo and Tagline - Slogan">
              <a:extLst>
                <a:ext uri="{FF2B5EF4-FFF2-40B4-BE49-F238E27FC236}">
                  <a16:creationId xmlns:a16="http://schemas.microsoft.com/office/drawing/2014/main" id="{58DB78E4-BC90-E380-2929-4E39FF8AA724}"/>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773184" y="3404928"/>
              <a:ext cx="1574575" cy="99036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Financial Intelligence Unit (India) - Wikipedia">
              <a:extLst>
                <a:ext uri="{FF2B5EF4-FFF2-40B4-BE49-F238E27FC236}">
                  <a16:creationId xmlns:a16="http://schemas.microsoft.com/office/drawing/2014/main" id="{4914A957-C730-0C48-530C-6A381363829E}"/>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42912" y="2563037"/>
              <a:ext cx="880218" cy="8710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B16FDD13-69C1-C463-E134-DA9D3D1F5FF9}"/>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42912" y="4586299"/>
              <a:ext cx="1390651" cy="490538"/>
            </a:xfrm>
            <a:prstGeom prst="rect">
              <a:avLst/>
            </a:prstGeom>
          </p:spPr>
        </p:pic>
      </p:grpSp>
      <p:sp>
        <p:nvSpPr>
          <p:cNvPr id="12" name="Rectangle 11">
            <a:extLst>
              <a:ext uri="{FF2B5EF4-FFF2-40B4-BE49-F238E27FC236}">
                <a16:creationId xmlns:a16="http://schemas.microsoft.com/office/drawing/2014/main" id="{20CFA208-0A32-2EC4-15E4-5CACEA859313}"/>
              </a:ext>
            </a:extLst>
          </p:cNvPr>
          <p:cNvSpPr/>
          <p:nvPr/>
        </p:nvSpPr>
        <p:spPr bwMode="gray">
          <a:xfrm>
            <a:off x="442913" y="1175746"/>
            <a:ext cx="2909887" cy="4996454"/>
          </a:xfrm>
          <a:prstGeom prst="rect">
            <a:avLst/>
          </a:prstGeom>
          <a:noFill/>
          <a:ln w="3175">
            <a:solidFill>
              <a:schemeClr val="tx1"/>
            </a:solidFill>
            <a:round/>
            <a:headEnd/>
            <a:tailEnd/>
          </a:ln>
        </p:spPr>
        <p:txBody>
          <a:bodyPr lIns="0" tIns="0" rIns="0" bIns="0" rtlCol="0" anchor="ctr"/>
          <a:lstStyle/>
          <a:p>
            <a:pPr algn="ctr" defTabSz="685463"/>
            <a:endParaRPr lang="en-US" sz="1200" b="1" kern="0" dirty="0">
              <a:cs typeface="Arial" charset="0"/>
            </a:endParaRPr>
          </a:p>
        </p:txBody>
      </p:sp>
      <p:sp>
        <p:nvSpPr>
          <p:cNvPr id="13" name="Rectangle 12">
            <a:extLst>
              <a:ext uri="{FF2B5EF4-FFF2-40B4-BE49-F238E27FC236}">
                <a16:creationId xmlns:a16="http://schemas.microsoft.com/office/drawing/2014/main" id="{4ACF55A7-8CFC-BD0C-2E3A-C5C837EB790E}"/>
              </a:ext>
            </a:extLst>
          </p:cNvPr>
          <p:cNvSpPr/>
          <p:nvPr/>
        </p:nvSpPr>
        <p:spPr bwMode="gray">
          <a:xfrm>
            <a:off x="8839202" y="1175746"/>
            <a:ext cx="2909887" cy="4996454"/>
          </a:xfrm>
          <a:prstGeom prst="rect">
            <a:avLst/>
          </a:prstGeom>
          <a:noFill/>
          <a:ln w="3175">
            <a:solidFill>
              <a:schemeClr val="tx1"/>
            </a:solidFill>
            <a:round/>
            <a:headEnd/>
            <a:tailEnd/>
          </a:ln>
        </p:spPr>
        <p:txBody>
          <a:bodyPr lIns="0" tIns="0" rIns="0" bIns="0" rtlCol="0" anchor="ctr"/>
          <a:lstStyle/>
          <a:p>
            <a:pPr algn="ctr" defTabSz="685463"/>
            <a:endParaRPr lang="en-US" sz="1200" b="1" kern="0" dirty="0">
              <a:cs typeface="Arial" charset="0"/>
            </a:endParaRPr>
          </a:p>
        </p:txBody>
      </p:sp>
      <p:grpSp>
        <p:nvGrpSpPr>
          <p:cNvPr id="31" name="Group 30">
            <a:extLst>
              <a:ext uri="{FF2B5EF4-FFF2-40B4-BE49-F238E27FC236}">
                <a16:creationId xmlns:a16="http://schemas.microsoft.com/office/drawing/2014/main" id="{E10A7429-974E-CDDD-7903-344443759839}"/>
              </a:ext>
            </a:extLst>
          </p:cNvPr>
          <p:cNvGrpSpPr/>
          <p:nvPr/>
        </p:nvGrpSpPr>
        <p:grpSpPr>
          <a:xfrm>
            <a:off x="9464494" y="1370648"/>
            <a:ext cx="1704909" cy="4649152"/>
            <a:chOff x="8147082" y="1219200"/>
            <a:chExt cx="1658639" cy="4522978"/>
          </a:xfrm>
        </p:grpSpPr>
        <p:pic>
          <p:nvPicPr>
            <p:cNvPr id="32" name="Picture 8" descr="Home - Egmont Group">
              <a:extLst>
                <a:ext uri="{FF2B5EF4-FFF2-40B4-BE49-F238E27FC236}">
                  <a16:creationId xmlns:a16="http://schemas.microsoft.com/office/drawing/2014/main" id="{2321840B-6D45-6D7C-45C0-6115DCC0EFCF}"/>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8147082" y="4080219"/>
              <a:ext cx="1204062" cy="700322"/>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Wolfsberg Group Outlines Steps to AML/CTF Effectiveness">
              <a:extLst>
                <a:ext uri="{FF2B5EF4-FFF2-40B4-BE49-F238E27FC236}">
                  <a16:creationId xmlns:a16="http://schemas.microsoft.com/office/drawing/2014/main" id="{D07A4BAC-0263-5B56-6356-4BB12245B8ED}"/>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8147082" y="2125147"/>
              <a:ext cx="1419364" cy="89993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2" descr="BIS: The Basel Committee on Banking Supervision has completed a review of  its 2008 Principles for sound liquidity risk management and supervision">
              <a:extLst>
                <a:ext uri="{FF2B5EF4-FFF2-40B4-BE49-F238E27FC236}">
                  <a16:creationId xmlns:a16="http://schemas.microsoft.com/office/drawing/2014/main" id="{0A4BBFF7-2226-C4A5-5AB2-ED56970DF73A}"/>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8147082" y="3025081"/>
              <a:ext cx="899933" cy="89993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descr="FATF (@FATFNews) / Twitter">
              <a:extLst>
                <a:ext uri="{FF2B5EF4-FFF2-40B4-BE49-F238E27FC236}">
                  <a16:creationId xmlns:a16="http://schemas.microsoft.com/office/drawing/2014/main" id="{8AC7FF8B-2DD9-E570-61CF-B105B8420677}"/>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8147082" y="1219200"/>
              <a:ext cx="1105109" cy="899933"/>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UNODC Internship Program 2021 | Application process, salary, costs, etc.">
              <a:extLst>
                <a:ext uri="{FF2B5EF4-FFF2-40B4-BE49-F238E27FC236}">
                  <a16:creationId xmlns:a16="http://schemas.microsoft.com/office/drawing/2014/main" id="{E7708772-279D-0AC2-9273-07EB63942DD0}"/>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8147082" y="4870055"/>
              <a:ext cx="1658639" cy="87212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8" name="Group 57">
            <a:extLst>
              <a:ext uri="{FF2B5EF4-FFF2-40B4-BE49-F238E27FC236}">
                <a16:creationId xmlns:a16="http://schemas.microsoft.com/office/drawing/2014/main" id="{EB1C3B64-07DA-7EFD-3307-D36E796A3808}"/>
              </a:ext>
            </a:extLst>
          </p:cNvPr>
          <p:cNvGrpSpPr/>
          <p:nvPr/>
        </p:nvGrpSpPr>
        <p:grpSpPr>
          <a:xfrm>
            <a:off x="3435768" y="1171936"/>
            <a:ext cx="5327232" cy="5000264"/>
            <a:chOff x="3334112" y="1215885"/>
            <a:chExt cx="5150965" cy="4956314"/>
          </a:xfrm>
        </p:grpSpPr>
        <p:grpSp>
          <p:nvGrpSpPr>
            <p:cNvPr id="59" name="Group 58">
              <a:extLst>
                <a:ext uri="{FF2B5EF4-FFF2-40B4-BE49-F238E27FC236}">
                  <a16:creationId xmlns:a16="http://schemas.microsoft.com/office/drawing/2014/main" id="{5961AB89-E2DC-AD16-D54F-F831705564E0}"/>
                </a:ext>
              </a:extLst>
            </p:cNvPr>
            <p:cNvGrpSpPr/>
            <p:nvPr/>
          </p:nvGrpSpPr>
          <p:grpSpPr>
            <a:xfrm>
              <a:off x="3334112" y="1215885"/>
              <a:ext cx="5150965" cy="4956314"/>
              <a:chOff x="3636753" y="1147204"/>
              <a:chExt cx="3959954" cy="4956314"/>
            </a:xfrm>
          </p:grpSpPr>
          <p:sp>
            <p:nvSpPr>
              <p:cNvPr id="61" name="Freeform 44">
                <a:extLst>
                  <a:ext uri="{FF2B5EF4-FFF2-40B4-BE49-F238E27FC236}">
                    <a16:creationId xmlns:a16="http://schemas.microsoft.com/office/drawing/2014/main" id="{8F7EDD17-F4D0-749B-38BC-501E3C8E33DC}"/>
                  </a:ext>
                </a:extLst>
              </p:cNvPr>
              <p:cNvSpPr/>
              <p:nvPr/>
            </p:nvSpPr>
            <p:spPr>
              <a:xfrm>
                <a:off x="3636753" y="2573662"/>
                <a:ext cx="1947600" cy="799088"/>
              </a:xfrm>
              <a:custGeom>
                <a:avLst/>
                <a:gdLst>
                  <a:gd name="connsiteX0" fmla="*/ 0 w 1305491"/>
                  <a:gd name="connsiteY0" fmla="*/ 0 h 870762"/>
                  <a:gd name="connsiteX1" fmla="*/ 1305491 w 1305491"/>
                  <a:gd name="connsiteY1" fmla="*/ 0 h 870762"/>
                  <a:gd name="connsiteX2" fmla="*/ 1305491 w 1305491"/>
                  <a:gd name="connsiteY2" fmla="*/ 870762 h 870762"/>
                  <a:gd name="connsiteX3" fmla="*/ 0 w 1305491"/>
                  <a:gd name="connsiteY3" fmla="*/ 870762 h 870762"/>
                  <a:gd name="connsiteX4" fmla="*/ 0 w 1305491"/>
                  <a:gd name="connsiteY4" fmla="*/ 0 h 870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491" h="870762">
                    <a:moveTo>
                      <a:pt x="0" y="0"/>
                    </a:moveTo>
                    <a:lnTo>
                      <a:pt x="1305491" y="0"/>
                    </a:lnTo>
                    <a:lnTo>
                      <a:pt x="1305491" y="870762"/>
                    </a:lnTo>
                    <a:lnTo>
                      <a:pt x="0" y="870762"/>
                    </a:lnTo>
                    <a:lnTo>
                      <a:pt x="0" y="0"/>
                    </a:lnTo>
                    <a:close/>
                  </a:path>
                </a:pathLst>
              </a:custGeom>
              <a:solidFill>
                <a:schemeClr val="bg1">
                  <a:lumMod val="95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78232" rIns="0" bIns="78232" numCol="1" spcCol="1270" anchor="ctr" anchorCtr="0">
                <a:noAutofit/>
              </a:bodyPr>
              <a:lstStyle/>
              <a:p>
                <a:pPr marL="0" lvl="0" indent="0" algn="ctr" defTabSz="488950">
                  <a:lnSpc>
                    <a:spcPct val="90000"/>
                  </a:lnSpc>
                  <a:spcBef>
                    <a:spcPct val="0"/>
                  </a:spcBef>
                  <a:spcAft>
                    <a:spcPct val="35000"/>
                  </a:spcAft>
                  <a:buNone/>
                </a:pPr>
                <a:r>
                  <a:rPr lang="en-US" sz="1200" kern="1200" dirty="0"/>
                  <a:t>The Prevention of Money Laundering Act, 2002 (PMLA)</a:t>
                </a:r>
              </a:p>
            </p:txBody>
          </p:sp>
          <p:sp>
            <p:nvSpPr>
              <p:cNvPr id="62" name="Freeform 45">
                <a:extLst>
                  <a:ext uri="{FF2B5EF4-FFF2-40B4-BE49-F238E27FC236}">
                    <a16:creationId xmlns:a16="http://schemas.microsoft.com/office/drawing/2014/main" id="{C91A545F-4C1A-27BE-08C1-84746D3048A3}"/>
                  </a:ext>
                </a:extLst>
              </p:cNvPr>
              <p:cNvSpPr/>
              <p:nvPr/>
            </p:nvSpPr>
            <p:spPr>
              <a:xfrm>
                <a:off x="3636753" y="3466375"/>
                <a:ext cx="1947600" cy="828000"/>
              </a:xfrm>
              <a:custGeom>
                <a:avLst/>
                <a:gdLst>
                  <a:gd name="connsiteX0" fmla="*/ 0 w 1305491"/>
                  <a:gd name="connsiteY0" fmla="*/ 0 h 870762"/>
                  <a:gd name="connsiteX1" fmla="*/ 1305491 w 1305491"/>
                  <a:gd name="connsiteY1" fmla="*/ 0 h 870762"/>
                  <a:gd name="connsiteX2" fmla="*/ 1305491 w 1305491"/>
                  <a:gd name="connsiteY2" fmla="*/ 870762 h 870762"/>
                  <a:gd name="connsiteX3" fmla="*/ 0 w 1305491"/>
                  <a:gd name="connsiteY3" fmla="*/ 870762 h 870762"/>
                  <a:gd name="connsiteX4" fmla="*/ 0 w 1305491"/>
                  <a:gd name="connsiteY4" fmla="*/ 0 h 870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491" h="870762">
                    <a:moveTo>
                      <a:pt x="0" y="0"/>
                    </a:moveTo>
                    <a:lnTo>
                      <a:pt x="1305491" y="0"/>
                    </a:lnTo>
                    <a:lnTo>
                      <a:pt x="1305491" y="870762"/>
                    </a:lnTo>
                    <a:lnTo>
                      <a:pt x="0" y="870762"/>
                    </a:lnTo>
                    <a:lnTo>
                      <a:pt x="0" y="0"/>
                    </a:lnTo>
                    <a:close/>
                  </a:path>
                </a:pathLst>
              </a:custGeom>
              <a:solidFill>
                <a:schemeClr val="bg1">
                  <a:lumMod val="85000"/>
                </a:schemeClr>
              </a:solidFill>
              <a:ln>
                <a:noFill/>
              </a:ln>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78232" rIns="0" bIns="78232" numCol="1" spcCol="1270" anchor="ctr" anchorCtr="0">
                <a:noAutofit/>
              </a:bodyPr>
              <a:lstStyle/>
              <a:p>
                <a:pPr marL="0" lvl="0" indent="0" algn="ctr" defTabSz="488950">
                  <a:lnSpc>
                    <a:spcPct val="90000"/>
                  </a:lnSpc>
                  <a:spcBef>
                    <a:spcPct val="0"/>
                  </a:spcBef>
                  <a:spcAft>
                    <a:spcPct val="35000"/>
                  </a:spcAft>
                  <a:buNone/>
                </a:pPr>
                <a:r>
                  <a:rPr lang="en-US" sz="1200" kern="1200" dirty="0"/>
                  <a:t>Financial Intelligence </a:t>
                </a:r>
                <a:br>
                  <a:rPr lang="en-US" sz="1200" kern="1200" dirty="0"/>
                </a:br>
                <a:r>
                  <a:rPr lang="en-US" sz="1200" kern="1200" dirty="0"/>
                  <a:t>Unit of India (FIU-IND)</a:t>
                </a:r>
              </a:p>
            </p:txBody>
          </p:sp>
          <p:sp>
            <p:nvSpPr>
              <p:cNvPr id="63" name="Freeform 50">
                <a:extLst>
                  <a:ext uri="{FF2B5EF4-FFF2-40B4-BE49-F238E27FC236}">
                    <a16:creationId xmlns:a16="http://schemas.microsoft.com/office/drawing/2014/main" id="{61237408-2F3A-8984-9AEE-64C4E86B3CF3}"/>
                  </a:ext>
                </a:extLst>
              </p:cNvPr>
              <p:cNvSpPr/>
              <p:nvPr/>
            </p:nvSpPr>
            <p:spPr>
              <a:xfrm>
                <a:off x="3636753" y="4371794"/>
                <a:ext cx="1947600" cy="828000"/>
              </a:xfrm>
              <a:custGeom>
                <a:avLst/>
                <a:gdLst>
                  <a:gd name="connsiteX0" fmla="*/ 0 w 1305491"/>
                  <a:gd name="connsiteY0" fmla="*/ 0 h 870762"/>
                  <a:gd name="connsiteX1" fmla="*/ 1305491 w 1305491"/>
                  <a:gd name="connsiteY1" fmla="*/ 0 h 870762"/>
                  <a:gd name="connsiteX2" fmla="*/ 1305491 w 1305491"/>
                  <a:gd name="connsiteY2" fmla="*/ 870762 h 870762"/>
                  <a:gd name="connsiteX3" fmla="*/ 0 w 1305491"/>
                  <a:gd name="connsiteY3" fmla="*/ 870762 h 870762"/>
                  <a:gd name="connsiteX4" fmla="*/ 0 w 1305491"/>
                  <a:gd name="connsiteY4" fmla="*/ 0 h 870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491" h="870762">
                    <a:moveTo>
                      <a:pt x="0" y="0"/>
                    </a:moveTo>
                    <a:lnTo>
                      <a:pt x="1305491" y="0"/>
                    </a:lnTo>
                    <a:lnTo>
                      <a:pt x="1305491" y="870762"/>
                    </a:lnTo>
                    <a:lnTo>
                      <a:pt x="0" y="870762"/>
                    </a:lnTo>
                    <a:lnTo>
                      <a:pt x="0" y="0"/>
                    </a:lnTo>
                    <a:close/>
                  </a:path>
                </a:pathLst>
              </a:custGeom>
              <a:solidFill>
                <a:schemeClr val="bg1">
                  <a:lumMod val="95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78232" rIns="0" bIns="78232" numCol="1" spcCol="1270" anchor="ctr" anchorCtr="0">
                <a:noAutofit/>
              </a:bodyPr>
              <a:lstStyle/>
              <a:p>
                <a:pPr marL="0" lvl="0" indent="0" algn="ctr" defTabSz="488950">
                  <a:lnSpc>
                    <a:spcPct val="90000"/>
                  </a:lnSpc>
                  <a:spcBef>
                    <a:spcPct val="0"/>
                  </a:spcBef>
                  <a:spcAft>
                    <a:spcPct val="35000"/>
                  </a:spcAft>
                  <a:buNone/>
                </a:pPr>
                <a:r>
                  <a:rPr lang="en-US" sz="1200" kern="1200" dirty="0"/>
                  <a:t>Reserve Bank of </a:t>
                </a:r>
                <a:br>
                  <a:rPr lang="en-US" sz="1200" kern="1200" dirty="0"/>
                </a:br>
                <a:r>
                  <a:rPr lang="en-US" sz="1200" kern="1200" dirty="0"/>
                  <a:t>India (RBI) – Master Directions</a:t>
                </a:r>
              </a:p>
            </p:txBody>
          </p:sp>
          <p:sp>
            <p:nvSpPr>
              <p:cNvPr id="128" name="Freeform 51">
                <a:extLst>
                  <a:ext uri="{FF2B5EF4-FFF2-40B4-BE49-F238E27FC236}">
                    <a16:creationId xmlns:a16="http://schemas.microsoft.com/office/drawing/2014/main" id="{F1E0099C-8FE6-5A7A-3DAB-BF03627254E8}"/>
                  </a:ext>
                </a:extLst>
              </p:cNvPr>
              <p:cNvSpPr/>
              <p:nvPr/>
            </p:nvSpPr>
            <p:spPr>
              <a:xfrm>
                <a:off x="3636753" y="5275518"/>
                <a:ext cx="1947600" cy="828000"/>
              </a:xfrm>
              <a:custGeom>
                <a:avLst/>
                <a:gdLst>
                  <a:gd name="connsiteX0" fmla="*/ 0 w 1305491"/>
                  <a:gd name="connsiteY0" fmla="*/ 0 h 870762"/>
                  <a:gd name="connsiteX1" fmla="*/ 1305491 w 1305491"/>
                  <a:gd name="connsiteY1" fmla="*/ 0 h 870762"/>
                  <a:gd name="connsiteX2" fmla="*/ 1305491 w 1305491"/>
                  <a:gd name="connsiteY2" fmla="*/ 870762 h 870762"/>
                  <a:gd name="connsiteX3" fmla="*/ 0 w 1305491"/>
                  <a:gd name="connsiteY3" fmla="*/ 870762 h 870762"/>
                  <a:gd name="connsiteX4" fmla="*/ 0 w 1305491"/>
                  <a:gd name="connsiteY4" fmla="*/ 0 h 870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491" h="870762">
                    <a:moveTo>
                      <a:pt x="0" y="0"/>
                    </a:moveTo>
                    <a:lnTo>
                      <a:pt x="1305491" y="0"/>
                    </a:lnTo>
                    <a:lnTo>
                      <a:pt x="1305491" y="870762"/>
                    </a:lnTo>
                    <a:lnTo>
                      <a:pt x="0" y="870762"/>
                    </a:lnTo>
                    <a:lnTo>
                      <a:pt x="0" y="0"/>
                    </a:lnTo>
                    <a:close/>
                  </a:path>
                </a:pathLst>
              </a:custGeom>
              <a:solidFill>
                <a:schemeClr val="bg1">
                  <a:lumMod val="85000"/>
                </a:schemeClr>
              </a:solidFill>
              <a:ln w="12700" cap="flat" cmpd="sng" algn="ctr">
                <a:no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0" tIns="85344" rIns="0" bIns="85344" numCol="1" spcCol="1270" anchor="ctr" anchorCtr="0">
                <a:noAutofit/>
              </a:bodyPr>
              <a:lstStyle/>
              <a:p>
                <a:pPr marL="0" lvl="0" indent="0" algn="ctr" defTabSz="488950">
                  <a:lnSpc>
                    <a:spcPct val="90000"/>
                  </a:lnSpc>
                  <a:spcBef>
                    <a:spcPct val="0"/>
                  </a:spcBef>
                  <a:spcAft>
                    <a:spcPct val="35000"/>
                  </a:spcAft>
                  <a:buNone/>
                </a:pPr>
                <a:r>
                  <a:rPr lang="en-US" sz="1200" kern="1200" dirty="0"/>
                  <a:t>Unlawful Activities (Prevention) Act, 1967</a:t>
                </a:r>
              </a:p>
            </p:txBody>
          </p:sp>
          <p:sp>
            <p:nvSpPr>
              <p:cNvPr id="129" name="Rectangle 128">
                <a:extLst>
                  <a:ext uri="{FF2B5EF4-FFF2-40B4-BE49-F238E27FC236}">
                    <a16:creationId xmlns:a16="http://schemas.microsoft.com/office/drawing/2014/main" id="{70D71513-C037-7888-61E1-E970E501EC4A}"/>
                  </a:ext>
                </a:extLst>
              </p:cNvPr>
              <p:cNvSpPr/>
              <p:nvPr/>
            </p:nvSpPr>
            <p:spPr>
              <a:xfrm>
                <a:off x="3636753" y="1147204"/>
                <a:ext cx="1947600" cy="451366"/>
              </a:xfrm>
              <a:prstGeom prst="rect">
                <a:avLst/>
              </a:prstGeom>
              <a:solidFill>
                <a:schemeClr val="accent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7456" tIns="127456" rIns="127456" bIns="127456" numCol="1" spcCol="1270" anchor="ctr" anchorCtr="0">
                <a:noAutofit/>
              </a:bodyPr>
              <a:lstStyle/>
              <a:p>
                <a:pPr marL="0" lvl="0" indent="0" algn="ctr" defTabSz="666750">
                  <a:lnSpc>
                    <a:spcPct val="90000"/>
                  </a:lnSpc>
                  <a:spcBef>
                    <a:spcPct val="0"/>
                  </a:spcBef>
                  <a:spcAft>
                    <a:spcPct val="35000"/>
                  </a:spcAft>
                  <a:buNone/>
                </a:pPr>
                <a:r>
                  <a:rPr lang="en-US" sz="1200" b="1" kern="1200" dirty="0"/>
                  <a:t>India</a:t>
                </a:r>
              </a:p>
            </p:txBody>
          </p:sp>
          <p:sp>
            <p:nvSpPr>
              <p:cNvPr id="130" name="Rectangle 129">
                <a:extLst>
                  <a:ext uri="{FF2B5EF4-FFF2-40B4-BE49-F238E27FC236}">
                    <a16:creationId xmlns:a16="http://schemas.microsoft.com/office/drawing/2014/main" id="{DBF87E29-3953-F532-5DAA-8F08937F7D1D}"/>
                  </a:ext>
                </a:extLst>
              </p:cNvPr>
              <p:cNvSpPr/>
              <p:nvPr/>
            </p:nvSpPr>
            <p:spPr>
              <a:xfrm>
                <a:off x="5649107" y="1150519"/>
                <a:ext cx="1947600" cy="451366"/>
              </a:xfrm>
              <a:prstGeom prst="rect">
                <a:avLst/>
              </a:prstGeom>
              <a:solidFill>
                <a:schemeClr val="accent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7456" tIns="127456" rIns="127456" bIns="127456" numCol="1" spcCol="1270" anchor="ctr" anchorCtr="0">
                <a:noAutofit/>
              </a:bodyPr>
              <a:lstStyle/>
              <a:p>
                <a:pPr marL="0" lvl="0" indent="0" algn="ctr" defTabSz="666750">
                  <a:lnSpc>
                    <a:spcPct val="90000"/>
                  </a:lnSpc>
                  <a:spcBef>
                    <a:spcPct val="0"/>
                  </a:spcBef>
                  <a:spcAft>
                    <a:spcPct val="35000"/>
                  </a:spcAft>
                  <a:buNone/>
                </a:pPr>
                <a:r>
                  <a:rPr lang="en-US" sz="1200" b="1" kern="1200" dirty="0">
                    <a:solidFill>
                      <a:schemeClr val="tx1"/>
                    </a:solidFill>
                  </a:rPr>
                  <a:t>Global</a:t>
                </a:r>
              </a:p>
            </p:txBody>
          </p:sp>
          <p:sp>
            <p:nvSpPr>
              <p:cNvPr id="131" name="Freeform 63">
                <a:extLst>
                  <a:ext uri="{FF2B5EF4-FFF2-40B4-BE49-F238E27FC236}">
                    <a16:creationId xmlns:a16="http://schemas.microsoft.com/office/drawing/2014/main" id="{54A70D8F-2AB4-6F49-E249-5532333CB7B3}"/>
                  </a:ext>
                </a:extLst>
              </p:cNvPr>
              <p:cNvSpPr/>
              <p:nvPr/>
            </p:nvSpPr>
            <p:spPr>
              <a:xfrm>
                <a:off x="5649107" y="1651587"/>
                <a:ext cx="1947600" cy="828000"/>
              </a:xfrm>
              <a:custGeom>
                <a:avLst/>
                <a:gdLst>
                  <a:gd name="connsiteX0" fmla="*/ 0 w 1305491"/>
                  <a:gd name="connsiteY0" fmla="*/ 0 h 870762"/>
                  <a:gd name="connsiteX1" fmla="*/ 1305491 w 1305491"/>
                  <a:gd name="connsiteY1" fmla="*/ 0 h 870762"/>
                  <a:gd name="connsiteX2" fmla="*/ 1305491 w 1305491"/>
                  <a:gd name="connsiteY2" fmla="*/ 870762 h 870762"/>
                  <a:gd name="connsiteX3" fmla="*/ 0 w 1305491"/>
                  <a:gd name="connsiteY3" fmla="*/ 870762 h 870762"/>
                  <a:gd name="connsiteX4" fmla="*/ 0 w 1305491"/>
                  <a:gd name="connsiteY4" fmla="*/ 0 h 870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491" h="870762">
                    <a:moveTo>
                      <a:pt x="0" y="0"/>
                    </a:moveTo>
                    <a:lnTo>
                      <a:pt x="1305491" y="0"/>
                    </a:lnTo>
                    <a:lnTo>
                      <a:pt x="1305491" y="870762"/>
                    </a:lnTo>
                    <a:lnTo>
                      <a:pt x="0" y="870762"/>
                    </a:lnTo>
                    <a:lnTo>
                      <a:pt x="0" y="0"/>
                    </a:lnTo>
                    <a:close/>
                  </a:path>
                </a:pathLst>
              </a:custGeom>
              <a:solidFill>
                <a:schemeClr val="bg1">
                  <a:lumMod val="95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78232" rIns="0" bIns="78232" numCol="1" spcCol="1270" anchor="ctr" anchorCtr="0">
                <a:noAutofit/>
              </a:bodyPr>
              <a:lstStyle/>
              <a:p>
                <a:pPr lvl="0" algn="ctr" defTabSz="488950">
                  <a:lnSpc>
                    <a:spcPct val="90000"/>
                  </a:lnSpc>
                  <a:spcBef>
                    <a:spcPct val="0"/>
                  </a:spcBef>
                  <a:spcAft>
                    <a:spcPct val="35000"/>
                  </a:spcAft>
                </a:pPr>
                <a:r>
                  <a:rPr lang="en-US" sz="1200" dirty="0"/>
                  <a:t>Financial Action Task Force (FATF)</a:t>
                </a:r>
              </a:p>
            </p:txBody>
          </p:sp>
          <p:sp>
            <p:nvSpPr>
              <p:cNvPr id="132" name="Freeform 64">
                <a:extLst>
                  <a:ext uri="{FF2B5EF4-FFF2-40B4-BE49-F238E27FC236}">
                    <a16:creationId xmlns:a16="http://schemas.microsoft.com/office/drawing/2014/main" id="{5A41E984-110A-499A-9524-59533D1940D6}"/>
                  </a:ext>
                </a:extLst>
              </p:cNvPr>
              <p:cNvSpPr/>
              <p:nvPr/>
            </p:nvSpPr>
            <p:spPr>
              <a:xfrm>
                <a:off x="5649107" y="2559662"/>
                <a:ext cx="1947600" cy="827088"/>
              </a:xfrm>
              <a:custGeom>
                <a:avLst/>
                <a:gdLst>
                  <a:gd name="connsiteX0" fmla="*/ 0 w 1305491"/>
                  <a:gd name="connsiteY0" fmla="*/ 0 h 870762"/>
                  <a:gd name="connsiteX1" fmla="*/ 1305491 w 1305491"/>
                  <a:gd name="connsiteY1" fmla="*/ 0 h 870762"/>
                  <a:gd name="connsiteX2" fmla="*/ 1305491 w 1305491"/>
                  <a:gd name="connsiteY2" fmla="*/ 870762 h 870762"/>
                  <a:gd name="connsiteX3" fmla="*/ 0 w 1305491"/>
                  <a:gd name="connsiteY3" fmla="*/ 870762 h 870762"/>
                  <a:gd name="connsiteX4" fmla="*/ 0 w 1305491"/>
                  <a:gd name="connsiteY4" fmla="*/ 0 h 870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491" h="870762">
                    <a:moveTo>
                      <a:pt x="0" y="0"/>
                    </a:moveTo>
                    <a:lnTo>
                      <a:pt x="1305491" y="0"/>
                    </a:lnTo>
                    <a:lnTo>
                      <a:pt x="1305491" y="870762"/>
                    </a:lnTo>
                    <a:lnTo>
                      <a:pt x="0" y="870762"/>
                    </a:lnTo>
                    <a:lnTo>
                      <a:pt x="0" y="0"/>
                    </a:lnTo>
                    <a:close/>
                  </a:path>
                </a:pathLst>
              </a:custGeom>
              <a:solidFill>
                <a:schemeClr val="bg1">
                  <a:lumMod val="85000"/>
                </a:schemeClr>
              </a:solidFill>
              <a:ln>
                <a:noFill/>
              </a:ln>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78232" rIns="0" bIns="78232" numCol="1" spcCol="1270" anchor="ctr" anchorCtr="0">
                <a:noAutofit/>
              </a:bodyPr>
              <a:lstStyle/>
              <a:p>
                <a:pPr lvl="0" algn="ctr" defTabSz="488950">
                  <a:lnSpc>
                    <a:spcPct val="90000"/>
                  </a:lnSpc>
                  <a:spcBef>
                    <a:spcPct val="0"/>
                  </a:spcBef>
                  <a:spcAft>
                    <a:spcPct val="35000"/>
                  </a:spcAft>
                </a:pPr>
                <a:r>
                  <a:rPr lang="en-US" sz="1200" dirty="0"/>
                  <a:t>Wolfsberg Group</a:t>
                </a:r>
              </a:p>
            </p:txBody>
          </p:sp>
          <p:sp>
            <p:nvSpPr>
              <p:cNvPr id="133" name="Freeform 65">
                <a:extLst>
                  <a:ext uri="{FF2B5EF4-FFF2-40B4-BE49-F238E27FC236}">
                    <a16:creationId xmlns:a16="http://schemas.microsoft.com/office/drawing/2014/main" id="{C13AFA2C-4D0A-D7AF-7BE3-C1CBCE5E7E44}"/>
                  </a:ext>
                </a:extLst>
              </p:cNvPr>
              <p:cNvSpPr/>
              <p:nvPr/>
            </p:nvSpPr>
            <p:spPr>
              <a:xfrm>
                <a:off x="5649107" y="3467287"/>
                <a:ext cx="1947600" cy="827088"/>
              </a:xfrm>
              <a:custGeom>
                <a:avLst/>
                <a:gdLst>
                  <a:gd name="connsiteX0" fmla="*/ 0 w 1305491"/>
                  <a:gd name="connsiteY0" fmla="*/ 0 h 870762"/>
                  <a:gd name="connsiteX1" fmla="*/ 1305491 w 1305491"/>
                  <a:gd name="connsiteY1" fmla="*/ 0 h 870762"/>
                  <a:gd name="connsiteX2" fmla="*/ 1305491 w 1305491"/>
                  <a:gd name="connsiteY2" fmla="*/ 870762 h 870762"/>
                  <a:gd name="connsiteX3" fmla="*/ 0 w 1305491"/>
                  <a:gd name="connsiteY3" fmla="*/ 870762 h 870762"/>
                  <a:gd name="connsiteX4" fmla="*/ 0 w 1305491"/>
                  <a:gd name="connsiteY4" fmla="*/ 0 h 870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491" h="870762">
                    <a:moveTo>
                      <a:pt x="0" y="0"/>
                    </a:moveTo>
                    <a:lnTo>
                      <a:pt x="1305491" y="0"/>
                    </a:lnTo>
                    <a:lnTo>
                      <a:pt x="1305491" y="870762"/>
                    </a:lnTo>
                    <a:lnTo>
                      <a:pt x="0" y="870762"/>
                    </a:lnTo>
                    <a:lnTo>
                      <a:pt x="0" y="0"/>
                    </a:lnTo>
                    <a:close/>
                  </a:path>
                </a:pathLst>
              </a:custGeom>
              <a:solidFill>
                <a:schemeClr val="bg1">
                  <a:lumMod val="95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78232" rIns="0" bIns="78232" numCol="1" spcCol="1270" anchor="ctr" anchorCtr="0">
                <a:noAutofit/>
              </a:bodyPr>
              <a:lstStyle/>
              <a:p>
                <a:pPr lvl="0" algn="ctr" defTabSz="488950">
                  <a:lnSpc>
                    <a:spcPct val="90000"/>
                  </a:lnSpc>
                  <a:spcBef>
                    <a:spcPct val="0"/>
                  </a:spcBef>
                  <a:spcAft>
                    <a:spcPct val="35000"/>
                  </a:spcAft>
                </a:pPr>
                <a:r>
                  <a:rPr lang="en-US" sz="1200" dirty="0"/>
                  <a:t>Basel Committee</a:t>
                </a:r>
              </a:p>
            </p:txBody>
          </p:sp>
          <p:sp>
            <p:nvSpPr>
              <p:cNvPr id="134" name="Freeform 66">
                <a:extLst>
                  <a:ext uri="{FF2B5EF4-FFF2-40B4-BE49-F238E27FC236}">
                    <a16:creationId xmlns:a16="http://schemas.microsoft.com/office/drawing/2014/main" id="{40BB0F0E-B514-2F20-D335-3F09CF71C168}"/>
                  </a:ext>
                </a:extLst>
              </p:cNvPr>
              <p:cNvSpPr/>
              <p:nvPr/>
            </p:nvSpPr>
            <p:spPr>
              <a:xfrm>
                <a:off x="5649107" y="4374911"/>
                <a:ext cx="1947600" cy="827088"/>
              </a:xfrm>
              <a:custGeom>
                <a:avLst/>
                <a:gdLst>
                  <a:gd name="connsiteX0" fmla="*/ 0 w 1305491"/>
                  <a:gd name="connsiteY0" fmla="*/ 0 h 870762"/>
                  <a:gd name="connsiteX1" fmla="*/ 1305491 w 1305491"/>
                  <a:gd name="connsiteY1" fmla="*/ 0 h 870762"/>
                  <a:gd name="connsiteX2" fmla="*/ 1305491 w 1305491"/>
                  <a:gd name="connsiteY2" fmla="*/ 870762 h 870762"/>
                  <a:gd name="connsiteX3" fmla="*/ 0 w 1305491"/>
                  <a:gd name="connsiteY3" fmla="*/ 870762 h 870762"/>
                  <a:gd name="connsiteX4" fmla="*/ 0 w 1305491"/>
                  <a:gd name="connsiteY4" fmla="*/ 0 h 870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491" h="870762">
                    <a:moveTo>
                      <a:pt x="0" y="0"/>
                    </a:moveTo>
                    <a:lnTo>
                      <a:pt x="1305491" y="0"/>
                    </a:lnTo>
                    <a:lnTo>
                      <a:pt x="1305491" y="870762"/>
                    </a:lnTo>
                    <a:lnTo>
                      <a:pt x="0" y="870762"/>
                    </a:lnTo>
                    <a:lnTo>
                      <a:pt x="0" y="0"/>
                    </a:lnTo>
                    <a:close/>
                  </a:path>
                </a:pathLst>
              </a:custGeom>
              <a:solidFill>
                <a:schemeClr val="bg1">
                  <a:lumMod val="85000"/>
                </a:schemeClr>
              </a:solidFill>
              <a:ln w="12700" cap="flat" cmpd="sng" algn="ctr">
                <a:no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0" tIns="85344" rIns="0" bIns="85344" numCol="1" spcCol="1270" anchor="ctr" anchorCtr="0">
                <a:noAutofit/>
              </a:bodyPr>
              <a:lstStyle/>
              <a:p>
                <a:pPr lvl="0" algn="ctr" defTabSz="488950">
                  <a:lnSpc>
                    <a:spcPct val="90000"/>
                  </a:lnSpc>
                  <a:spcBef>
                    <a:spcPct val="0"/>
                  </a:spcBef>
                  <a:spcAft>
                    <a:spcPct val="35000"/>
                  </a:spcAft>
                </a:pPr>
                <a:r>
                  <a:rPr lang="en-US" sz="1200" dirty="0"/>
                  <a:t>Egmont Group</a:t>
                </a:r>
              </a:p>
            </p:txBody>
          </p:sp>
          <p:sp>
            <p:nvSpPr>
              <p:cNvPr id="135" name="Freeform 67">
                <a:extLst>
                  <a:ext uri="{FF2B5EF4-FFF2-40B4-BE49-F238E27FC236}">
                    <a16:creationId xmlns:a16="http://schemas.microsoft.com/office/drawing/2014/main" id="{592111E6-63C5-90FC-3D45-33AE0D2CE3CA}"/>
                  </a:ext>
                </a:extLst>
              </p:cNvPr>
              <p:cNvSpPr/>
              <p:nvPr/>
            </p:nvSpPr>
            <p:spPr>
              <a:xfrm>
                <a:off x="5649107" y="5276430"/>
                <a:ext cx="1947600" cy="827088"/>
              </a:xfrm>
              <a:custGeom>
                <a:avLst/>
                <a:gdLst>
                  <a:gd name="connsiteX0" fmla="*/ 0 w 1305491"/>
                  <a:gd name="connsiteY0" fmla="*/ 0 h 870762"/>
                  <a:gd name="connsiteX1" fmla="*/ 1305491 w 1305491"/>
                  <a:gd name="connsiteY1" fmla="*/ 0 h 870762"/>
                  <a:gd name="connsiteX2" fmla="*/ 1305491 w 1305491"/>
                  <a:gd name="connsiteY2" fmla="*/ 870762 h 870762"/>
                  <a:gd name="connsiteX3" fmla="*/ 0 w 1305491"/>
                  <a:gd name="connsiteY3" fmla="*/ 870762 h 870762"/>
                  <a:gd name="connsiteX4" fmla="*/ 0 w 1305491"/>
                  <a:gd name="connsiteY4" fmla="*/ 0 h 870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491" h="870762">
                    <a:moveTo>
                      <a:pt x="0" y="0"/>
                    </a:moveTo>
                    <a:lnTo>
                      <a:pt x="1305491" y="0"/>
                    </a:lnTo>
                    <a:lnTo>
                      <a:pt x="1305491" y="870762"/>
                    </a:lnTo>
                    <a:lnTo>
                      <a:pt x="0" y="870762"/>
                    </a:lnTo>
                    <a:lnTo>
                      <a:pt x="0" y="0"/>
                    </a:lnTo>
                    <a:close/>
                  </a:path>
                </a:pathLst>
              </a:custGeom>
              <a:solidFill>
                <a:schemeClr val="bg1">
                  <a:lumMod val="95000"/>
                </a:schemeClr>
              </a:solidFill>
              <a:ln w="12700" cap="flat" cmpd="sng" algn="ctr">
                <a:noFill/>
                <a:prstDash val="solid"/>
                <a:miter lim="800000"/>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0" tIns="85344" rIns="0" bIns="85344" numCol="1" spcCol="1270" anchor="ctr" anchorCtr="0">
                <a:noAutofit/>
              </a:bodyPr>
              <a:lstStyle/>
              <a:p>
                <a:pPr lvl="0" algn="ctr" defTabSz="533400">
                  <a:lnSpc>
                    <a:spcPct val="90000"/>
                  </a:lnSpc>
                  <a:spcBef>
                    <a:spcPct val="0"/>
                  </a:spcBef>
                  <a:spcAft>
                    <a:spcPct val="35000"/>
                  </a:spcAft>
                </a:pPr>
                <a:r>
                  <a:rPr lang="en-US" sz="1200" dirty="0">
                    <a:solidFill>
                      <a:prstClr val="black">
                        <a:hueOff val="0"/>
                        <a:satOff val="0"/>
                        <a:lumOff val="0"/>
                        <a:alphaOff val="0"/>
                      </a:prstClr>
                    </a:solidFill>
                  </a:rPr>
                  <a:t>United</a:t>
                </a:r>
                <a:r>
                  <a:rPr lang="en-US" sz="1200" dirty="0"/>
                  <a:t> Nations Office on Drugs </a:t>
                </a:r>
                <a:br>
                  <a:rPr lang="en-US" sz="1200" dirty="0"/>
                </a:br>
                <a:r>
                  <a:rPr lang="en-US" sz="1200" dirty="0"/>
                  <a:t>and Crime</a:t>
                </a:r>
              </a:p>
            </p:txBody>
          </p:sp>
        </p:grpSp>
        <p:sp>
          <p:nvSpPr>
            <p:cNvPr id="60" name="Freeform 45">
              <a:extLst>
                <a:ext uri="{FF2B5EF4-FFF2-40B4-BE49-F238E27FC236}">
                  <a16:creationId xmlns:a16="http://schemas.microsoft.com/office/drawing/2014/main" id="{38981A32-AE73-1831-BE3A-BC394B258814}"/>
                </a:ext>
              </a:extLst>
            </p:cNvPr>
            <p:cNvSpPr/>
            <p:nvPr/>
          </p:nvSpPr>
          <p:spPr>
            <a:xfrm>
              <a:off x="3334112" y="1720268"/>
              <a:ext cx="2533368" cy="828000"/>
            </a:xfrm>
            <a:custGeom>
              <a:avLst/>
              <a:gdLst>
                <a:gd name="connsiteX0" fmla="*/ 0 w 1305491"/>
                <a:gd name="connsiteY0" fmla="*/ 0 h 870762"/>
                <a:gd name="connsiteX1" fmla="*/ 1305491 w 1305491"/>
                <a:gd name="connsiteY1" fmla="*/ 0 h 870762"/>
                <a:gd name="connsiteX2" fmla="*/ 1305491 w 1305491"/>
                <a:gd name="connsiteY2" fmla="*/ 870762 h 870762"/>
                <a:gd name="connsiteX3" fmla="*/ 0 w 1305491"/>
                <a:gd name="connsiteY3" fmla="*/ 870762 h 870762"/>
                <a:gd name="connsiteX4" fmla="*/ 0 w 1305491"/>
                <a:gd name="connsiteY4" fmla="*/ 0 h 870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491" h="870762">
                  <a:moveTo>
                    <a:pt x="0" y="0"/>
                  </a:moveTo>
                  <a:lnTo>
                    <a:pt x="1305491" y="0"/>
                  </a:lnTo>
                  <a:lnTo>
                    <a:pt x="1305491" y="870762"/>
                  </a:lnTo>
                  <a:lnTo>
                    <a:pt x="0" y="870762"/>
                  </a:lnTo>
                  <a:lnTo>
                    <a:pt x="0" y="0"/>
                  </a:lnTo>
                  <a:close/>
                </a:path>
              </a:pathLst>
            </a:custGeom>
            <a:solidFill>
              <a:schemeClr val="bg1">
                <a:lumMod val="85000"/>
              </a:schemeClr>
            </a:solidFill>
            <a:ln>
              <a:noFill/>
            </a:ln>
          </p:spPr>
          <p:style>
            <a:lnRef idx="2">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0" tIns="78232" rIns="0" bIns="78232" numCol="1" spcCol="1270" anchor="ctr" anchorCtr="0">
              <a:noAutofit/>
            </a:bodyPr>
            <a:lstStyle/>
            <a:p>
              <a:pPr algn="ctr"/>
              <a:r>
                <a:rPr lang="en-US" sz="1200" dirty="0"/>
                <a:t>Guidelines by Regulators (ICAI, ICSI, ICWAI)</a:t>
              </a:r>
            </a:p>
          </p:txBody>
        </p:sp>
      </p:grpSp>
    </p:spTree>
    <p:custDataLst>
      <p:custData r:id="rId2"/>
    </p:custDataLst>
    <p:extLst>
      <p:ext uri="{BB962C8B-B14F-4D97-AF65-F5344CB8AC3E}">
        <p14:creationId xmlns:p14="http://schemas.microsoft.com/office/powerpoint/2010/main" val="33432358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4DA136-1EA4-F7C5-200C-77C4257A5B8E}"/>
              </a:ext>
            </a:extLst>
          </p:cNvPr>
          <p:cNvGraphicFramePr>
            <a:graphicFrameLocks noChangeAspect="1"/>
          </p:cNvGraphicFramePr>
          <p:nvPr>
            <p:custDataLst>
              <p:tags r:id="rId3"/>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261" name="think-cell Slide" r:id="rId6" imgW="7772400" imgH="10058400" progId="TCLayout.ActiveDocument.1">
                  <p:embed/>
                </p:oleObj>
              </mc:Choice>
              <mc:Fallback>
                <p:oleObj name="think-cell Slide" r:id="rId6" imgW="7772400" imgH="10058400" progId="TCLayout.ActiveDocument.1">
                  <p:embed/>
                  <p:pic>
                    <p:nvPicPr>
                      <p:cNvPr id="10" name="Object 9" hidden="1">
                        <a:extLst>
                          <a:ext uri="{FF2B5EF4-FFF2-40B4-BE49-F238E27FC236}">
                            <a16:creationId xmlns:a16="http://schemas.microsoft.com/office/drawing/2014/main" id="{2D4DA136-1EA4-F7C5-200C-77C4257A5B8E}"/>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2F8DBAD9-2FB4-3D45-BD3C-AE82E5DD7804}"/>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169" name="TextBox 168">
            <a:extLst>
              <a:ext uri="{FF2B5EF4-FFF2-40B4-BE49-F238E27FC236}">
                <a16:creationId xmlns:a16="http://schemas.microsoft.com/office/drawing/2014/main" id="{20452E5A-2247-49EF-A923-10AF3F688F10}"/>
              </a:ext>
            </a:extLst>
          </p:cNvPr>
          <p:cNvSpPr txBox="1"/>
          <p:nvPr/>
        </p:nvSpPr>
        <p:spPr>
          <a:xfrm>
            <a:off x="349820" y="318107"/>
            <a:ext cx="11380218" cy="523220"/>
          </a:xfrm>
          <a:prstGeom prst="rect">
            <a:avLst/>
          </a:prstGeom>
          <a:noFill/>
        </p:spPr>
        <p:txBody>
          <a:bodyPr wrap="square">
            <a:spAutoFit/>
          </a:bodyPr>
          <a:lstStyle/>
          <a:p>
            <a:pPr lvl="0">
              <a:defRPr/>
            </a:pPr>
            <a:r>
              <a:rPr lang="en-US" sz="2800" dirty="0">
                <a:solidFill>
                  <a:srgbClr val="000000"/>
                </a:solidFill>
                <a:latin typeface="Georgia"/>
                <a:ea typeface="Georgia"/>
                <a:cs typeface="Georgia"/>
                <a:sym typeface="Georgia"/>
              </a:rPr>
              <a:t>Prevention of Money Laundering Act, 2002 (“PMLA”)</a:t>
            </a:r>
          </a:p>
        </p:txBody>
      </p:sp>
      <p:sp>
        <p:nvSpPr>
          <p:cNvPr id="2" name="Rectangle 1">
            <a:extLst>
              <a:ext uri="{FF2B5EF4-FFF2-40B4-BE49-F238E27FC236}">
                <a16:creationId xmlns:a16="http://schemas.microsoft.com/office/drawing/2014/main" id="{D3E82E12-CB3F-8998-950F-A2D45F6DB6BF}"/>
              </a:ext>
            </a:extLst>
          </p:cNvPr>
          <p:cNvSpPr/>
          <p:nvPr/>
        </p:nvSpPr>
        <p:spPr bwMode="gray">
          <a:xfrm>
            <a:off x="0" y="0"/>
            <a:ext cx="12192000" cy="137160"/>
          </a:xfrm>
          <a:prstGeom prst="rect">
            <a:avLst/>
          </a:prstGeom>
          <a:solidFill>
            <a:schemeClr val="accent3"/>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14" name="Google Shape;242;p21">
            <a:extLst>
              <a:ext uri="{FF2B5EF4-FFF2-40B4-BE49-F238E27FC236}">
                <a16:creationId xmlns:a16="http://schemas.microsoft.com/office/drawing/2014/main" id="{4E026ED6-A4FD-05D4-A302-B0D93FBB03A2}"/>
              </a:ext>
            </a:extLst>
          </p:cNvPr>
          <p:cNvSpPr/>
          <p:nvPr/>
        </p:nvSpPr>
        <p:spPr>
          <a:xfrm>
            <a:off x="442913" y="1239144"/>
            <a:ext cx="11306175" cy="664456"/>
          </a:xfrm>
          <a:prstGeom prst="rect">
            <a:avLst/>
          </a:prstGeom>
          <a:solidFill>
            <a:srgbClr val="2D2D2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7456" tIns="127456" rIns="127456" bIns="127456" numCol="1" spcCol="1270" anchor="ctr" anchorCtr="0">
            <a:noAutofit/>
          </a:bodyPr>
          <a:lstStyle/>
          <a:p>
            <a:pPr defTabSz="666750">
              <a:spcBef>
                <a:spcPct val="0"/>
              </a:spcBef>
              <a:spcAft>
                <a:spcPct val="35000"/>
              </a:spcAft>
            </a:pPr>
            <a:r>
              <a:rPr lang="en-US" sz="1400" dirty="0">
                <a:solidFill>
                  <a:schemeClr val="bg1"/>
                </a:solidFill>
              </a:rPr>
              <a:t>The Prevention of Money Laundering Act, 2002 (“PMLA”) is an Act of the Parliament of India enacted to prevent money-laundering and to provide for confiscation of property derived from money-laundering. </a:t>
            </a:r>
          </a:p>
        </p:txBody>
      </p:sp>
      <p:sp>
        <p:nvSpPr>
          <p:cNvPr id="17" name="Rectangle 16">
            <a:extLst>
              <a:ext uri="{FF2B5EF4-FFF2-40B4-BE49-F238E27FC236}">
                <a16:creationId xmlns:a16="http://schemas.microsoft.com/office/drawing/2014/main" id="{F390D570-7FB6-100D-FC05-83ABD659FE55}"/>
              </a:ext>
            </a:extLst>
          </p:cNvPr>
          <p:cNvSpPr/>
          <p:nvPr/>
        </p:nvSpPr>
        <p:spPr bwMode="gray">
          <a:xfrm>
            <a:off x="442913" y="1982814"/>
            <a:ext cx="5468790" cy="366981"/>
          </a:xfrm>
          <a:prstGeom prst="rect">
            <a:avLst/>
          </a:prstGeom>
          <a:solidFill>
            <a:schemeClr val="accent3"/>
          </a:solidFill>
          <a:ln w="3175">
            <a:noFill/>
            <a:round/>
            <a:headEnd/>
            <a:tailEnd/>
          </a:ln>
        </p:spPr>
        <p:txBody>
          <a:bodyPr lIns="0" tIns="0" rIns="0" bIns="0" rtlCol="0" anchor="ctr"/>
          <a:lstStyle/>
          <a:p>
            <a:pPr algn="ctr" defTabSz="685463"/>
            <a:endParaRPr lang="en-US" sz="1200" b="1" kern="0" dirty="0">
              <a:cs typeface="Arial" charset="0"/>
            </a:endParaRPr>
          </a:p>
        </p:txBody>
      </p:sp>
      <p:sp>
        <p:nvSpPr>
          <p:cNvPr id="24" name="TextBox 23">
            <a:extLst>
              <a:ext uri="{FF2B5EF4-FFF2-40B4-BE49-F238E27FC236}">
                <a16:creationId xmlns:a16="http://schemas.microsoft.com/office/drawing/2014/main" id="{660EEC90-EB5A-07B3-490E-FB3881382025}"/>
              </a:ext>
            </a:extLst>
          </p:cNvPr>
          <p:cNvSpPr txBox="1"/>
          <p:nvPr/>
        </p:nvSpPr>
        <p:spPr>
          <a:xfrm>
            <a:off x="456417" y="2022814"/>
            <a:ext cx="3515507" cy="307777"/>
          </a:xfrm>
          <a:prstGeom prst="rect">
            <a:avLst/>
          </a:prstGeom>
          <a:noFill/>
        </p:spPr>
        <p:txBody>
          <a:bodyPr wrap="square">
            <a:spAutoFit/>
          </a:bodyPr>
          <a:lstStyle/>
          <a:p>
            <a:pPr algn="ctr"/>
            <a:r>
              <a:rPr lang="en-US" sz="1400" b="1" i="0" u="none" strike="noStrike" baseline="0" dirty="0">
                <a:solidFill>
                  <a:schemeClr val="bg1"/>
                </a:solidFill>
              </a:rPr>
              <a:t>Background</a:t>
            </a:r>
            <a:endParaRPr lang="en-US" sz="1400" b="1" dirty="0">
              <a:solidFill>
                <a:schemeClr val="bg1"/>
              </a:solidFill>
            </a:endParaRPr>
          </a:p>
        </p:txBody>
      </p:sp>
      <p:sp>
        <p:nvSpPr>
          <p:cNvPr id="8" name="Rounded Rectangle 26">
            <a:extLst>
              <a:ext uri="{FF2B5EF4-FFF2-40B4-BE49-F238E27FC236}">
                <a16:creationId xmlns:a16="http://schemas.microsoft.com/office/drawing/2014/main" id="{C5E3BB47-D27B-4D42-8A68-597791DC747F}"/>
              </a:ext>
            </a:extLst>
          </p:cNvPr>
          <p:cNvSpPr>
            <a:spLocks/>
          </p:cNvSpPr>
          <p:nvPr/>
        </p:nvSpPr>
        <p:spPr>
          <a:xfrm>
            <a:off x="509840" y="2526838"/>
            <a:ext cx="601197" cy="299778"/>
          </a:xfrm>
          <a:prstGeom prst="rect">
            <a:avLst/>
          </a:prstGeom>
          <a:solidFill>
            <a:schemeClr val="bg1"/>
          </a:solidFill>
          <a:ln w="3175" cap="flat" cmpd="sng" algn="ctr">
            <a:solidFill>
              <a:schemeClr val="accent2"/>
            </a:solidFill>
            <a:prstDash val="solid"/>
          </a:ln>
          <a:effectLst/>
        </p:spPr>
        <p:txBody>
          <a:bodyPr anchor="ctr"/>
          <a:lstStyle/>
          <a:p>
            <a:pPr algn="ctr">
              <a:defRPr/>
            </a:pPr>
            <a:endParaRPr lang="en-IN" sz="1400" kern="0" dirty="0">
              <a:solidFill>
                <a:srgbClr val="FFFFFF"/>
              </a:solidFill>
            </a:endParaRPr>
          </a:p>
        </p:txBody>
      </p:sp>
      <p:sp>
        <p:nvSpPr>
          <p:cNvPr id="9" name="Rectangle 8">
            <a:extLst>
              <a:ext uri="{FF2B5EF4-FFF2-40B4-BE49-F238E27FC236}">
                <a16:creationId xmlns:a16="http://schemas.microsoft.com/office/drawing/2014/main" id="{C02F917F-1ADA-CE45-A314-57B74A97302F}"/>
              </a:ext>
            </a:extLst>
          </p:cNvPr>
          <p:cNvSpPr>
            <a:spLocks/>
          </p:cNvSpPr>
          <p:nvPr/>
        </p:nvSpPr>
        <p:spPr>
          <a:xfrm>
            <a:off x="771899" y="2526838"/>
            <a:ext cx="5144714" cy="286795"/>
          </a:xfrm>
          <a:prstGeom prst="rect">
            <a:avLst/>
          </a:prstGeom>
          <a:solidFill>
            <a:schemeClr val="bg1"/>
          </a:solidFill>
          <a:ln w="3175" cap="flat" cmpd="sng" algn="ctr">
            <a:solidFill>
              <a:schemeClr val="accent2"/>
            </a:solidFill>
            <a:prstDash val="solid"/>
          </a:ln>
          <a:effectLst/>
        </p:spPr>
        <p:txBody>
          <a:bodyPr lIns="822960" anchor="ctr"/>
          <a:lstStyle/>
          <a:p>
            <a:pPr>
              <a:buClr>
                <a:schemeClr val="tx1"/>
              </a:buClr>
            </a:pPr>
            <a:r>
              <a:rPr lang="en-US" sz="1100" b="1" dirty="0"/>
              <a:t>Effective July 1, 2005</a:t>
            </a:r>
          </a:p>
        </p:txBody>
      </p:sp>
      <p:cxnSp>
        <p:nvCxnSpPr>
          <p:cNvPr id="11" name="Straight Connector 10">
            <a:extLst>
              <a:ext uri="{FF2B5EF4-FFF2-40B4-BE49-F238E27FC236}">
                <a16:creationId xmlns:a16="http://schemas.microsoft.com/office/drawing/2014/main" id="{B10E58E7-DAFB-D1D0-F829-3A5CEF982F27}"/>
              </a:ext>
            </a:extLst>
          </p:cNvPr>
          <p:cNvCxnSpPr/>
          <p:nvPr/>
        </p:nvCxnSpPr>
        <p:spPr>
          <a:xfrm>
            <a:off x="564893" y="2674401"/>
            <a:ext cx="247744" cy="917"/>
          </a:xfrm>
          <a:prstGeom prst="line">
            <a:avLst/>
          </a:prstGeom>
          <a:ln w="28575">
            <a:solidFill>
              <a:schemeClr val="accent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 name="Oval 12">
            <a:extLst>
              <a:ext uri="{FF2B5EF4-FFF2-40B4-BE49-F238E27FC236}">
                <a16:creationId xmlns:a16="http://schemas.microsoft.com/office/drawing/2014/main" id="{19BD98CC-A7F1-8C58-525B-12BA2B67DC89}"/>
              </a:ext>
            </a:extLst>
          </p:cNvPr>
          <p:cNvSpPr/>
          <p:nvPr/>
        </p:nvSpPr>
        <p:spPr>
          <a:xfrm>
            <a:off x="453064" y="2624268"/>
            <a:ext cx="107862" cy="109851"/>
          </a:xfrm>
          <a:prstGeom prst="ellipse">
            <a:avLst/>
          </a:prstGeom>
          <a:solidFill>
            <a:schemeClr val="accent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IN" sz="1600" b="1" baseline="-25000" dirty="0">
              <a:solidFill>
                <a:schemeClr val="bg1"/>
              </a:solidFill>
              <a:cs typeface="Arial" panose="020B0604020202020204" pitchFamily="34" charset="0"/>
            </a:endParaRPr>
          </a:p>
        </p:txBody>
      </p:sp>
      <p:sp>
        <p:nvSpPr>
          <p:cNvPr id="15" name="Rectangle 14">
            <a:extLst>
              <a:ext uri="{FF2B5EF4-FFF2-40B4-BE49-F238E27FC236}">
                <a16:creationId xmlns:a16="http://schemas.microsoft.com/office/drawing/2014/main" id="{CDD1F5F4-B434-192B-BE16-10D0AD6631C1}"/>
              </a:ext>
            </a:extLst>
          </p:cNvPr>
          <p:cNvSpPr>
            <a:spLocks/>
          </p:cNvSpPr>
          <p:nvPr/>
        </p:nvSpPr>
        <p:spPr>
          <a:xfrm>
            <a:off x="771899" y="2526838"/>
            <a:ext cx="572156" cy="299778"/>
          </a:xfrm>
          <a:prstGeom prst="rect">
            <a:avLst/>
          </a:prstGeom>
          <a:solidFill>
            <a:schemeClr val="accent2"/>
          </a:solidFill>
          <a:ln w="317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1400" b="1" dirty="0">
                <a:solidFill>
                  <a:schemeClr val="tx1"/>
                </a:solidFill>
                <a:cs typeface="Arial" panose="020B0604020202020204" pitchFamily="34" charset="0"/>
              </a:rPr>
              <a:t>1</a:t>
            </a:r>
          </a:p>
        </p:txBody>
      </p:sp>
      <p:sp>
        <p:nvSpPr>
          <p:cNvPr id="21" name="Rounded Rectangle 26">
            <a:extLst>
              <a:ext uri="{FF2B5EF4-FFF2-40B4-BE49-F238E27FC236}">
                <a16:creationId xmlns:a16="http://schemas.microsoft.com/office/drawing/2014/main" id="{9BDDF92F-46CC-801A-5D6A-C62E42576E5E}"/>
              </a:ext>
            </a:extLst>
          </p:cNvPr>
          <p:cNvSpPr>
            <a:spLocks/>
          </p:cNvSpPr>
          <p:nvPr/>
        </p:nvSpPr>
        <p:spPr>
          <a:xfrm>
            <a:off x="509840" y="3006483"/>
            <a:ext cx="601197" cy="299778"/>
          </a:xfrm>
          <a:prstGeom prst="rect">
            <a:avLst/>
          </a:prstGeom>
          <a:solidFill>
            <a:schemeClr val="bg1"/>
          </a:solidFill>
          <a:ln w="3175" cap="flat" cmpd="sng" algn="ctr">
            <a:solidFill>
              <a:schemeClr val="accent6"/>
            </a:solidFill>
            <a:prstDash val="solid"/>
          </a:ln>
          <a:effectLst/>
        </p:spPr>
        <p:txBody>
          <a:bodyPr anchor="ctr"/>
          <a:lstStyle/>
          <a:p>
            <a:pPr algn="ctr">
              <a:defRPr/>
            </a:pPr>
            <a:endParaRPr lang="en-IN" sz="1400" kern="0" dirty="0">
              <a:solidFill>
                <a:srgbClr val="FFFFFF"/>
              </a:solidFill>
            </a:endParaRPr>
          </a:p>
        </p:txBody>
      </p:sp>
      <p:sp>
        <p:nvSpPr>
          <p:cNvPr id="22" name="Rectangle 21">
            <a:extLst>
              <a:ext uri="{FF2B5EF4-FFF2-40B4-BE49-F238E27FC236}">
                <a16:creationId xmlns:a16="http://schemas.microsoft.com/office/drawing/2014/main" id="{02CBB8AF-EE29-2220-E311-87F3B365516F}"/>
              </a:ext>
            </a:extLst>
          </p:cNvPr>
          <p:cNvSpPr>
            <a:spLocks/>
          </p:cNvSpPr>
          <p:nvPr/>
        </p:nvSpPr>
        <p:spPr>
          <a:xfrm>
            <a:off x="771899" y="3006483"/>
            <a:ext cx="5144714" cy="341331"/>
          </a:xfrm>
          <a:prstGeom prst="rect">
            <a:avLst/>
          </a:prstGeom>
          <a:solidFill>
            <a:schemeClr val="bg1"/>
          </a:solidFill>
          <a:ln w="3175" cap="flat" cmpd="sng" algn="ctr">
            <a:solidFill>
              <a:schemeClr val="accent6"/>
            </a:solidFill>
            <a:prstDash val="solid"/>
          </a:ln>
          <a:effectLst/>
        </p:spPr>
        <p:txBody>
          <a:bodyPr lIns="822960" anchor="ctr"/>
          <a:lstStyle/>
          <a:p>
            <a:pPr>
              <a:buClr>
                <a:schemeClr val="tx1"/>
              </a:buClr>
            </a:pPr>
            <a:r>
              <a:rPr lang="en-US" sz="1100" b="1" dirty="0"/>
              <a:t>Financial Intelligence Unit- India (FIU-IND) is the authority to implement the provisions of the Act.</a:t>
            </a:r>
          </a:p>
        </p:txBody>
      </p:sp>
      <p:cxnSp>
        <p:nvCxnSpPr>
          <p:cNvPr id="23" name="Straight Connector 22">
            <a:extLst>
              <a:ext uri="{FF2B5EF4-FFF2-40B4-BE49-F238E27FC236}">
                <a16:creationId xmlns:a16="http://schemas.microsoft.com/office/drawing/2014/main" id="{FBDD02BB-9AD5-FF43-1CE6-29C348CC6ECE}"/>
              </a:ext>
            </a:extLst>
          </p:cNvPr>
          <p:cNvCxnSpPr/>
          <p:nvPr/>
        </p:nvCxnSpPr>
        <p:spPr>
          <a:xfrm>
            <a:off x="564893" y="3154046"/>
            <a:ext cx="247744" cy="917"/>
          </a:xfrm>
          <a:prstGeom prst="line">
            <a:avLst/>
          </a:prstGeom>
          <a:ln w="28575">
            <a:solidFill>
              <a:schemeClr val="accent6"/>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8" name="Oval 27">
            <a:extLst>
              <a:ext uri="{FF2B5EF4-FFF2-40B4-BE49-F238E27FC236}">
                <a16:creationId xmlns:a16="http://schemas.microsoft.com/office/drawing/2014/main" id="{89109D56-59D8-E829-C5C6-853FCB8D06E6}"/>
              </a:ext>
            </a:extLst>
          </p:cNvPr>
          <p:cNvSpPr/>
          <p:nvPr/>
        </p:nvSpPr>
        <p:spPr>
          <a:xfrm>
            <a:off x="453064" y="3103913"/>
            <a:ext cx="107862" cy="109851"/>
          </a:xfrm>
          <a:prstGeom prst="ellipse">
            <a:avLst/>
          </a:prstGeom>
          <a:solidFill>
            <a:schemeClr val="accent6"/>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IN" sz="1600" b="1" baseline="-25000" dirty="0">
              <a:solidFill>
                <a:schemeClr val="bg1"/>
              </a:solidFill>
              <a:cs typeface="Arial" panose="020B0604020202020204" pitchFamily="34" charset="0"/>
            </a:endParaRPr>
          </a:p>
        </p:txBody>
      </p:sp>
      <p:sp>
        <p:nvSpPr>
          <p:cNvPr id="29" name="Rectangle 28">
            <a:extLst>
              <a:ext uri="{FF2B5EF4-FFF2-40B4-BE49-F238E27FC236}">
                <a16:creationId xmlns:a16="http://schemas.microsoft.com/office/drawing/2014/main" id="{388E0C5F-72D6-C152-B58A-49C544988D1F}"/>
              </a:ext>
            </a:extLst>
          </p:cNvPr>
          <p:cNvSpPr>
            <a:spLocks/>
          </p:cNvSpPr>
          <p:nvPr/>
        </p:nvSpPr>
        <p:spPr>
          <a:xfrm>
            <a:off x="771899" y="3053022"/>
            <a:ext cx="572156" cy="299778"/>
          </a:xfrm>
          <a:prstGeom prst="rect">
            <a:avLst/>
          </a:prstGeom>
          <a:solidFill>
            <a:schemeClr val="accent6"/>
          </a:solidFill>
          <a:ln w="317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1400" b="1" dirty="0">
                <a:solidFill>
                  <a:schemeClr val="bg1"/>
                </a:solidFill>
                <a:cs typeface="Arial" panose="020B0604020202020204" pitchFamily="34" charset="0"/>
              </a:rPr>
              <a:t>2</a:t>
            </a:r>
          </a:p>
        </p:txBody>
      </p:sp>
      <p:sp>
        <p:nvSpPr>
          <p:cNvPr id="31" name="Rounded Rectangle 26">
            <a:extLst>
              <a:ext uri="{FF2B5EF4-FFF2-40B4-BE49-F238E27FC236}">
                <a16:creationId xmlns:a16="http://schemas.microsoft.com/office/drawing/2014/main" id="{7ABEAA78-F2B2-93F3-F945-05297C3C4884}"/>
              </a:ext>
            </a:extLst>
          </p:cNvPr>
          <p:cNvSpPr>
            <a:spLocks/>
          </p:cNvSpPr>
          <p:nvPr/>
        </p:nvSpPr>
        <p:spPr>
          <a:xfrm>
            <a:off x="509840" y="3486129"/>
            <a:ext cx="601197" cy="299778"/>
          </a:xfrm>
          <a:prstGeom prst="rect">
            <a:avLst/>
          </a:prstGeom>
          <a:solidFill>
            <a:schemeClr val="bg1"/>
          </a:solidFill>
          <a:ln w="3175" cap="flat" cmpd="sng" algn="ctr">
            <a:solidFill>
              <a:schemeClr val="accent2"/>
            </a:solidFill>
            <a:prstDash val="solid"/>
          </a:ln>
          <a:effectLst/>
        </p:spPr>
        <p:txBody>
          <a:bodyPr anchor="ctr"/>
          <a:lstStyle/>
          <a:p>
            <a:pPr algn="ctr">
              <a:defRPr/>
            </a:pPr>
            <a:endParaRPr lang="en-IN" sz="1400" kern="0" dirty="0">
              <a:solidFill>
                <a:srgbClr val="FFFFFF"/>
              </a:solidFill>
            </a:endParaRPr>
          </a:p>
        </p:txBody>
      </p:sp>
      <p:sp>
        <p:nvSpPr>
          <p:cNvPr id="32" name="Rectangle 31">
            <a:extLst>
              <a:ext uri="{FF2B5EF4-FFF2-40B4-BE49-F238E27FC236}">
                <a16:creationId xmlns:a16="http://schemas.microsoft.com/office/drawing/2014/main" id="{54139DD3-BBB0-E651-EC8F-FE56E946347D}"/>
              </a:ext>
            </a:extLst>
          </p:cNvPr>
          <p:cNvSpPr>
            <a:spLocks/>
          </p:cNvSpPr>
          <p:nvPr/>
        </p:nvSpPr>
        <p:spPr>
          <a:xfrm>
            <a:off x="771900" y="3486129"/>
            <a:ext cx="5139804" cy="299778"/>
          </a:xfrm>
          <a:prstGeom prst="rect">
            <a:avLst/>
          </a:prstGeom>
          <a:solidFill>
            <a:schemeClr val="bg1"/>
          </a:solidFill>
          <a:ln w="3175" cap="flat" cmpd="sng" algn="ctr">
            <a:solidFill>
              <a:schemeClr val="accent2"/>
            </a:solidFill>
            <a:prstDash val="solid"/>
          </a:ln>
          <a:effectLst/>
        </p:spPr>
        <p:txBody>
          <a:bodyPr lIns="822960" anchor="ctr"/>
          <a:lstStyle/>
          <a:p>
            <a:pPr>
              <a:buClr>
                <a:schemeClr val="tx1"/>
              </a:buClr>
            </a:pPr>
            <a:r>
              <a:rPr lang="en-US" sz="1100" b="1" dirty="0"/>
              <a:t>Confiscation of property derived from, or involved in, money-laundering</a:t>
            </a:r>
          </a:p>
        </p:txBody>
      </p:sp>
      <p:cxnSp>
        <p:nvCxnSpPr>
          <p:cNvPr id="33" name="Straight Connector 32">
            <a:extLst>
              <a:ext uri="{FF2B5EF4-FFF2-40B4-BE49-F238E27FC236}">
                <a16:creationId xmlns:a16="http://schemas.microsoft.com/office/drawing/2014/main" id="{6ED009FD-CC3D-BB46-0281-5B8531644BCD}"/>
              </a:ext>
            </a:extLst>
          </p:cNvPr>
          <p:cNvCxnSpPr/>
          <p:nvPr/>
        </p:nvCxnSpPr>
        <p:spPr>
          <a:xfrm>
            <a:off x="564893" y="3633692"/>
            <a:ext cx="247744" cy="917"/>
          </a:xfrm>
          <a:prstGeom prst="line">
            <a:avLst/>
          </a:prstGeom>
          <a:ln w="28575">
            <a:solidFill>
              <a:schemeClr val="accent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5" name="Oval 34">
            <a:extLst>
              <a:ext uri="{FF2B5EF4-FFF2-40B4-BE49-F238E27FC236}">
                <a16:creationId xmlns:a16="http://schemas.microsoft.com/office/drawing/2014/main" id="{CF588F49-D28F-6ACC-F19D-CEAF41B3B320}"/>
              </a:ext>
            </a:extLst>
          </p:cNvPr>
          <p:cNvSpPr/>
          <p:nvPr/>
        </p:nvSpPr>
        <p:spPr>
          <a:xfrm>
            <a:off x="453064" y="3583559"/>
            <a:ext cx="107862" cy="109851"/>
          </a:xfrm>
          <a:prstGeom prst="ellipse">
            <a:avLst/>
          </a:prstGeom>
          <a:solidFill>
            <a:schemeClr val="accent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IN" sz="1600" b="1" baseline="-25000" dirty="0">
              <a:solidFill>
                <a:schemeClr val="bg1"/>
              </a:solidFill>
              <a:cs typeface="Arial" panose="020B0604020202020204" pitchFamily="34" charset="0"/>
            </a:endParaRPr>
          </a:p>
        </p:txBody>
      </p:sp>
      <p:sp>
        <p:nvSpPr>
          <p:cNvPr id="36" name="Rectangle 35">
            <a:extLst>
              <a:ext uri="{FF2B5EF4-FFF2-40B4-BE49-F238E27FC236}">
                <a16:creationId xmlns:a16="http://schemas.microsoft.com/office/drawing/2014/main" id="{0C4D4C9A-5C02-B0ED-1132-706CECB8B6DE}"/>
              </a:ext>
            </a:extLst>
          </p:cNvPr>
          <p:cNvSpPr>
            <a:spLocks/>
          </p:cNvSpPr>
          <p:nvPr/>
        </p:nvSpPr>
        <p:spPr>
          <a:xfrm>
            <a:off x="771899" y="3486129"/>
            <a:ext cx="572156" cy="299778"/>
          </a:xfrm>
          <a:prstGeom prst="rect">
            <a:avLst/>
          </a:prstGeom>
          <a:solidFill>
            <a:schemeClr val="accent2"/>
          </a:solidFill>
          <a:ln w="317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1400" b="1" dirty="0">
                <a:solidFill>
                  <a:schemeClr val="tx1"/>
                </a:solidFill>
                <a:cs typeface="Arial" panose="020B0604020202020204" pitchFamily="34" charset="0"/>
              </a:rPr>
              <a:t>3</a:t>
            </a:r>
          </a:p>
        </p:txBody>
      </p:sp>
      <p:sp>
        <p:nvSpPr>
          <p:cNvPr id="38" name="Rounded Rectangle 26">
            <a:extLst>
              <a:ext uri="{FF2B5EF4-FFF2-40B4-BE49-F238E27FC236}">
                <a16:creationId xmlns:a16="http://schemas.microsoft.com/office/drawing/2014/main" id="{F8863D8D-59F7-3EB1-FE28-88FD42DC3929}"/>
              </a:ext>
            </a:extLst>
          </p:cNvPr>
          <p:cNvSpPr>
            <a:spLocks/>
          </p:cNvSpPr>
          <p:nvPr/>
        </p:nvSpPr>
        <p:spPr>
          <a:xfrm>
            <a:off x="509840" y="3965774"/>
            <a:ext cx="601197" cy="299778"/>
          </a:xfrm>
          <a:prstGeom prst="rect">
            <a:avLst/>
          </a:prstGeom>
          <a:solidFill>
            <a:schemeClr val="bg1"/>
          </a:solidFill>
          <a:ln w="3175" cap="flat" cmpd="sng" algn="ctr">
            <a:solidFill>
              <a:schemeClr val="accent6"/>
            </a:solidFill>
            <a:prstDash val="solid"/>
          </a:ln>
          <a:effectLst/>
        </p:spPr>
        <p:txBody>
          <a:bodyPr anchor="ctr"/>
          <a:lstStyle/>
          <a:p>
            <a:pPr algn="ctr">
              <a:defRPr/>
            </a:pPr>
            <a:endParaRPr lang="en-IN" sz="1400" kern="0" dirty="0">
              <a:solidFill>
                <a:srgbClr val="FFFFFF"/>
              </a:solidFill>
            </a:endParaRPr>
          </a:p>
        </p:txBody>
      </p:sp>
      <p:sp>
        <p:nvSpPr>
          <p:cNvPr id="39" name="Rectangle 38">
            <a:extLst>
              <a:ext uri="{FF2B5EF4-FFF2-40B4-BE49-F238E27FC236}">
                <a16:creationId xmlns:a16="http://schemas.microsoft.com/office/drawing/2014/main" id="{16239C20-CA34-7499-DC6B-C952A84292BF}"/>
              </a:ext>
            </a:extLst>
          </p:cNvPr>
          <p:cNvSpPr>
            <a:spLocks/>
          </p:cNvSpPr>
          <p:nvPr/>
        </p:nvSpPr>
        <p:spPr>
          <a:xfrm>
            <a:off x="771900" y="3965774"/>
            <a:ext cx="5139804" cy="398942"/>
          </a:xfrm>
          <a:prstGeom prst="rect">
            <a:avLst/>
          </a:prstGeom>
          <a:solidFill>
            <a:schemeClr val="bg1"/>
          </a:solidFill>
          <a:ln w="3175" cap="flat" cmpd="sng" algn="ctr">
            <a:solidFill>
              <a:schemeClr val="accent6"/>
            </a:solidFill>
            <a:prstDash val="solid"/>
          </a:ln>
          <a:effectLst/>
        </p:spPr>
        <p:txBody>
          <a:bodyPr lIns="822960" anchor="ctr"/>
          <a:lstStyle/>
          <a:p>
            <a:pPr>
              <a:buClr>
                <a:schemeClr val="tx1"/>
              </a:buClr>
            </a:pPr>
            <a:r>
              <a:rPr lang="en-US" sz="1100" b="1" dirty="0"/>
              <a:t>Obligation to verify identity of clients, maintain records and furnish information to Financial Intelligence Unit-India (FIU-IND)</a:t>
            </a:r>
          </a:p>
        </p:txBody>
      </p:sp>
      <p:cxnSp>
        <p:nvCxnSpPr>
          <p:cNvPr id="40" name="Straight Connector 39">
            <a:extLst>
              <a:ext uri="{FF2B5EF4-FFF2-40B4-BE49-F238E27FC236}">
                <a16:creationId xmlns:a16="http://schemas.microsoft.com/office/drawing/2014/main" id="{A0279BDA-CA4D-A787-789F-DB8F6F5693FC}"/>
              </a:ext>
            </a:extLst>
          </p:cNvPr>
          <p:cNvCxnSpPr/>
          <p:nvPr/>
        </p:nvCxnSpPr>
        <p:spPr>
          <a:xfrm>
            <a:off x="564893" y="4113337"/>
            <a:ext cx="247744" cy="917"/>
          </a:xfrm>
          <a:prstGeom prst="line">
            <a:avLst/>
          </a:prstGeom>
          <a:ln w="28575">
            <a:solidFill>
              <a:schemeClr val="accent6"/>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2" name="Oval 41">
            <a:extLst>
              <a:ext uri="{FF2B5EF4-FFF2-40B4-BE49-F238E27FC236}">
                <a16:creationId xmlns:a16="http://schemas.microsoft.com/office/drawing/2014/main" id="{B7E89830-9EAA-06A7-5EBD-B45F115A289F}"/>
              </a:ext>
            </a:extLst>
          </p:cNvPr>
          <p:cNvSpPr/>
          <p:nvPr/>
        </p:nvSpPr>
        <p:spPr>
          <a:xfrm>
            <a:off x="453064" y="4063204"/>
            <a:ext cx="107862" cy="109851"/>
          </a:xfrm>
          <a:prstGeom prst="ellipse">
            <a:avLst/>
          </a:prstGeom>
          <a:solidFill>
            <a:schemeClr val="accent6"/>
          </a:solidFill>
          <a:ln w="317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IN" sz="1600" b="1" baseline="-25000" dirty="0">
              <a:solidFill>
                <a:schemeClr val="bg1"/>
              </a:solidFill>
              <a:cs typeface="Arial" panose="020B0604020202020204" pitchFamily="34" charset="0"/>
            </a:endParaRPr>
          </a:p>
        </p:txBody>
      </p:sp>
      <p:sp>
        <p:nvSpPr>
          <p:cNvPr id="43" name="Rectangle 42">
            <a:extLst>
              <a:ext uri="{FF2B5EF4-FFF2-40B4-BE49-F238E27FC236}">
                <a16:creationId xmlns:a16="http://schemas.microsoft.com/office/drawing/2014/main" id="{9CFD7F51-8371-3219-83D4-55F271C773B1}"/>
              </a:ext>
            </a:extLst>
          </p:cNvPr>
          <p:cNvSpPr>
            <a:spLocks/>
          </p:cNvSpPr>
          <p:nvPr/>
        </p:nvSpPr>
        <p:spPr>
          <a:xfrm>
            <a:off x="771899" y="3965774"/>
            <a:ext cx="572156" cy="299778"/>
          </a:xfrm>
          <a:prstGeom prst="rect">
            <a:avLst/>
          </a:prstGeom>
          <a:solidFill>
            <a:schemeClr val="accent6"/>
          </a:solidFill>
          <a:ln w="317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1400" b="1" dirty="0">
                <a:solidFill>
                  <a:schemeClr val="bg1"/>
                </a:solidFill>
                <a:cs typeface="Arial" panose="020B0604020202020204" pitchFamily="34" charset="0"/>
              </a:rPr>
              <a:t>4</a:t>
            </a:r>
          </a:p>
        </p:txBody>
      </p:sp>
      <p:sp>
        <p:nvSpPr>
          <p:cNvPr id="45" name="Rounded Rectangle 26">
            <a:extLst>
              <a:ext uri="{FF2B5EF4-FFF2-40B4-BE49-F238E27FC236}">
                <a16:creationId xmlns:a16="http://schemas.microsoft.com/office/drawing/2014/main" id="{A79BEC67-D93F-73B2-11CE-F86913545AE3}"/>
              </a:ext>
            </a:extLst>
          </p:cNvPr>
          <p:cNvSpPr>
            <a:spLocks/>
          </p:cNvSpPr>
          <p:nvPr/>
        </p:nvSpPr>
        <p:spPr>
          <a:xfrm>
            <a:off x="509840" y="4445419"/>
            <a:ext cx="601197" cy="299778"/>
          </a:xfrm>
          <a:prstGeom prst="rect">
            <a:avLst/>
          </a:prstGeom>
          <a:solidFill>
            <a:schemeClr val="bg1"/>
          </a:solidFill>
          <a:ln w="3175" cap="flat" cmpd="sng" algn="ctr">
            <a:solidFill>
              <a:schemeClr val="accent2"/>
            </a:solidFill>
            <a:prstDash val="solid"/>
          </a:ln>
          <a:effectLst/>
        </p:spPr>
        <p:txBody>
          <a:bodyPr anchor="ctr"/>
          <a:lstStyle/>
          <a:p>
            <a:pPr algn="ctr">
              <a:defRPr/>
            </a:pPr>
            <a:endParaRPr lang="en-IN" sz="1400" kern="0" dirty="0">
              <a:solidFill>
                <a:srgbClr val="FFFFFF"/>
              </a:solidFill>
            </a:endParaRPr>
          </a:p>
        </p:txBody>
      </p:sp>
      <p:sp>
        <p:nvSpPr>
          <p:cNvPr id="46" name="Rectangle 45">
            <a:extLst>
              <a:ext uri="{FF2B5EF4-FFF2-40B4-BE49-F238E27FC236}">
                <a16:creationId xmlns:a16="http://schemas.microsoft.com/office/drawing/2014/main" id="{F4BC2CB4-7486-318C-EBB9-4F704410CA5C}"/>
              </a:ext>
            </a:extLst>
          </p:cNvPr>
          <p:cNvSpPr>
            <a:spLocks/>
          </p:cNvSpPr>
          <p:nvPr/>
        </p:nvSpPr>
        <p:spPr>
          <a:xfrm>
            <a:off x="771900" y="4445418"/>
            <a:ext cx="5144714" cy="349911"/>
          </a:xfrm>
          <a:prstGeom prst="rect">
            <a:avLst/>
          </a:prstGeom>
          <a:solidFill>
            <a:schemeClr val="bg1"/>
          </a:solidFill>
          <a:ln w="3175" cap="flat" cmpd="sng" algn="ctr">
            <a:solidFill>
              <a:schemeClr val="accent2"/>
            </a:solidFill>
            <a:prstDash val="solid"/>
          </a:ln>
          <a:effectLst/>
        </p:spPr>
        <p:txBody>
          <a:bodyPr lIns="822960" anchor="ctr"/>
          <a:lstStyle/>
          <a:p>
            <a:pPr>
              <a:buClr>
                <a:schemeClr val="tx1"/>
              </a:buClr>
            </a:pPr>
            <a:r>
              <a:rPr lang="en-US" sz="1100" b="1" dirty="0"/>
              <a:t>Mandates appointment of a Principal Officer within a Reporting Entity</a:t>
            </a:r>
          </a:p>
        </p:txBody>
      </p:sp>
      <p:cxnSp>
        <p:nvCxnSpPr>
          <p:cNvPr id="47" name="Straight Connector 46">
            <a:extLst>
              <a:ext uri="{FF2B5EF4-FFF2-40B4-BE49-F238E27FC236}">
                <a16:creationId xmlns:a16="http://schemas.microsoft.com/office/drawing/2014/main" id="{189D1C5E-EF09-39B7-5DD6-5A9C5C944ED3}"/>
              </a:ext>
            </a:extLst>
          </p:cNvPr>
          <p:cNvCxnSpPr/>
          <p:nvPr/>
        </p:nvCxnSpPr>
        <p:spPr>
          <a:xfrm>
            <a:off x="564893" y="4592982"/>
            <a:ext cx="247744" cy="917"/>
          </a:xfrm>
          <a:prstGeom prst="line">
            <a:avLst/>
          </a:prstGeom>
          <a:ln w="28575">
            <a:solidFill>
              <a:schemeClr val="accent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9" name="Oval 48">
            <a:extLst>
              <a:ext uri="{FF2B5EF4-FFF2-40B4-BE49-F238E27FC236}">
                <a16:creationId xmlns:a16="http://schemas.microsoft.com/office/drawing/2014/main" id="{7BE9C8F7-78E3-F750-7ACE-2D771A771EFF}"/>
              </a:ext>
            </a:extLst>
          </p:cNvPr>
          <p:cNvSpPr/>
          <p:nvPr/>
        </p:nvSpPr>
        <p:spPr>
          <a:xfrm>
            <a:off x="453064" y="4542849"/>
            <a:ext cx="107862" cy="109851"/>
          </a:xfrm>
          <a:prstGeom prst="ellipse">
            <a:avLst/>
          </a:prstGeom>
          <a:solidFill>
            <a:schemeClr val="accent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IN" sz="1600" b="1" baseline="-25000" dirty="0">
              <a:solidFill>
                <a:schemeClr val="bg1"/>
              </a:solidFill>
              <a:cs typeface="Arial" panose="020B0604020202020204" pitchFamily="34" charset="0"/>
            </a:endParaRPr>
          </a:p>
        </p:txBody>
      </p:sp>
      <p:sp>
        <p:nvSpPr>
          <p:cNvPr id="50" name="Rectangle 49">
            <a:extLst>
              <a:ext uri="{FF2B5EF4-FFF2-40B4-BE49-F238E27FC236}">
                <a16:creationId xmlns:a16="http://schemas.microsoft.com/office/drawing/2014/main" id="{260C8417-3C69-5518-2D41-CAD417DD34AA}"/>
              </a:ext>
            </a:extLst>
          </p:cNvPr>
          <p:cNvSpPr>
            <a:spLocks/>
          </p:cNvSpPr>
          <p:nvPr/>
        </p:nvSpPr>
        <p:spPr>
          <a:xfrm>
            <a:off x="771899" y="4445419"/>
            <a:ext cx="572156" cy="299778"/>
          </a:xfrm>
          <a:prstGeom prst="rect">
            <a:avLst/>
          </a:prstGeom>
          <a:solidFill>
            <a:schemeClr val="accent2"/>
          </a:solidFill>
          <a:ln w="317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1400" b="1" dirty="0">
                <a:solidFill>
                  <a:schemeClr val="tx1"/>
                </a:solidFill>
                <a:cs typeface="Arial" panose="020B0604020202020204" pitchFamily="34" charset="0"/>
              </a:rPr>
              <a:t>5</a:t>
            </a:r>
          </a:p>
        </p:txBody>
      </p:sp>
      <p:sp>
        <p:nvSpPr>
          <p:cNvPr id="52" name="Rounded Rectangle 26">
            <a:extLst>
              <a:ext uri="{FF2B5EF4-FFF2-40B4-BE49-F238E27FC236}">
                <a16:creationId xmlns:a16="http://schemas.microsoft.com/office/drawing/2014/main" id="{18A182BD-6944-EB98-7009-D8E9B59C902F}"/>
              </a:ext>
            </a:extLst>
          </p:cNvPr>
          <p:cNvSpPr>
            <a:spLocks/>
          </p:cNvSpPr>
          <p:nvPr/>
        </p:nvSpPr>
        <p:spPr>
          <a:xfrm>
            <a:off x="509840" y="4925064"/>
            <a:ext cx="601197" cy="299778"/>
          </a:xfrm>
          <a:prstGeom prst="rect">
            <a:avLst/>
          </a:prstGeom>
          <a:solidFill>
            <a:schemeClr val="bg1"/>
          </a:solidFill>
          <a:ln w="3175" cap="flat" cmpd="sng" algn="ctr">
            <a:solidFill>
              <a:schemeClr val="accent6"/>
            </a:solidFill>
            <a:prstDash val="solid"/>
          </a:ln>
          <a:effectLst/>
        </p:spPr>
        <p:txBody>
          <a:bodyPr anchor="ctr"/>
          <a:lstStyle/>
          <a:p>
            <a:pPr algn="ctr">
              <a:defRPr/>
            </a:pPr>
            <a:endParaRPr lang="en-IN" sz="1400" kern="0" dirty="0">
              <a:solidFill>
                <a:srgbClr val="FFFFFF"/>
              </a:solidFill>
            </a:endParaRPr>
          </a:p>
        </p:txBody>
      </p:sp>
      <p:sp>
        <p:nvSpPr>
          <p:cNvPr id="53" name="Rectangle 52">
            <a:extLst>
              <a:ext uri="{FF2B5EF4-FFF2-40B4-BE49-F238E27FC236}">
                <a16:creationId xmlns:a16="http://schemas.microsoft.com/office/drawing/2014/main" id="{3F94C9F4-7F68-6D96-2CD8-D07D98F01587}"/>
              </a:ext>
            </a:extLst>
          </p:cNvPr>
          <p:cNvSpPr>
            <a:spLocks/>
          </p:cNvSpPr>
          <p:nvPr/>
        </p:nvSpPr>
        <p:spPr>
          <a:xfrm>
            <a:off x="771899" y="4925064"/>
            <a:ext cx="5144715" cy="366980"/>
          </a:xfrm>
          <a:prstGeom prst="rect">
            <a:avLst/>
          </a:prstGeom>
          <a:solidFill>
            <a:schemeClr val="bg1"/>
          </a:solidFill>
          <a:ln w="3175" cap="flat" cmpd="sng" algn="ctr">
            <a:solidFill>
              <a:schemeClr val="accent6"/>
            </a:solidFill>
            <a:prstDash val="solid"/>
          </a:ln>
          <a:effectLst/>
        </p:spPr>
        <p:txBody>
          <a:bodyPr lIns="822960" anchor="ctr"/>
          <a:lstStyle/>
          <a:p>
            <a:pPr>
              <a:buClr>
                <a:schemeClr val="tx1"/>
              </a:buClr>
            </a:pPr>
            <a:r>
              <a:rPr lang="en-US" sz="1100" b="1" dirty="0"/>
              <a:t>Obligation for reporting entity to report cash transactions of over Rs 10 lakh to the FIU.</a:t>
            </a:r>
          </a:p>
        </p:txBody>
      </p:sp>
      <p:cxnSp>
        <p:nvCxnSpPr>
          <p:cNvPr id="54" name="Straight Connector 53">
            <a:extLst>
              <a:ext uri="{FF2B5EF4-FFF2-40B4-BE49-F238E27FC236}">
                <a16:creationId xmlns:a16="http://schemas.microsoft.com/office/drawing/2014/main" id="{9C9722B1-7E47-6A6F-5ECE-A716EEEA45FE}"/>
              </a:ext>
            </a:extLst>
          </p:cNvPr>
          <p:cNvCxnSpPr/>
          <p:nvPr/>
        </p:nvCxnSpPr>
        <p:spPr>
          <a:xfrm>
            <a:off x="564893" y="5072627"/>
            <a:ext cx="247744" cy="917"/>
          </a:xfrm>
          <a:prstGeom prst="line">
            <a:avLst/>
          </a:prstGeom>
          <a:ln w="28575">
            <a:solidFill>
              <a:schemeClr val="accent6"/>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6" name="Oval 55">
            <a:extLst>
              <a:ext uri="{FF2B5EF4-FFF2-40B4-BE49-F238E27FC236}">
                <a16:creationId xmlns:a16="http://schemas.microsoft.com/office/drawing/2014/main" id="{44A69B68-B79C-A68B-F4EF-6788D54D846D}"/>
              </a:ext>
            </a:extLst>
          </p:cNvPr>
          <p:cNvSpPr/>
          <p:nvPr/>
        </p:nvSpPr>
        <p:spPr>
          <a:xfrm>
            <a:off x="453064" y="5022494"/>
            <a:ext cx="107862" cy="109851"/>
          </a:xfrm>
          <a:prstGeom prst="ellipse">
            <a:avLst/>
          </a:prstGeom>
          <a:solidFill>
            <a:schemeClr val="accent6"/>
          </a:solidFill>
          <a:ln w="317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IN" sz="1600" b="1" baseline="-25000" dirty="0">
              <a:solidFill>
                <a:schemeClr val="bg1"/>
              </a:solidFill>
              <a:cs typeface="Arial" panose="020B0604020202020204" pitchFamily="34" charset="0"/>
            </a:endParaRPr>
          </a:p>
        </p:txBody>
      </p:sp>
      <p:sp>
        <p:nvSpPr>
          <p:cNvPr id="57" name="Rectangle 56">
            <a:extLst>
              <a:ext uri="{FF2B5EF4-FFF2-40B4-BE49-F238E27FC236}">
                <a16:creationId xmlns:a16="http://schemas.microsoft.com/office/drawing/2014/main" id="{7774A4D4-FDD7-98FC-33E2-B41E6C3F939D}"/>
              </a:ext>
            </a:extLst>
          </p:cNvPr>
          <p:cNvSpPr>
            <a:spLocks/>
          </p:cNvSpPr>
          <p:nvPr/>
        </p:nvSpPr>
        <p:spPr>
          <a:xfrm>
            <a:off x="771899" y="4925064"/>
            <a:ext cx="572156" cy="299778"/>
          </a:xfrm>
          <a:prstGeom prst="rect">
            <a:avLst/>
          </a:prstGeom>
          <a:solidFill>
            <a:schemeClr val="accent6"/>
          </a:solidFill>
          <a:ln w="317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1400" b="1" dirty="0">
                <a:solidFill>
                  <a:schemeClr val="bg1"/>
                </a:solidFill>
                <a:cs typeface="Arial" panose="020B0604020202020204" pitchFamily="34" charset="0"/>
              </a:rPr>
              <a:t>6</a:t>
            </a:r>
          </a:p>
        </p:txBody>
      </p:sp>
      <p:sp>
        <p:nvSpPr>
          <p:cNvPr id="60" name="Rounded Rectangle 26">
            <a:extLst>
              <a:ext uri="{FF2B5EF4-FFF2-40B4-BE49-F238E27FC236}">
                <a16:creationId xmlns:a16="http://schemas.microsoft.com/office/drawing/2014/main" id="{64423908-28F5-C813-1EDB-8B378FE6C1AD}"/>
              </a:ext>
            </a:extLst>
          </p:cNvPr>
          <p:cNvSpPr>
            <a:spLocks/>
          </p:cNvSpPr>
          <p:nvPr/>
        </p:nvSpPr>
        <p:spPr>
          <a:xfrm>
            <a:off x="509840" y="5417692"/>
            <a:ext cx="601197" cy="299778"/>
          </a:xfrm>
          <a:prstGeom prst="rect">
            <a:avLst/>
          </a:prstGeom>
          <a:solidFill>
            <a:schemeClr val="bg1"/>
          </a:solidFill>
          <a:ln w="3175" cap="flat" cmpd="sng" algn="ctr">
            <a:solidFill>
              <a:schemeClr val="accent2"/>
            </a:solidFill>
            <a:prstDash val="solid"/>
          </a:ln>
          <a:effectLst/>
        </p:spPr>
        <p:txBody>
          <a:bodyPr anchor="ctr"/>
          <a:lstStyle/>
          <a:p>
            <a:pPr algn="ctr">
              <a:defRPr/>
            </a:pPr>
            <a:endParaRPr lang="en-IN" sz="1400" kern="0" dirty="0">
              <a:solidFill>
                <a:srgbClr val="FFFFFF"/>
              </a:solidFill>
            </a:endParaRPr>
          </a:p>
        </p:txBody>
      </p:sp>
      <p:sp>
        <p:nvSpPr>
          <p:cNvPr id="61" name="Rectangle 60">
            <a:extLst>
              <a:ext uri="{FF2B5EF4-FFF2-40B4-BE49-F238E27FC236}">
                <a16:creationId xmlns:a16="http://schemas.microsoft.com/office/drawing/2014/main" id="{9361A45A-FBF9-E2DC-7312-151F76BE7550}"/>
              </a:ext>
            </a:extLst>
          </p:cNvPr>
          <p:cNvSpPr>
            <a:spLocks/>
          </p:cNvSpPr>
          <p:nvPr/>
        </p:nvSpPr>
        <p:spPr>
          <a:xfrm>
            <a:off x="771900" y="5417692"/>
            <a:ext cx="5139804" cy="321680"/>
          </a:xfrm>
          <a:prstGeom prst="rect">
            <a:avLst/>
          </a:prstGeom>
          <a:solidFill>
            <a:schemeClr val="bg1"/>
          </a:solidFill>
          <a:ln w="3175" cap="flat" cmpd="sng" algn="ctr">
            <a:solidFill>
              <a:schemeClr val="accent2"/>
            </a:solidFill>
            <a:prstDash val="solid"/>
          </a:ln>
          <a:effectLst/>
        </p:spPr>
        <p:txBody>
          <a:bodyPr lIns="822960" anchor="ctr"/>
          <a:lstStyle/>
          <a:p>
            <a:pPr>
              <a:buClr>
                <a:schemeClr val="tx1"/>
              </a:buClr>
            </a:pPr>
            <a:r>
              <a:rPr lang="en-US" sz="1100" b="1" dirty="0"/>
              <a:t>Obligation to report all suspicious transactions whether or not made in cash</a:t>
            </a:r>
          </a:p>
        </p:txBody>
      </p:sp>
      <p:cxnSp>
        <p:nvCxnSpPr>
          <p:cNvPr id="62" name="Straight Connector 61">
            <a:extLst>
              <a:ext uri="{FF2B5EF4-FFF2-40B4-BE49-F238E27FC236}">
                <a16:creationId xmlns:a16="http://schemas.microsoft.com/office/drawing/2014/main" id="{D6D9EBB9-66F6-8BE8-221C-7B3FE7A5614E}"/>
              </a:ext>
            </a:extLst>
          </p:cNvPr>
          <p:cNvCxnSpPr/>
          <p:nvPr/>
        </p:nvCxnSpPr>
        <p:spPr>
          <a:xfrm>
            <a:off x="564893" y="5565255"/>
            <a:ext cx="247744" cy="917"/>
          </a:xfrm>
          <a:prstGeom prst="line">
            <a:avLst/>
          </a:prstGeom>
          <a:ln w="28575">
            <a:solidFill>
              <a:schemeClr val="accent2"/>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28" name="Oval 127">
            <a:extLst>
              <a:ext uri="{FF2B5EF4-FFF2-40B4-BE49-F238E27FC236}">
                <a16:creationId xmlns:a16="http://schemas.microsoft.com/office/drawing/2014/main" id="{5CF4DF4A-1DA3-BE29-D6DA-5D0E543B150D}"/>
              </a:ext>
            </a:extLst>
          </p:cNvPr>
          <p:cNvSpPr/>
          <p:nvPr/>
        </p:nvSpPr>
        <p:spPr>
          <a:xfrm>
            <a:off x="453064" y="5515122"/>
            <a:ext cx="107862" cy="109851"/>
          </a:xfrm>
          <a:prstGeom prst="ellipse">
            <a:avLst/>
          </a:prstGeom>
          <a:solidFill>
            <a:schemeClr val="accent2"/>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IN" sz="1600" b="1" baseline="-25000" dirty="0">
              <a:solidFill>
                <a:schemeClr val="bg1"/>
              </a:solidFill>
              <a:cs typeface="Arial" panose="020B0604020202020204" pitchFamily="34" charset="0"/>
            </a:endParaRPr>
          </a:p>
        </p:txBody>
      </p:sp>
      <p:sp>
        <p:nvSpPr>
          <p:cNvPr id="129" name="Rectangle 128">
            <a:extLst>
              <a:ext uri="{FF2B5EF4-FFF2-40B4-BE49-F238E27FC236}">
                <a16:creationId xmlns:a16="http://schemas.microsoft.com/office/drawing/2014/main" id="{CD85E617-4886-53DB-05BB-0B063115A353}"/>
              </a:ext>
            </a:extLst>
          </p:cNvPr>
          <p:cNvSpPr>
            <a:spLocks/>
          </p:cNvSpPr>
          <p:nvPr/>
        </p:nvSpPr>
        <p:spPr>
          <a:xfrm>
            <a:off x="771899" y="5417692"/>
            <a:ext cx="572156" cy="299778"/>
          </a:xfrm>
          <a:prstGeom prst="rect">
            <a:avLst/>
          </a:prstGeom>
          <a:solidFill>
            <a:schemeClr val="accent2"/>
          </a:solidFill>
          <a:ln w="317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1400" b="1" dirty="0">
                <a:solidFill>
                  <a:schemeClr val="tx1"/>
                </a:solidFill>
                <a:cs typeface="Arial" panose="020B0604020202020204" pitchFamily="34" charset="0"/>
              </a:rPr>
              <a:t>7</a:t>
            </a:r>
          </a:p>
        </p:txBody>
      </p:sp>
      <p:sp>
        <p:nvSpPr>
          <p:cNvPr id="131" name="Rounded Rectangle 26">
            <a:extLst>
              <a:ext uri="{FF2B5EF4-FFF2-40B4-BE49-F238E27FC236}">
                <a16:creationId xmlns:a16="http://schemas.microsoft.com/office/drawing/2014/main" id="{8556B713-912E-658D-25FF-1EF06E1CE213}"/>
              </a:ext>
            </a:extLst>
          </p:cNvPr>
          <p:cNvSpPr>
            <a:spLocks/>
          </p:cNvSpPr>
          <p:nvPr/>
        </p:nvSpPr>
        <p:spPr>
          <a:xfrm>
            <a:off x="509840" y="5897337"/>
            <a:ext cx="601197" cy="299778"/>
          </a:xfrm>
          <a:prstGeom prst="rect">
            <a:avLst/>
          </a:prstGeom>
          <a:solidFill>
            <a:schemeClr val="bg1"/>
          </a:solidFill>
          <a:ln w="3175" cap="flat" cmpd="sng" algn="ctr">
            <a:solidFill>
              <a:schemeClr val="accent6"/>
            </a:solidFill>
            <a:prstDash val="solid"/>
          </a:ln>
          <a:effectLst/>
        </p:spPr>
        <p:txBody>
          <a:bodyPr anchor="ctr"/>
          <a:lstStyle/>
          <a:p>
            <a:pPr algn="ctr">
              <a:defRPr/>
            </a:pPr>
            <a:endParaRPr lang="en-IN" sz="1400" kern="0" dirty="0">
              <a:solidFill>
                <a:srgbClr val="FFFFFF"/>
              </a:solidFill>
            </a:endParaRPr>
          </a:p>
        </p:txBody>
      </p:sp>
      <p:sp>
        <p:nvSpPr>
          <p:cNvPr id="132" name="Rectangle 131">
            <a:extLst>
              <a:ext uri="{FF2B5EF4-FFF2-40B4-BE49-F238E27FC236}">
                <a16:creationId xmlns:a16="http://schemas.microsoft.com/office/drawing/2014/main" id="{994C2328-E921-48E2-156A-2CF20B82CD16}"/>
              </a:ext>
            </a:extLst>
          </p:cNvPr>
          <p:cNvSpPr>
            <a:spLocks/>
          </p:cNvSpPr>
          <p:nvPr/>
        </p:nvSpPr>
        <p:spPr>
          <a:xfrm>
            <a:off x="759494" y="5802207"/>
            <a:ext cx="5139804" cy="529778"/>
          </a:xfrm>
          <a:prstGeom prst="rect">
            <a:avLst/>
          </a:prstGeom>
          <a:solidFill>
            <a:schemeClr val="bg1"/>
          </a:solidFill>
          <a:ln w="3175" cap="flat" cmpd="sng" algn="ctr">
            <a:solidFill>
              <a:schemeClr val="accent6"/>
            </a:solidFill>
            <a:prstDash val="solid"/>
          </a:ln>
          <a:effectLst/>
        </p:spPr>
        <p:txBody>
          <a:bodyPr lIns="822960" anchor="ctr"/>
          <a:lstStyle/>
          <a:p>
            <a:pPr>
              <a:buClr>
                <a:schemeClr val="tx1"/>
              </a:buClr>
            </a:pPr>
            <a:r>
              <a:rPr lang="en-US" sz="1100" b="1" dirty="0"/>
              <a:t>FIU-IND obtains data from various intermediaries, processes the same and if required passes it on to the agency such as police, I-tax for investigation</a:t>
            </a:r>
          </a:p>
        </p:txBody>
      </p:sp>
      <p:cxnSp>
        <p:nvCxnSpPr>
          <p:cNvPr id="133" name="Straight Connector 132">
            <a:extLst>
              <a:ext uri="{FF2B5EF4-FFF2-40B4-BE49-F238E27FC236}">
                <a16:creationId xmlns:a16="http://schemas.microsoft.com/office/drawing/2014/main" id="{73DE8FAF-63A0-E4CD-CD0D-DA765B60CB88}"/>
              </a:ext>
            </a:extLst>
          </p:cNvPr>
          <p:cNvCxnSpPr/>
          <p:nvPr/>
        </p:nvCxnSpPr>
        <p:spPr>
          <a:xfrm>
            <a:off x="564893" y="6044900"/>
            <a:ext cx="247744" cy="917"/>
          </a:xfrm>
          <a:prstGeom prst="line">
            <a:avLst/>
          </a:prstGeom>
          <a:ln w="28575">
            <a:solidFill>
              <a:schemeClr val="accent6"/>
            </a:solidFill>
            <a:prstDash val="sysDot"/>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5" name="Oval 134">
            <a:extLst>
              <a:ext uri="{FF2B5EF4-FFF2-40B4-BE49-F238E27FC236}">
                <a16:creationId xmlns:a16="http://schemas.microsoft.com/office/drawing/2014/main" id="{C3635F32-2BE3-DCBA-6D52-C2FE81122108}"/>
              </a:ext>
            </a:extLst>
          </p:cNvPr>
          <p:cNvSpPr/>
          <p:nvPr/>
        </p:nvSpPr>
        <p:spPr>
          <a:xfrm>
            <a:off x="453064" y="5994767"/>
            <a:ext cx="107862" cy="109851"/>
          </a:xfrm>
          <a:prstGeom prst="ellipse">
            <a:avLst/>
          </a:prstGeom>
          <a:solidFill>
            <a:schemeClr val="accent6"/>
          </a:solidFill>
          <a:ln w="317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IN" sz="1600" b="1" baseline="-25000" dirty="0">
              <a:solidFill>
                <a:schemeClr val="bg1"/>
              </a:solidFill>
              <a:cs typeface="Arial" panose="020B0604020202020204" pitchFamily="34" charset="0"/>
            </a:endParaRPr>
          </a:p>
        </p:txBody>
      </p:sp>
      <p:sp>
        <p:nvSpPr>
          <p:cNvPr id="136" name="Rectangle 135">
            <a:extLst>
              <a:ext uri="{FF2B5EF4-FFF2-40B4-BE49-F238E27FC236}">
                <a16:creationId xmlns:a16="http://schemas.microsoft.com/office/drawing/2014/main" id="{3015B6FD-4922-1A9F-7B5C-4437AB435AE4}"/>
              </a:ext>
            </a:extLst>
          </p:cNvPr>
          <p:cNvSpPr>
            <a:spLocks/>
          </p:cNvSpPr>
          <p:nvPr/>
        </p:nvSpPr>
        <p:spPr>
          <a:xfrm>
            <a:off x="771899" y="5897337"/>
            <a:ext cx="572156" cy="299778"/>
          </a:xfrm>
          <a:prstGeom prst="rect">
            <a:avLst/>
          </a:prstGeom>
          <a:solidFill>
            <a:schemeClr val="accent6"/>
          </a:solidFill>
          <a:ln w="3175">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1400" b="1" dirty="0">
                <a:solidFill>
                  <a:schemeClr val="bg1"/>
                </a:solidFill>
                <a:cs typeface="Arial" panose="020B0604020202020204" pitchFamily="34" charset="0"/>
              </a:rPr>
              <a:t>8</a:t>
            </a:r>
          </a:p>
        </p:txBody>
      </p:sp>
      <p:sp>
        <p:nvSpPr>
          <p:cNvPr id="3" name="Rectangle 2">
            <a:extLst>
              <a:ext uri="{FF2B5EF4-FFF2-40B4-BE49-F238E27FC236}">
                <a16:creationId xmlns:a16="http://schemas.microsoft.com/office/drawing/2014/main" id="{AC00B744-2624-2D94-AD21-0D492A2E5F45}"/>
              </a:ext>
            </a:extLst>
          </p:cNvPr>
          <p:cNvSpPr/>
          <p:nvPr/>
        </p:nvSpPr>
        <p:spPr bwMode="gray">
          <a:xfrm>
            <a:off x="6261248" y="1982814"/>
            <a:ext cx="5468790" cy="366981"/>
          </a:xfrm>
          <a:prstGeom prst="rect">
            <a:avLst/>
          </a:prstGeom>
          <a:solidFill>
            <a:schemeClr val="accent3"/>
          </a:solidFill>
          <a:ln w="3175">
            <a:noFill/>
            <a:round/>
            <a:headEnd/>
            <a:tailEnd/>
          </a:ln>
        </p:spPr>
        <p:txBody>
          <a:bodyPr lIns="0" tIns="0" rIns="0" bIns="0" rtlCol="0" anchor="ctr"/>
          <a:lstStyle/>
          <a:p>
            <a:pPr algn="ctr" defTabSz="685463"/>
            <a:r>
              <a:rPr lang="en-US" sz="1200" b="1" kern="0" dirty="0">
                <a:solidFill>
                  <a:schemeClr val="bg1"/>
                </a:solidFill>
                <a:cs typeface="Arial" charset="0"/>
              </a:rPr>
              <a:t>Reporting Entities</a:t>
            </a:r>
          </a:p>
        </p:txBody>
      </p:sp>
      <p:sp>
        <p:nvSpPr>
          <p:cNvPr id="12" name="Rectangle 11">
            <a:extLst>
              <a:ext uri="{FF2B5EF4-FFF2-40B4-BE49-F238E27FC236}">
                <a16:creationId xmlns:a16="http://schemas.microsoft.com/office/drawing/2014/main" id="{E3ECE58F-6234-B003-A9E3-E6615817823C}"/>
              </a:ext>
            </a:extLst>
          </p:cNvPr>
          <p:cNvSpPr>
            <a:spLocks/>
          </p:cNvSpPr>
          <p:nvPr/>
        </p:nvSpPr>
        <p:spPr>
          <a:xfrm>
            <a:off x="6475305" y="2550682"/>
            <a:ext cx="5144714" cy="286795"/>
          </a:xfrm>
          <a:prstGeom prst="rect">
            <a:avLst/>
          </a:prstGeom>
          <a:solidFill>
            <a:schemeClr val="bg1"/>
          </a:solidFill>
          <a:ln w="3175" cap="flat" cmpd="sng" algn="ctr">
            <a:solidFill>
              <a:schemeClr val="accent2"/>
            </a:solidFill>
            <a:prstDash val="solid"/>
          </a:ln>
          <a:effectLst/>
        </p:spPr>
        <p:txBody>
          <a:bodyPr lIns="822960" anchor="ctr"/>
          <a:lstStyle/>
          <a:p>
            <a:pPr>
              <a:buClr>
                <a:schemeClr val="tx1"/>
              </a:buClr>
            </a:pPr>
            <a:r>
              <a:rPr lang="en-US" sz="1100" b="1" dirty="0"/>
              <a:t>Banking Companies </a:t>
            </a:r>
          </a:p>
        </p:txBody>
      </p:sp>
      <p:sp>
        <p:nvSpPr>
          <p:cNvPr id="18" name="Rectangle 17">
            <a:extLst>
              <a:ext uri="{FF2B5EF4-FFF2-40B4-BE49-F238E27FC236}">
                <a16:creationId xmlns:a16="http://schemas.microsoft.com/office/drawing/2014/main" id="{AE3BD36B-8339-5923-9D20-1912BFDE0B1D}"/>
              </a:ext>
            </a:extLst>
          </p:cNvPr>
          <p:cNvSpPr>
            <a:spLocks/>
          </p:cNvSpPr>
          <p:nvPr/>
        </p:nvSpPr>
        <p:spPr>
          <a:xfrm>
            <a:off x="6482393" y="2984139"/>
            <a:ext cx="5144714" cy="286795"/>
          </a:xfrm>
          <a:prstGeom prst="rect">
            <a:avLst/>
          </a:prstGeom>
          <a:solidFill>
            <a:schemeClr val="bg1"/>
          </a:solidFill>
          <a:ln w="3175" cap="flat" cmpd="sng" algn="ctr">
            <a:solidFill>
              <a:schemeClr val="tx1"/>
            </a:solidFill>
            <a:prstDash val="solid"/>
          </a:ln>
          <a:effectLst/>
        </p:spPr>
        <p:txBody>
          <a:bodyPr lIns="822960" anchor="ctr"/>
          <a:lstStyle/>
          <a:p>
            <a:pPr>
              <a:buClr>
                <a:schemeClr val="tx1"/>
              </a:buClr>
            </a:pPr>
            <a:r>
              <a:rPr lang="en-US" sz="1100" b="1" dirty="0"/>
              <a:t>Stockbrokers and Sub-Brokers</a:t>
            </a:r>
          </a:p>
        </p:txBody>
      </p:sp>
      <p:sp>
        <p:nvSpPr>
          <p:cNvPr id="19" name="Rectangle 18">
            <a:extLst>
              <a:ext uri="{FF2B5EF4-FFF2-40B4-BE49-F238E27FC236}">
                <a16:creationId xmlns:a16="http://schemas.microsoft.com/office/drawing/2014/main" id="{9B0FD8FE-B158-DCC9-6ED0-66601817B343}"/>
              </a:ext>
            </a:extLst>
          </p:cNvPr>
          <p:cNvSpPr>
            <a:spLocks/>
          </p:cNvSpPr>
          <p:nvPr/>
        </p:nvSpPr>
        <p:spPr>
          <a:xfrm>
            <a:off x="6498342" y="4445419"/>
            <a:ext cx="5144714" cy="375023"/>
          </a:xfrm>
          <a:prstGeom prst="rect">
            <a:avLst/>
          </a:prstGeom>
          <a:solidFill>
            <a:schemeClr val="bg1"/>
          </a:solidFill>
          <a:ln w="3175" cap="flat" cmpd="sng" algn="ctr">
            <a:solidFill>
              <a:schemeClr val="accent2"/>
            </a:solidFill>
            <a:prstDash val="solid"/>
          </a:ln>
          <a:effectLst/>
        </p:spPr>
        <p:txBody>
          <a:bodyPr lIns="822960" anchor="ctr"/>
          <a:lstStyle/>
          <a:p>
            <a:pPr>
              <a:buClr>
                <a:schemeClr val="tx1"/>
              </a:buClr>
            </a:pPr>
            <a:r>
              <a:rPr lang="en-US" sz="1100" b="1" dirty="0"/>
              <a:t>Designated Non-Financial Businesses and Professions (DNFBPs)</a:t>
            </a:r>
          </a:p>
        </p:txBody>
      </p:sp>
      <p:sp>
        <p:nvSpPr>
          <p:cNvPr id="20" name="Rectangle 19">
            <a:extLst>
              <a:ext uri="{FF2B5EF4-FFF2-40B4-BE49-F238E27FC236}">
                <a16:creationId xmlns:a16="http://schemas.microsoft.com/office/drawing/2014/main" id="{B127BAE2-1CD4-3DFA-E144-9BFA69AD0B2F}"/>
              </a:ext>
            </a:extLst>
          </p:cNvPr>
          <p:cNvSpPr>
            <a:spLocks/>
          </p:cNvSpPr>
          <p:nvPr/>
        </p:nvSpPr>
        <p:spPr>
          <a:xfrm>
            <a:off x="6498342" y="3919044"/>
            <a:ext cx="5144714" cy="375023"/>
          </a:xfrm>
          <a:prstGeom prst="rect">
            <a:avLst/>
          </a:prstGeom>
          <a:solidFill>
            <a:schemeClr val="bg1"/>
          </a:solidFill>
          <a:ln w="3175" cap="flat" cmpd="sng" algn="ctr">
            <a:solidFill>
              <a:schemeClr val="tx1"/>
            </a:solidFill>
            <a:prstDash val="solid"/>
          </a:ln>
          <a:effectLst/>
        </p:spPr>
        <p:txBody>
          <a:bodyPr lIns="822960" anchor="ctr"/>
          <a:lstStyle/>
          <a:p>
            <a:pPr>
              <a:buClr>
                <a:schemeClr val="tx1"/>
              </a:buClr>
            </a:pPr>
            <a:r>
              <a:rPr lang="en-US" sz="1100" b="1" dirty="0"/>
              <a:t>Non-Banking Financial Companies </a:t>
            </a:r>
          </a:p>
        </p:txBody>
      </p:sp>
      <p:sp>
        <p:nvSpPr>
          <p:cNvPr id="25" name="Rectangle 24">
            <a:extLst>
              <a:ext uri="{FF2B5EF4-FFF2-40B4-BE49-F238E27FC236}">
                <a16:creationId xmlns:a16="http://schemas.microsoft.com/office/drawing/2014/main" id="{9D2E5652-23A7-B23F-69E1-4BD9BB8251EE}"/>
              </a:ext>
            </a:extLst>
          </p:cNvPr>
          <p:cNvSpPr>
            <a:spLocks/>
          </p:cNvSpPr>
          <p:nvPr/>
        </p:nvSpPr>
        <p:spPr>
          <a:xfrm>
            <a:off x="6498342" y="3469250"/>
            <a:ext cx="5144714" cy="286795"/>
          </a:xfrm>
          <a:prstGeom prst="rect">
            <a:avLst/>
          </a:prstGeom>
          <a:solidFill>
            <a:schemeClr val="bg1"/>
          </a:solidFill>
          <a:ln w="3175" cap="flat" cmpd="sng" algn="ctr">
            <a:solidFill>
              <a:schemeClr val="accent2"/>
            </a:solidFill>
            <a:prstDash val="solid"/>
          </a:ln>
          <a:effectLst/>
        </p:spPr>
        <p:txBody>
          <a:bodyPr lIns="822960" anchor="ctr"/>
          <a:lstStyle/>
          <a:p>
            <a:pPr>
              <a:buClr>
                <a:schemeClr val="tx1"/>
              </a:buClr>
            </a:pPr>
            <a:r>
              <a:rPr lang="en-US" sz="1100" b="1" dirty="0"/>
              <a:t>Insurance Companies</a:t>
            </a:r>
          </a:p>
        </p:txBody>
      </p:sp>
      <p:sp>
        <p:nvSpPr>
          <p:cNvPr id="26" name="Rectangle 25">
            <a:extLst>
              <a:ext uri="{FF2B5EF4-FFF2-40B4-BE49-F238E27FC236}">
                <a16:creationId xmlns:a16="http://schemas.microsoft.com/office/drawing/2014/main" id="{3F110714-0D06-C48B-84BB-9536362ED7FF}"/>
              </a:ext>
            </a:extLst>
          </p:cNvPr>
          <p:cNvSpPr>
            <a:spLocks/>
          </p:cNvSpPr>
          <p:nvPr/>
        </p:nvSpPr>
        <p:spPr>
          <a:xfrm>
            <a:off x="6475305" y="4965156"/>
            <a:ext cx="5144714" cy="286795"/>
          </a:xfrm>
          <a:prstGeom prst="rect">
            <a:avLst/>
          </a:prstGeom>
          <a:solidFill>
            <a:schemeClr val="bg1"/>
          </a:solidFill>
          <a:ln w="3175" cap="flat" cmpd="sng" algn="ctr">
            <a:solidFill>
              <a:schemeClr val="tx1"/>
            </a:solidFill>
            <a:prstDash val="solid"/>
          </a:ln>
          <a:effectLst/>
        </p:spPr>
        <p:txBody>
          <a:bodyPr lIns="822960" anchor="ctr"/>
          <a:lstStyle/>
          <a:p>
            <a:pPr>
              <a:buClr>
                <a:schemeClr val="tx1"/>
              </a:buClr>
            </a:pPr>
            <a:r>
              <a:rPr lang="en-US" sz="1100" b="1" dirty="0"/>
              <a:t>Payment System Operators </a:t>
            </a:r>
          </a:p>
        </p:txBody>
      </p:sp>
      <p:sp>
        <p:nvSpPr>
          <p:cNvPr id="27" name="Rectangle 26">
            <a:extLst>
              <a:ext uri="{FF2B5EF4-FFF2-40B4-BE49-F238E27FC236}">
                <a16:creationId xmlns:a16="http://schemas.microsoft.com/office/drawing/2014/main" id="{0E840C2D-11CC-599B-2CFD-3E5F70F701E5}"/>
              </a:ext>
            </a:extLst>
          </p:cNvPr>
          <p:cNvSpPr>
            <a:spLocks/>
          </p:cNvSpPr>
          <p:nvPr/>
        </p:nvSpPr>
        <p:spPr>
          <a:xfrm>
            <a:off x="6482393" y="5445240"/>
            <a:ext cx="5144714" cy="375023"/>
          </a:xfrm>
          <a:prstGeom prst="rect">
            <a:avLst/>
          </a:prstGeom>
          <a:solidFill>
            <a:schemeClr val="bg1"/>
          </a:solidFill>
          <a:ln w="3175" cap="flat" cmpd="sng" algn="ctr">
            <a:solidFill>
              <a:schemeClr val="accent2"/>
            </a:solidFill>
            <a:prstDash val="solid"/>
          </a:ln>
          <a:effectLst/>
        </p:spPr>
        <p:txBody>
          <a:bodyPr lIns="822960" anchor="ctr"/>
          <a:lstStyle/>
          <a:p>
            <a:pPr>
              <a:buClr>
                <a:schemeClr val="tx1"/>
              </a:buClr>
            </a:pPr>
            <a:r>
              <a:rPr lang="en-US" sz="1100" b="1" dirty="0"/>
              <a:t>Chartered Accountants, Companies Secretaries &amp; Cost Accountants (Professionals)</a:t>
            </a:r>
          </a:p>
        </p:txBody>
      </p:sp>
      <p:sp>
        <p:nvSpPr>
          <p:cNvPr id="30" name="Rectangle 29">
            <a:extLst>
              <a:ext uri="{FF2B5EF4-FFF2-40B4-BE49-F238E27FC236}">
                <a16:creationId xmlns:a16="http://schemas.microsoft.com/office/drawing/2014/main" id="{85229246-2E4E-D743-6BFA-65E8428C69F9}"/>
              </a:ext>
            </a:extLst>
          </p:cNvPr>
          <p:cNvSpPr>
            <a:spLocks/>
          </p:cNvSpPr>
          <p:nvPr/>
        </p:nvSpPr>
        <p:spPr>
          <a:xfrm>
            <a:off x="6475305" y="5943600"/>
            <a:ext cx="5144714" cy="389215"/>
          </a:xfrm>
          <a:prstGeom prst="rect">
            <a:avLst/>
          </a:prstGeom>
          <a:solidFill>
            <a:schemeClr val="bg1"/>
          </a:solidFill>
          <a:ln w="3175" cap="flat" cmpd="sng" algn="ctr">
            <a:solidFill>
              <a:schemeClr val="tx1"/>
            </a:solidFill>
            <a:prstDash val="solid"/>
          </a:ln>
          <a:effectLst/>
        </p:spPr>
        <p:txBody>
          <a:bodyPr lIns="822960" anchor="ctr"/>
          <a:lstStyle/>
          <a:p>
            <a:pPr>
              <a:buClr>
                <a:schemeClr val="tx1"/>
              </a:buClr>
            </a:pPr>
            <a:r>
              <a:rPr lang="en-US" sz="1100" b="1" dirty="0"/>
              <a:t>Casino / Cryptocurrency</a:t>
            </a:r>
          </a:p>
        </p:txBody>
      </p:sp>
    </p:spTree>
    <p:custDataLst>
      <p:custData r:id="rId2"/>
    </p:custDataLst>
    <p:extLst>
      <p:ext uri="{BB962C8B-B14F-4D97-AF65-F5344CB8AC3E}">
        <p14:creationId xmlns:p14="http://schemas.microsoft.com/office/powerpoint/2010/main" val="15523866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145708881,3,Slide21457086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Custom 45">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E0301E"/>
      </a:hlink>
      <a:folHlink>
        <a:srgbClr val="E0301E"/>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bwMode="gray">
        <a:solidFill>
          <a:schemeClr val="bg2"/>
        </a:solidFill>
        <a:ln w="3175">
          <a:noFill/>
          <a:round/>
          <a:headEnd/>
          <a:tailEnd/>
        </a:ln>
      </a:spPr>
      <a:bodyPr lIns="0" tIns="0" rIns="0" bIns="0" anchor="ctr"/>
      <a:lstStyle>
        <a:defPPr algn="ctr" defTabSz="685463">
          <a:defRPr sz="1200" b="1" kern="0" dirty="0" smtClean="0">
            <a:cs typeface="Arial" charset="0"/>
          </a:defRPr>
        </a:defPPr>
      </a:lst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resentation1" id="{F263BB68-960B-4111-8EAF-7ABCA2913049}" vid="{623EEB51-A4CC-4CFC-90F3-A67DAF2F600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4.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DcR_SlideID>e5d363aa-970d-4726-8a76-f0c974e6055e</DcR_SlideID>
</file>

<file path=customXml/item10.xml><?xml version="1.0" encoding="utf-8"?>
<DcR_SlideID>811a2403-615c-439e-b8e6-4fdb819667e3</DcR_SlideID>
</file>

<file path=customXml/item11.xml><?xml version="1.0" encoding="utf-8"?>
<DcR_SlideID>9c53fc41-d8f7-4a89-b399-b0b2747d1249</DcR_SlideID>
</file>

<file path=customXml/item12.xml><?xml version="1.0" encoding="utf-8"?>
<DcR_SlideID>9c53fc41-d8f7-4a89-b399-b0b2747d1249</DcR_SlideID>
</file>

<file path=customXml/item13.xml><?xml version="1.0" encoding="utf-8"?>
<DcR_SlideID>35257b65-79b7-4657-8d37-f35957787c27</DcR_SlideID>
</file>

<file path=customXml/item14.xml><?xml version="1.0" encoding="utf-8"?>
<DcR_SlideID>65a80c89-e7e6-4ea3-ad0e-e1477a2ff0d9</DcR_SlideID>
</file>

<file path=customXml/item15.xml><?xml version="1.0" encoding="utf-8"?>
<DcR_SlideID>293a17bc-1fa4-43cf-8de2-3b9c5e84ade2</DcR_SlideID>
</file>

<file path=customXml/item16.xml><?xml version="1.0" encoding="utf-8"?>
<DcR_SlideID>05055694-00b3-41d8-83c1-d99f976912a3</DcR_SlideID>
</file>

<file path=customXml/item17.xml><?xml version="1.0" encoding="utf-8"?>
<?mso-contentType ?>
<FormTemplates xmlns="http://schemas.microsoft.com/sharepoint/v3/contenttype/forms">
  <Display>DocumentLibraryForm</Display>
  <Edit>DocumentLibraryForm</Edit>
  <New>DocumentLibraryForm</New>
</FormTemplates>
</file>

<file path=customXml/item18.xml><?xml version="1.0" encoding="utf-8"?>
<DcR_SlideID>42e92528-2cb6-4776-bcde-08206410b3b7</DcR_SlideID>
</file>

<file path=customXml/item19.xml><?xml version="1.0" encoding="utf-8"?>
<DcR_SlideID>9226acb9-1a02-4ec5-9895-99d5dedf2b7c</DcR_SlideID>
</file>

<file path=customXml/item2.xml><?xml version="1.0" encoding="utf-8"?>
<DcR_SlideID>5abe691d-5e27-4180-8769-708e6cf0f39c</DcR_SlideID>
</file>

<file path=customXml/item20.xml><?xml version="1.0" encoding="utf-8"?>
<DcR_SlideID>c458d1a2-e33f-44b3-9530-3c3a929d2d01</DcR_SlideID>
</file>

<file path=customXml/item21.xml><?xml version="1.0" encoding="utf-8"?>
<DcR_SlideID>64a5d025-4305-4fb1-b986-f0f50829bed9</DcR_SlideID>
</file>

<file path=customXml/item22.xml><?xml version="1.0" encoding="utf-8"?>
<DcR_SlideID>db514d3d-b368-45d3-8817-eb81ca274d7c</DcR_SlideID>
</file>

<file path=customXml/item23.xml><?xml version="1.0" encoding="utf-8"?>
<DcR_SlideID>9c53fc41-d8f7-4a89-b399-b0b2747d1249</DcR_SlideID>
</file>

<file path=customXml/item24.xml><?xml version="1.0" encoding="utf-8"?>
<DcR_SlideID>2397eca3-5420-482a-9f9e-69e8598a81d1</DcR_SlideID>
</file>

<file path=customXml/item25.xml><?xml version="1.0" encoding="utf-8"?>
<DcR_SlideID>1a98eb81-4975-41c6-92e0-e0e9047e47cf</DcR_SlideID>
</file>

<file path=customXml/item26.xml><?xml version="1.0" encoding="utf-8"?>
<DcR_SlideID>d8d483ae-64fa-4d89-b9e0-e9a6924933e1</DcR_SlideID>
</file>

<file path=customXml/item27.xml><?xml version="1.0" encoding="utf-8"?>
<DcR_SlideID>43c6de2f-7cb4-4e72-b80a-6842830f499c</DcR_SlideID>
</file>

<file path=customXml/item28.xml><?xml version="1.0" encoding="utf-8"?>
<DcR_SlideID>7d5d7b02-2d19-42e0-b6c6-4a0ff6314b7f</DcR_SlideID>
</file>

<file path=customXml/item29.xml><?xml version="1.0" encoding="utf-8"?>
<ct:contentTypeSchema xmlns:ct="http://schemas.microsoft.com/office/2006/metadata/contentType" xmlns:ma="http://schemas.microsoft.com/office/2006/metadata/properties/metaAttributes" ct:_="" ma:_="" ma:contentTypeName="Document" ma:contentTypeID="0x010100A7881F1792F51B4BA3F718A43924FCDD" ma:contentTypeVersion="7" ma:contentTypeDescription="Create a new document." ma:contentTypeScope="" ma:versionID="927cb92c3602cdaf496c9cc838222219">
  <xsd:schema xmlns:xsd="http://www.w3.org/2001/XMLSchema" xmlns:xs="http://www.w3.org/2001/XMLSchema" xmlns:p="http://schemas.microsoft.com/office/2006/metadata/properties" xmlns:ns3="d39c1a26-2640-44d4-be47-8a26faeef49e" xmlns:ns4="30304394-9933-4a78-87fa-527261d21ed9" targetNamespace="http://schemas.microsoft.com/office/2006/metadata/properties" ma:root="true" ma:fieldsID="aea940e1aee68710a2b2e05a1638715b" ns3:_="" ns4:_="">
    <xsd:import namespace="d39c1a26-2640-44d4-be47-8a26faeef49e"/>
    <xsd:import namespace="30304394-9933-4a78-87fa-527261d21ed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9c1a26-2640-44d4-be47-8a26faeef49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0304394-9933-4a78-87fa-527261d21ed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DcR_SlideID>8ff3fee7-b590-476d-a0b7-9cdb823287c8</DcR_SlideID>
</file>

<file path=customXml/item30.xml><?xml version="1.0" encoding="utf-8"?>
<DcR_SlideID>f355e345-fbfe-4219-a229-6f40eb7130e8</DcR_SlideID>
</file>

<file path=customXml/item31.xml><?xml version="1.0" encoding="utf-8"?>
<DcR_SlideID>5af51408-3d2e-4e39-9191-3314c96a6b43</DcR_SlideID>
</file>

<file path=customXml/item32.xml><?xml version="1.0" encoding="utf-8"?>
<DcR_SlideID>51db7e3f-d3ec-4fe5-8133-a8abbc9f791b</DcR_SlideID>
</file>

<file path=customXml/item33.xml><?xml version="1.0" encoding="utf-8"?>
<DcR_SlideID>c1938f6a-0a46-4967-af4b-108d70f409d3</DcR_SlideID>
</file>

<file path=customXml/item34.xml><?xml version="1.0" encoding="utf-8"?>
<DcR_SlideID>d8d483ae-64fa-4d89-b9e0-e9a6924933e1</DcR_SlideID>
</file>

<file path=customXml/item35.xml><?xml version="1.0" encoding="utf-8"?>
<DcR_SlideID>a06e79fd-f907-4c9e-9475-cd837d30c028</DcR_SlideID>
</file>

<file path=customXml/item4.xml><?xml version="1.0" encoding="utf-8"?>
<DcR_SlideID>a4d53088-720c-460e-9e85-2c51ecde6345</DcR_SlideID>
</file>

<file path=customXml/item5.xml><?xml version="1.0" encoding="utf-8"?>
<DcR_SlideID>34819783-9f48-40e5-9a00-cc1b65f5938f</DcR_SlideID>
</file>

<file path=customXml/item6.xml><?xml version="1.0" encoding="utf-8"?>
<DcR_SlideID>dfa88084-b1d0-4368-ae90-cffb3ef85923</DcR_SlideID>
</file>

<file path=customXml/item7.xml><?xml version="1.0" encoding="utf-8"?>
<p:properties xmlns:p="http://schemas.microsoft.com/office/2006/metadata/properties" xmlns:xsi="http://www.w3.org/2001/XMLSchema-instance" xmlns:pc="http://schemas.microsoft.com/office/infopath/2007/PartnerControls">
  <documentManagement/>
</p:properties>
</file>

<file path=customXml/item8.xml><?xml version="1.0" encoding="utf-8"?>
<DcR_SlideID>6e4ceec3-a43e-4b3b-8dbc-11189a3de9d6</DcR_SlideID>
</file>

<file path=customXml/item9.xml><?xml version="1.0" encoding="utf-8"?>
<DcR_SlideID>bffde100-1a3d-41f4-b543-87f558754231</DcR_SlideID>
</file>

<file path=customXml/itemProps1.xml><?xml version="1.0" encoding="utf-8"?>
<ds:datastoreItem xmlns:ds="http://schemas.openxmlformats.org/officeDocument/2006/customXml" ds:itemID="{20749380-7AC1-4803-924C-01F37FB3C6BF}">
  <ds:schemaRefs/>
</ds:datastoreItem>
</file>

<file path=customXml/itemProps10.xml><?xml version="1.0" encoding="utf-8"?>
<ds:datastoreItem xmlns:ds="http://schemas.openxmlformats.org/officeDocument/2006/customXml" ds:itemID="{3E1E26A0-AE88-496C-93D8-12116B590018}">
  <ds:schemaRefs/>
</ds:datastoreItem>
</file>

<file path=customXml/itemProps11.xml><?xml version="1.0" encoding="utf-8"?>
<ds:datastoreItem xmlns:ds="http://schemas.openxmlformats.org/officeDocument/2006/customXml" ds:itemID="{909E4CD2-4EA5-40F4-97ED-D73F46987024}">
  <ds:schemaRefs/>
</ds:datastoreItem>
</file>

<file path=customXml/itemProps12.xml><?xml version="1.0" encoding="utf-8"?>
<ds:datastoreItem xmlns:ds="http://schemas.openxmlformats.org/officeDocument/2006/customXml" ds:itemID="{108481E5-278E-4256-9607-A04A2219D1EB}">
  <ds:schemaRefs/>
</ds:datastoreItem>
</file>

<file path=customXml/itemProps13.xml><?xml version="1.0" encoding="utf-8"?>
<ds:datastoreItem xmlns:ds="http://schemas.openxmlformats.org/officeDocument/2006/customXml" ds:itemID="{FB21694F-CA69-49D7-BD4D-F1C1C4C4FF1F}">
  <ds:schemaRefs/>
</ds:datastoreItem>
</file>

<file path=customXml/itemProps14.xml><?xml version="1.0" encoding="utf-8"?>
<ds:datastoreItem xmlns:ds="http://schemas.openxmlformats.org/officeDocument/2006/customXml" ds:itemID="{00F8AFD4-029C-44CE-A44D-068E663C8EC5}">
  <ds:schemaRefs/>
</ds:datastoreItem>
</file>

<file path=customXml/itemProps15.xml><?xml version="1.0" encoding="utf-8"?>
<ds:datastoreItem xmlns:ds="http://schemas.openxmlformats.org/officeDocument/2006/customXml" ds:itemID="{D5C08540-77B2-4657-922C-E2CF240734C9}">
  <ds:schemaRefs/>
</ds:datastoreItem>
</file>

<file path=customXml/itemProps16.xml><?xml version="1.0" encoding="utf-8"?>
<ds:datastoreItem xmlns:ds="http://schemas.openxmlformats.org/officeDocument/2006/customXml" ds:itemID="{07D18E8C-44F1-4EE7-9FA2-9BB0B6E0E544}">
  <ds:schemaRefs/>
</ds:datastoreItem>
</file>

<file path=customXml/itemProps17.xml><?xml version="1.0" encoding="utf-8"?>
<ds:datastoreItem xmlns:ds="http://schemas.openxmlformats.org/officeDocument/2006/customXml" ds:itemID="{E6F48F10-5B31-4A7E-9251-96260FC0D3F8}">
  <ds:schemaRefs>
    <ds:schemaRef ds:uri="http://schemas.microsoft.com/sharepoint/v3/contenttype/forms"/>
  </ds:schemaRefs>
</ds:datastoreItem>
</file>

<file path=customXml/itemProps18.xml><?xml version="1.0" encoding="utf-8"?>
<ds:datastoreItem xmlns:ds="http://schemas.openxmlformats.org/officeDocument/2006/customXml" ds:itemID="{C96DE8A3-0D54-4C4F-B2A0-7356C4FC0FE1}">
  <ds:schemaRefs/>
</ds:datastoreItem>
</file>

<file path=customXml/itemProps19.xml><?xml version="1.0" encoding="utf-8"?>
<ds:datastoreItem xmlns:ds="http://schemas.openxmlformats.org/officeDocument/2006/customXml" ds:itemID="{CADB9A6B-CBB2-485C-A573-64AD0B3AAC69}">
  <ds:schemaRefs/>
</ds:datastoreItem>
</file>

<file path=customXml/itemProps2.xml><?xml version="1.0" encoding="utf-8"?>
<ds:datastoreItem xmlns:ds="http://schemas.openxmlformats.org/officeDocument/2006/customXml" ds:itemID="{FB967FCE-6786-4448-ACFA-26E8BF49F292}">
  <ds:schemaRefs/>
</ds:datastoreItem>
</file>

<file path=customXml/itemProps20.xml><?xml version="1.0" encoding="utf-8"?>
<ds:datastoreItem xmlns:ds="http://schemas.openxmlformats.org/officeDocument/2006/customXml" ds:itemID="{BA6FC605-FB9D-41DC-9D9D-44B250DF020F}">
  <ds:schemaRefs/>
</ds:datastoreItem>
</file>

<file path=customXml/itemProps21.xml><?xml version="1.0" encoding="utf-8"?>
<ds:datastoreItem xmlns:ds="http://schemas.openxmlformats.org/officeDocument/2006/customXml" ds:itemID="{5CB6D8AA-491E-47BF-93A0-DEB853AAC6EB}">
  <ds:schemaRefs/>
</ds:datastoreItem>
</file>

<file path=customXml/itemProps22.xml><?xml version="1.0" encoding="utf-8"?>
<ds:datastoreItem xmlns:ds="http://schemas.openxmlformats.org/officeDocument/2006/customXml" ds:itemID="{3BAB2E13-9AF3-443A-AE53-8315B5A24BD1}">
  <ds:schemaRefs/>
</ds:datastoreItem>
</file>

<file path=customXml/itemProps23.xml><?xml version="1.0" encoding="utf-8"?>
<ds:datastoreItem xmlns:ds="http://schemas.openxmlformats.org/officeDocument/2006/customXml" ds:itemID="{2874C352-0BBE-46EB-9917-79D3A9B399F6}">
  <ds:schemaRefs/>
</ds:datastoreItem>
</file>

<file path=customXml/itemProps24.xml><?xml version="1.0" encoding="utf-8"?>
<ds:datastoreItem xmlns:ds="http://schemas.openxmlformats.org/officeDocument/2006/customXml" ds:itemID="{E2DB66A8-5A76-4283-B7C1-94F1D6434591}">
  <ds:schemaRefs/>
</ds:datastoreItem>
</file>

<file path=customXml/itemProps25.xml><?xml version="1.0" encoding="utf-8"?>
<ds:datastoreItem xmlns:ds="http://schemas.openxmlformats.org/officeDocument/2006/customXml" ds:itemID="{08362CAF-F863-48A8-96E3-FB2C339B4F52}">
  <ds:schemaRefs/>
</ds:datastoreItem>
</file>

<file path=customXml/itemProps26.xml><?xml version="1.0" encoding="utf-8"?>
<ds:datastoreItem xmlns:ds="http://schemas.openxmlformats.org/officeDocument/2006/customXml" ds:itemID="{D988107C-A73B-4D43-BBBE-FAF0E9BDFF26}">
  <ds:schemaRefs/>
</ds:datastoreItem>
</file>

<file path=customXml/itemProps27.xml><?xml version="1.0" encoding="utf-8"?>
<ds:datastoreItem xmlns:ds="http://schemas.openxmlformats.org/officeDocument/2006/customXml" ds:itemID="{7154931D-C14F-4BF3-8617-DF9C91D4CA9E}">
  <ds:schemaRefs/>
</ds:datastoreItem>
</file>

<file path=customXml/itemProps28.xml><?xml version="1.0" encoding="utf-8"?>
<ds:datastoreItem xmlns:ds="http://schemas.openxmlformats.org/officeDocument/2006/customXml" ds:itemID="{15C8C830-A83C-464B-B67C-A9F54A3C6EB1}">
  <ds:schemaRefs/>
</ds:datastoreItem>
</file>

<file path=customXml/itemProps29.xml><?xml version="1.0" encoding="utf-8"?>
<ds:datastoreItem xmlns:ds="http://schemas.openxmlformats.org/officeDocument/2006/customXml" ds:itemID="{F154E3B4-6506-430A-A1E5-33DCFB4DB5E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9c1a26-2640-44d4-be47-8a26faeef49e"/>
    <ds:schemaRef ds:uri="30304394-9933-4a78-87fa-527261d21e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FCB5123-A670-4706-BC32-FF3925EB8CFE}">
  <ds:schemaRefs/>
</ds:datastoreItem>
</file>

<file path=customXml/itemProps30.xml><?xml version="1.0" encoding="utf-8"?>
<ds:datastoreItem xmlns:ds="http://schemas.openxmlformats.org/officeDocument/2006/customXml" ds:itemID="{E6FBAA4B-B0E7-451F-8209-68D79572F214}">
  <ds:schemaRefs/>
</ds:datastoreItem>
</file>

<file path=customXml/itemProps31.xml><?xml version="1.0" encoding="utf-8"?>
<ds:datastoreItem xmlns:ds="http://schemas.openxmlformats.org/officeDocument/2006/customXml" ds:itemID="{15B2D83A-E16A-4881-8FCD-70C34DDF9C30}">
  <ds:schemaRefs/>
</ds:datastoreItem>
</file>

<file path=customXml/itemProps32.xml><?xml version="1.0" encoding="utf-8"?>
<ds:datastoreItem xmlns:ds="http://schemas.openxmlformats.org/officeDocument/2006/customXml" ds:itemID="{184982A9-1146-4094-807C-0CA7DA19E455}">
  <ds:schemaRefs/>
</ds:datastoreItem>
</file>

<file path=customXml/itemProps33.xml><?xml version="1.0" encoding="utf-8"?>
<ds:datastoreItem xmlns:ds="http://schemas.openxmlformats.org/officeDocument/2006/customXml" ds:itemID="{02599CD1-9192-4A8F-85BD-AFA522EB48EB}">
  <ds:schemaRefs/>
</ds:datastoreItem>
</file>

<file path=customXml/itemProps34.xml><?xml version="1.0" encoding="utf-8"?>
<ds:datastoreItem xmlns:ds="http://schemas.openxmlformats.org/officeDocument/2006/customXml" ds:itemID="{CCC0FEC0-73C7-43CA-BFE4-AC704AB9F2B1}">
  <ds:schemaRefs/>
</ds:datastoreItem>
</file>

<file path=customXml/itemProps35.xml><?xml version="1.0" encoding="utf-8"?>
<ds:datastoreItem xmlns:ds="http://schemas.openxmlformats.org/officeDocument/2006/customXml" ds:itemID="{BA6A8DE8-2C27-450D-AE71-347039A98963}">
  <ds:schemaRefs/>
</ds:datastoreItem>
</file>

<file path=customXml/itemProps4.xml><?xml version="1.0" encoding="utf-8"?>
<ds:datastoreItem xmlns:ds="http://schemas.openxmlformats.org/officeDocument/2006/customXml" ds:itemID="{06183B25-8976-4410-AD11-ED8619034621}">
  <ds:schemaRefs/>
</ds:datastoreItem>
</file>

<file path=customXml/itemProps5.xml><?xml version="1.0" encoding="utf-8"?>
<ds:datastoreItem xmlns:ds="http://schemas.openxmlformats.org/officeDocument/2006/customXml" ds:itemID="{10811D71-2A53-444F-A0FE-1592371BFA94}">
  <ds:schemaRefs/>
</ds:datastoreItem>
</file>

<file path=customXml/itemProps6.xml><?xml version="1.0" encoding="utf-8"?>
<ds:datastoreItem xmlns:ds="http://schemas.openxmlformats.org/officeDocument/2006/customXml" ds:itemID="{113B6267-C4CE-4E0E-BEC5-5902C5B19E4A}">
  <ds:schemaRefs/>
</ds:datastoreItem>
</file>

<file path=customXml/itemProps7.xml><?xml version="1.0" encoding="utf-8"?>
<ds:datastoreItem xmlns:ds="http://schemas.openxmlformats.org/officeDocument/2006/customXml" ds:itemID="{16DC2786-BF16-4E9E-8865-B5620D54D985}">
  <ds:schemaRefs>
    <ds:schemaRef ds:uri="http://schemas.microsoft.com/office/2006/metadata/properties"/>
    <ds:schemaRef ds:uri="http://purl.org/dc/terms/"/>
    <ds:schemaRef ds:uri="http://purl.org/dc/dcmitype/"/>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30304394-9933-4a78-87fa-527261d21ed9"/>
    <ds:schemaRef ds:uri="d39c1a26-2640-44d4-be47-8a26faeef49e"/>
    <ds:schemaRef ds:uri="http://www.w3.org/XML/1998/namespace"/>
  </ds:schemaRefs>
</ds:datastoreItem>
</file>

<file path=customXml/itemProps8.xml><?xml version="1.0" encoding="utf-8"?>
<ds:datastoreItem xmlns:ds="http://schemas.openxmlformats.org/officeDocument/2006/customXml" ds:itemID="{525B1977-D1E5-4B9D-9060-BBDB16E78C94}">
  <ds:schemaRefs/>
</ds:datastoreItem>
</file>

<file path=customXml/itemProps9.xml><?xml version="1.0" encoding="utf-8"?>
<ds:datastoreItem xmlns:ds="http://schemas.openxmlformats.org/officeDocument/2006/customXml" ds:itemID="{3FC020DF-2636-D64F-9FA7-03E8A9214E87}">
  <ds:schemaRefs/>
</ds:datastoreItem>
</file>

<file path=docProps/app.xml><?xml version="1.0" encoding="utf-8"?>
<Properties xmlns="http://schemas.openxmlformats.org/officeDocument/2006/extended-properties" xmlns:vt="http://schemas.openxmlformats.org/officeDocument/2006/docPropsVTypes">
  <Template>PwC</Template>
  <TotalTime>55152</TotalTime>
  <Words>3198</Words>
  <Application>Microsoft Office PowerPoint</Application>
  <PresentationFormat>Widescreen</PresentationFormat>
  <Paragraphs>426</Paragraphs>
  <Slides>30</Slides>
  <Notes>23</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30</vt:i4>
      </vt:variant>
    </vt:vector>
  </HeadingPairs>
  <TitlesOfParts>
    <vt:vector size="43" baseType="lpstr">
      <vt:lpstr>Arial</vt:lpstr>
      <vt:lpstr>Calibri</vt:lpstr>
      <vt:lpstr>Calibri Light</vt:lpstr>
      <vt:lpstr>Cambria</vt:lpstr>
      <vt:lpstr>Century Gothic</vt:lpstr>
      <vt:lpstr>Garamond</vt:lpstr>
      <vt:lpstr>Georgia</vt:lpstr>
      <vt:lpstr>Helvetica Neue Light</vt:lpstr>
      <vt:lpstr>Lato</vt:lpstr>
      <vt:lpstr>Times New Roman</vt:lpstr>
      <vt:lpstr>PwC</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isks &amp; Consequences of regulatory non-compliance for reporting entities </vt:lpstr>
      <vt:lpstr>PowerPoint Presentation</vt:lpstr>
      <vt:lpstr>PowerPoint Presentation</vt:lpstr>
      <vt:lpstr>PowerPoint Presentation</vt:lpstr>
      <vt:lpstr>KYC verification and screening of new customer acceptance</vt:lpstr>
      <vt:lpstr>PowerPoint Presentation</vt:lpstr>
      <vt:lpstr>PowerPoint Presentation</vt:lpstr>
      <vt:lpstr>PowerPoint Presentation</vt:lpstr>
      <vt:lpstr>PowerPoint Presentation</vt:lpstr>
      <vt:lpstr>PowerPoint Presentation</vt:lpstr>
      <vt:lpstr>Monitoring of transactions</vt:lpstr>
      <vt:lpstr>Transactions covered for Professionals (Illustrative)</vt:lpstr>
      <vt:lpstr>Reporting requirements and maintenance of records</vt:lpstr>
      <vt:lpstr>Questions &amp; Answers</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rem ipsum  dolor sit amet consectetuer</dc:title>
  <dc:subject/>
  <dc:creator>Akshay Wadhawan (IN)</dc:creator>
  <cp:keywords/>
  <dc:description/>
  <cp:lastModifiedBy>Dibbendu Roy</cp:lastModifiedBy>
  <cp:revision>2167</cp:revision>
  <cp:lastPrinted>2023-05-23T04:03:34Z</cp:lastPrinted>
  <dcterms:created xsi:type="dcterms:W3CDTF">2021-07-14T03:52:57Z</dcterms:created>
  <dcterms:modified xsi:type="dcterms:W3CDTF">2023-12-04T04:48:2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881F1792F51B4BA3F718A43924FCDD</vt:lpwstr>
  </property>
</Properties>
</file>